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05" r:id="rId2"/>
  </p:sldMasterIdLst>
  <p:notesMasterIdLst>
    <p:notesMasterId r:id="rId23"/>
  </p:notesMasterIdLst>
  <p:sldIdLst>
    <p:sldId id="257" r:id="rId3"/>
    <p:sldId id="2765" r:id="rId4"/>
    <p:sldId id="478" r:id="rId5"/>
    <p:sldId id="443" r:id="rId6"/>
    <p:sldId id="486" r:id="rId7"/>
    <p:sldId id="2759" r:id="rId8"/>
    <p:sldId id="260" r:id="rId9"/>
    <p:sldId id="263" r:id="rId10"/>
    <p:sldId id="268" r:id="rId11"/>
    <p:sldId id="290" r:id="rId12"/>
    <p:sldId id="2763" r:id="rId13"/>
    <p:sldId id="2766" r:id="rId14"/>
    <p:sldId id="2769" r:id="rId15"/>
    <p:sldId id="2767" r:id="rId16"/>
    <p:sldId id="2770" r:id="rId17"/>
    <p:sldId id="2771" r:id="rId18"/>
    <p:sldId id="2768" r:id="rId19"/>
    <p:sldId id="2761" r:id="rId20"/>
    <p:sldId id="2772" r:id="rId21"/>
    <p:sldId id="278" r:id="rId22"/>
  </p:sldIdLst>
  <p:sldSz cx="12192000" cy="6858000"/>
  <p:notesSz cx="6808788" cy="9940925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1pPr>
    <a:lvl2pPr marL="0" marR="0" indent="4572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2pPr>
    <a:lvl3pPr marL="0" marR="0" indent="9144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3pPr>
    <a:lvl4pPr marL="0" marR="0" indent="13716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4pPr>
    <a:lvl5pPr marL="0" marR="0" indent="18288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5pPr>
    <a:lvl6pPr marL="0" marR="0" indent="22860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6pPr>
    <a:lvl7pPr marL="0" marR="0" indent="27432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7pPr>
    <a:lvl8pPr marL="0" marR="0" indent="32004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8pPr>
    <a:lvl9pPr marL="0" marR="0" indent="36576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9pPr>
  </p:defaultTextStyle>
  <p:extLst>
    <p:ext uri="{EFAFB233-063F-42B5-8137-9DF3F51BA10A}">
      <p15:sldGuideLst xmlns:p15="http://schemas.microsoft.com/office/powerpoint/2012/main">
        <p15:guide id="1" orient="horz" pos="935" userDrawn="1">
          <p15:clr>
            <a:srgbClr val="A4A3A4"/>
          </p15:clr>
        </p15:guide>
        <p15:guide id="2" pos="3817" userDrawn="1">
          <p15:clr>
            <a:srgbClr val="A4A3A4"/>
          </p15:clr>
        </p15:guide>
        <p15:guide id="3" orient="horz" pos="346" userDrawn="1">
          <p15:clr>
            <a:srgbClr val="A4A3A4"/>
          </p15:clr>
        </p15:guide>
        <p15:guide id="4" orient="horz" pos="3498" userDrawn="1">
          <p15:clr>
            <a:srgbClr val="A4A3A4"/>
          </p15:clr>
        </p15:guide>
        <p15:guide id="5" orient="horz" pos="2886" userDrawn="1">
          <p15:clr>
            <a:srgbClr val="A4A3A4"/>
          </p15:clr>
        </p15:guide>
        <p15:guide id="6" orient="horz" pos="3181" userDrawn="1">
          <p15:clr>
            <a:srgbClr val="A4A3A4"/>
          </p15:clr>
        </p15:guide>
        <p15:guide id="7" pos="302" userDrawn="1">
          <p15:clr>
            <a:srgbClr val="A4A3A4"/>
          </p15:clr>
        </p15:guide>
        <p15:guide id="8" pos="370" userDrawn="1">
          <p15:clr>
            <a:srgbClr val="A4A3A4"/>
          </p15:clr>
        </p15:guide>
        <p15:guide id="9" orient="horz" pos="3793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yndsay McGregor" initials="LM" lastIdx="9" clrIdx="0"/>
  <p:cmAuthor id="1" name="O'Flaherty, David" initials="OD" lastIdx="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5DFF0"/>
    <a:srgbClr val="6EC2CF"/>
    <a:srgbClr val="E06D68"/>
    <a:srgbClr val="EA4E52"/>
    <a:srgbClr val="112C41"/>
    <a:srgbClr val="E7E6E6"/>
    <a:srgbClr val="77A2D5"/>
    <a:srgbClr val="DC4C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DD4EA"/>
          </a:solidFill>
        </a:fill>
      </a:tcStyle>
    </a:wholeTbl>
    <a:band2H>
      <a:tcTxStyle/>
      <a:tcStyle>
        <a:tcBdr/>
        <a:fill>
          <a:solidFill>
            <a:srgbClr val="E8EBF5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0E0E0"/>
          </a:solidFill>
        </a:fill>
      </a:tcStyle>
    </a:wholeTbl>
    <a:band2H>
      <a:tcTxStyle/>
      <a:tcStyle>
        <a:tcBdr/>
        <a:fill>
          <a:solidFill>
            <a:srgbClr val="F0F0F0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4E2CE"/>
          </a:solidFill>
        </a:fill>
      </a:tcStyle>
    </a:wholeTbl>
    <a:band2H>
      <a:tcTxStyle/>
      <a:tcStyle>
        <a:tcBdr/>
        <a:fill>
          <a:solidFill>
            <a:srgbClr val="EBF1E8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8892" autoAdjust="0"/>
    <p:restoredTop sz="93837" autoAdjust="0"/>
  </p:normalViewPr>
  <p:slideViewPr>
    <p:cSldViewPr snapToGrid="0" snapToObjects="1">
      <p:cViewPr varScale="1">
        <p:scale>
          <a:sx n="63" d="100"/>
          <a:sy n="63" d="100"/>
        </p:scale>
        <p:origin x="450" y="66"/>
      </p:cViewPr>
      <p:guideLst>
        <p:guide orient="horz" pos="935"/>
        <p:guide pos="3817"/>
        <p:guide orient="horz" pos="346"/>
        <p:guide orient="horz" pos="3498"/>
        <p:guide orient="horz" pos="2886"/>
        <p:guide orient="horz" pos="3181"/>
        <p:guide pos="302"/>
        <p:guide pos="370"/>
        <p:guide orient="horz" pos="379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76200">
              <a:noFill/>
            </a:ln>
          </c:spPr>
          <c:dPt>
            <c:idx val="0"/>
            <c:bubble3D val="0"/>
            <c:spPr>
              <a:gradFill>
                <a:gsLst>
                  <a:gs pos="81000">
                    <a:schemeClr val="accent4"/>
                  </a:gs>
                  <a:gs pos="0">
                    <a:schemeClr val="accent4">
                      <a:lumMod val="60000"/>
                      <a:lumOff val="40000"/>
                    </a:schemeClr>
                  </a:gs>
                </a:gsLst>
                <a:lin ang="10800000" scaled="1"/>
              </a:gradFill>
              <a:ln w="762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602-4FF7-B182-DC4C6B7B1571}"/>
              </c:ext>
            </c:extLst>
          </c:dPt>
          <c:dPt>
            <c:idx val="1"/>
            <c:bubble3D val="0"/>
            <c:spPr>
              <a:gradFill>
                <a:gsLst>
                  <a:gs pos="81000">
                    <a:schemeClr val="bg2">
                      <a:lumMod val="75000"/>
                    </a:schemeClr>
                  </a:gs>
                  <a:gs pos="0">
                    <a:schemeClr val="bg2"/>
                  </a:gs>
                </a:gsLst>
                <a:lin ang="10800000" scaled="1"/>
              </a:gradFill>
              <a:ln w="762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602-4FF7-B182-DC4C6B7B157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0.39</c:v>
                </c:pt>
                <c:pt idx="1">
                  <c:v>0.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602-4FF7-B182-DC4C6B7B15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766773162939296E-2"/>
          <c:y val="2.4597918637653739E-2"/>
          <c:w val="0.95846645367412142"/>
          <c:h val="0.9508041627246924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DD2-4FF3-819F-83FC2DFAABF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DD2-4FF3-819F-83FC2DFAABF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6.7</c:v>
                </c:pt>
                <c:pt idx="1">
                  <c:v>18.31324864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DD2-4FF3-819F-83FC2DFAABFB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DD2-4FF3-819F-83FC2DFAABF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DD2-4FF3-819F-83FC2DFAABF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accent1"/>
                    </a:solidFill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8.3000000000000007</c:v>
                </c:pt>
                <c:pt idx="1">
                  <c:v>8.47841100000000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DD2-4FF3-819F-83FC2DFAAB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54570528"/>
        <c:axId val="754570920"/>
      </c:barChart>
      <c:catAx>
        <c:axId val="7545705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accent5"/>
            </a:solidFill>
            <a:prstDash val="solid"/>
          </a:ln>
        </c:spPr>
        <c:crossAx val="754570920"/>
        <c:crosses val="min"/>
        <c:auto val="0"/>
        <c:lblAlgn val="ctr"/>
        <c:lblOffset val="100"/>
        <c:noMultiLvlLbl val="0"/>
      </c:catAx>
      <c:valAx>
        <c:axId val="754570920"/>
        <c:scaling>
          <c:orientation val="minMax"/>
          <c:max val="26.7916596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545705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402340234023402E-2"/>
          <c:y val="2.3402340234023402E-2"/>
          <c:w val="0.95319531953195313"/>
          <c:h val="0.9531953195319531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613-4679-9F31-AD5730F6DB5F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8613-4679-9F31-AD5730F6DB5F}"/>
              </c:ext>
            </c:extLst>
          </c:dPt>
          <c:dPt>
            <c:idx val="2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8613-4679-9F31-AD5730F6DB5F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0">
                  <c:v>8.48</c:v>
                </c:pt>
                <c:pt idx="1">
                  <c:v>12.24</c:v>
                </c:pt>
                <c:pt idx="2">
                  <c:v>6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613-4679-9F31-AD5730F6DB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4753E40-3E61-4B1E-A721-D2A67820E8AB}" type="doc">
      <dgm:prSet loTypeId="urn:microsoft.com/office/officeart/2005/8/layout/lProcess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6AF841E-6A37-4B59-8C57-1513B3E32D8F}">
      <dgm:prSet phldrT="[Text]" custT="1"/>
      <dgm:spPr/>
      <dgm:t>
        <a:bodyPr/>
        <a:lstStyle/>
        <a:p>
          <a:r>
            <a:rPr lang="en-US" sz="1600" dirty="0"/>
            <a:t>1. </a:t>
          </a:r>
          <a:r>
            <a:rPr lang="en-US" sz="1800" dirty="0"/>
            <a:t>Ideation</a:t>
          </a:r>
        </a:p>
      </dgm:t>
    </dgm:pt>
    <dgm:pt modelId="{2EE57133-7CDB-42B6-8671-9E53D59DEE16}" type="parTrans" cxnId="{D41C8B34-5C3C-44C5-9A1D-C0051BD02D89}">
      <dgm:prSet/>
      <dgm:spPr/>
      <dgm:t>
        <a:bodyPr/>
        <a:lstStyle/>
        <a:p>
          <a:endParaRPr lang="en-US"/>
        </a:p>
      </dgm:t>
    </dgm:pt>
    <dgm:pt modelId="{21723A86-265D-42C6-85B7-6177259505AD}" type="sibTrans" cxnId="{D41C8B34-5C3C-44C5-9A1D-C0051BD02D89}">
      <dgm:prSet/>
      <dgm:spPr/>
      <dgm:t>
        <a:bodyPr/>
        <a:lstStyle/>
        <a:p>
          <a:endParaRPr lang="en-US"/>
        </a:p>
      </dgm:t>
    </dgm:pt>
    <dgm:pt modelId="{BE7930E1-E2BB-4D0A-B4C2-19D04BB3AC6A}">
      <dgm:prSet phldrT="[Text]" custT="1"/>
      <dgm:spPr/>
      <dgm:t>
        <a:bodyPr/>
        <a:lstStyle/>
        <a:p>
          <a:r>
            <a:rPr lang="en-US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Supports to launch your business idea</a:t>
          </a:r>
          <a:r>
            <a:rPr lang="en-US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.</a:t>
          </a:r>
        </a:p>
      </dgm:t>
    </dgm:pt>
    <dgm:pt modelId="{CE3E88BF-EEA1-4805-BE47-168D2DF5B34E}" type="parTrans" cxnId="{3B12F14C-5A2D-41D2-8E2A-0C5FE4C382E3}">
      <dgm:prSet/>
      <dgm:spPr/>
      <dgm:t>
        <a:bodyPr/>
        <a:lstStyle/>
        <a:p>
          <a:endParaRPr lang="en-US"/>
        </a:p>
      </dgm:t>
    </dgm:pt>
    <dgm:pt modelId="{BCFF1CF0-E603-4548-B94F-B711F4914C6C}" type="sibTrans" cxnId="{3B12F14C-5A2D-41D2-8E2A-0C5FE4C382E3}">
      <dgm:prSet/>
      <dgm:spPr/>
      <dgm:t>
        <a:bodyPr/>
        <a:lstStyle/>
        <a:p>
          <a:endParaRPr lang="en-US"/>
        </a:p>
      </dgm:t>
    </dgm:pt>
    <dgm:pt modelId="{BD21B8CB-57B0-4DEC-9A7C-841D4B506FEE}">
      <dgm:prSet phldrT="[Text]" custT="1"/>
      <dgm:spPr/>
      <dgm:t>
        <a:bodyPr/>
        <a:lstStyle/>
        <a:p>
          <a:r>
            <a:rPr lang="en-US" sz="1800" dirty="0"/>
            <a:t>3. Validation</a:t>
          </a:r>
        </a:p>
      </dgm:t>
    </dgm:pt>
    <dgm:pt modelId="{35ED566E-9C8A-4DB9-9A92-1BFDA02A454D}" type="parTrans" cxnId="{104ADF3F-7324-42DA-967A-279F65296B24}">
      <dgm:prSet/>
      <dgm:spPr/>
      <dgm:t>
        <a:bodyPr/>
        <a:lstStyle/>
        <a:p>
          <a:endParaRPr lang="en-US"/>
        </a:p>
      </dgm:t>
    </dgm:pt>
    <dgm:pt modelId="{34B9B40E-6D6D-4C03-9E25-A823A07C49B5}" type="sibTrans" cxnId="{104ADF3F-7324-42DA-967A-279F65296B24}">
      <dgm:prSet/>
      <dgm:spPr/>
      <dgm:t>
        <a:bodyPr/>
        <a:lstStyle/>
        <a:p>
          <a:endParaRPr lang="en-US"/>
        </a:p>
      </dgm:t>
    </dgm:pt>
    <dgm:pt modelId="{708B1019-CAD6-412D-AC2E-D8D08CA36663}">
      <dgm:prSet phldrT="[Text]" custT="1"/>
      <dgm:spPr/>
      <dgm:t>
        <a:bodyPr/>
        <a:lstStyle/>
        <a:p>
          <a:r>
            <a:rPr lang="en-US" sz="1400" dirty="0"/>
            <a:t>4. </a:t>
          </a:r>
          <a:r>
            <a:rPr lang="en-US" sz="1600" dirty="0"/>
            <a:t>Getting Investor Ready</a:t>
          </a:r>
        </a:p>
      </dgm:t>
    </dgm:pt>
    <dgm:pt modelId="{7C03B8AD-500B-4E50-9D7E-2321891D8031}" type="parTrans" cxnId="{29E1CE22-DE12-438E-95C4-DDE0E7593543}">
      <dgm:prSet/>
      <dgm:spPr/>
      <dgm:t>
        <a:bodyPr/>
        <a:lstStyle/>
        <a:p>
          <a:endParaRPr lang="en-US"/>
        </a:p>
      </dgm:t>
    </dgm:pt>
    <dgm:pt modelId="{5FE99DC1-9992-4D4C-8155-35959A96E6F6}" type="sibTrans" cxnId="{29E1CE22-DE12-438E-95C4-DDE0E7593543}">
      <dgm:prSet/>
      <dgm:spPr/>
      <dgm:t>
        <a:bodyPr/>
        <a:lstStyle/>
        <a:p>
          <a:endParaRPr lang="en-US"/>
        </a:p>
      </dgm:t>
    </dgm:pt>
    <dgm:pt modelId="{42B67F71-4949-4FC1-AB9F-A93184F33C13}">
      <dgm:prSet phldrT="[Text]" custT="1"/>
      <dgm:spPr/>
      <dgm:t>
        <a:bodyPr/>
        <a:lstStyle/>
        <a:p>
          <a:r>
            <a:rPr lang="en-US" sz="1700" dirty="0"/>
            <a:t>5. </a:t>
          </a:r>
          <a:r>
            <a:rPr lang="en-US" sz="1600" dirty="0"/>
            <a:t>Growth &amp; Scale</a:t>
          </a:r>
        </a:p>
      </dgm:t>
    </dgm:pt>
    <dgm:pt modelId="{60550B76-09C9-4000-84D6-644C04E4D113}" type="parTrans" cxnId="{304F2B43-4A7B-4B6E-8919-0BDC53A2E3AA}">
      <dgm:prSet/>
      <dgm:spPr/>
      <dgm:t>
        <a:bodyPr/>
        <a:lstStyle/>
        <a:p>
          <a:endParaRPr lang="en-US"/>
        </a:p>
      </dgm:t>
    </dgm:pt>
    <dgm:pt modelId="{87D2C78B-ED0C-4345-B3D3-45CE5CF76AA8}" type="sibTrans" cxnId="{304F2B43-4A7B-4B6E-8919-0BDC53A2E3AA}">
      <dgm:prSet/>
      <dgm:spPr/>
      <dgm:t>
        <a:bodyPr/>
        <a:lstStyle/>
        <a:p>
          <a:endParaRPr lang="en-US"/>
        </a:p>
      </dgm:t>
    </dgm:pt>
    <dgm:pt modelId="{B8CA2C84-1EA3-42DD-8CD7-7D2C8272A611}">
      <dgm:prSet phldrT="[Text]" custT="1"/>
      <dgm:spPr/>
      <dgm:t>
        <a:bodyPr/>
        <a:lstStyle/>
        <a:p>
          <a:r>
            <a:rPr lang="en-US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Developing a minimum viable product for an identified market</a:t>
          </a:r>
        </a:p>
      </dgm:t>
    </dgm:pt>
    <dgm:pt modelId="{F8810B2D-0E90-4977-B80E-19143E9CD54B}" type="parTrans" cxnId="{F015DFDB-5E22-48AF-B3F2-CDA897CA56AE}">
      <dgm:prSet/>
      <dgm:spPr/>
      <dgm:t>
        <a:bodyPr/>
        <a:lstStyle/>
        <a:p>
          <a:endParaRPr lang="en-US"/>
        </a:p>
      </dgm:t>
    </dgm:pt>
    <dgm:pt modelId="{A2F8657D-3DDA-4FC1-8246-82117E4448AF}" type="sibTrans" cxnId="{F015DFDB-5E22-48AF-B3F2-CDA897CA56AE}">
      <dgm:prSet/>
      <dgm:spPr/>
      <dgm:t>
        <a:bodyPr/>
        <a:lstStyle/>
        <a:p>
          <a:endParaRPr lang="en-US"/>
        </a:p>
      </dgm:t>
    </dgm:pt>
    <dgm:pt modelId="{FCF75889-F9C3-42F8-B337-20BE2F1FBBDF}">
      <dgm:prSet phldrT="[Text]" custT="1"/>
      <dgm:spPr/>
      <dgm:t>
        <a:bodyPr/>
        <a:lstStyle/>
        <a:p>
          <a:r>
            <a:rPr lang="en-US" sz="1600" dirty="0"/>
            <a:t>Seek investment, early sales &amp;  building a management team</a:t>
          </a:r>
        </a:p>
      </dgm:t>
    </dgm:pt>
    <dgm:pt modelId="{58CF4CCA-A2F3-4D3E-989B-B7F3F196107D}" type="parTrans" cxnId="{D7BE5A80-1D0C-4F2A-9003-A3BD85A0EAE5}">
      <dgm:prSet/>
      <dgm:spPr/>
      <dgm:t>
        <a:bodyPr/>
        <a:lstStyle/>
        <a:p>
          <a:endParaRPr lang="en-US"/>
        </a:p>
      </dgm:t>
    </dgm:pt>
    <dgm:pt modelId="{92398B79-2907-498E-A1B9-B1C39DF5721B}" type="sibTrans" cxnId="{D7BE5A80-1D0C-4F2A-9003-A3BD85A0EAE5}">
      <dgm:prSet/>
      <dgm:spPr/>
      <dgm:t>
        <a:bodyPr/>
        <a:lstStyle/>
        <a:p>
          <a:endParaRPr lang="en-US"/>
        </a:p>
      </dgm:t>
    </dgm:pt>
    <dgm:pt modelId="{64E47730-2106-4356-A954-9A5894990520}">
      <dgm:prSet custT="1"/>
      <dgm:spPr/>
      <dgm:t>
        <a:bodyPr/>
        <a:lstStyle/>
        <a:p>
          <a:r>
            <a:rPr lang="en-US" sz="1600" dirty="0"/>
            <a:t>Accelerating growth in international markets</a:t>
          </a:r>
        </a:p>
      </dgm:t>
    </dgm:pt>
    <dgm:pt modelId="{EC461B0F-662B-4CA8-8FE1-6B5936F67E98}" type="parTrans" cxnId="{7028BE61-E6FC-4F9B-9B17-0776BEAA681B}">
      <dgm:prSet/>
      <dgm:spPr/>
      <dgm:t>
        <a:bodyPr/>
        <a:lstStyle/>
        <a:p>
          <a:endParaRPr lang="en-US"/>
        </a:p>
      </dgm:t>
    </dgm:pt>
    <dgm:pt modelId="{DB894A78-D83D-47B2-8122-43FBD6436516}" type="sibTrans" cxnId="{7028BE61-E6FC-4F9B-9B17-0776BEAA681B}">
      <dgm:prSet/>
      <dgm:spPr/>
      <dgm:t>
        <a:bodyPr/>
        <a:lstStyle/>
        <a:p>
          <a:endParaRPr lang="en-US"/>
        </a:p>
      </dgm:t>
    </dgm:pt>
    <dgm:pt modelId="{EF1040F2-396F-49F0-96C4-C64A246F7B99}">
      <dgm:prSet phldrT="[Text]" custT="1"/>
      <dgm:spPr/>
      <dgm:t>
        <a:bodyPr/>
        <a:lstStyle/>
        <a:p>
          <a:r>
            <a:rPr lang="en-US" sz="1800" dirty="0"/>
            <a:t>2. Concept</a:t>
          </a:r>
        </a:p>
      </dgm:t>
    </dgm:pt>
    <dgm:pt modelId="{9BABC117-3433-4F08-BF7F-7CA97A60402D}" type="parTrans" cxnId="{F6E43E95-F9F0-4B38-B220-DA9439A71EA4}">
      <dgm:prSet/>
      <dgm:spPr/>
      <dgm:t>
        <a:bodyPr/>
        <a:lstStyle/>
        <a:p>
          <a:endParaRPr lang="en-US"/>
        </a:p>
      </dgm:t>
    </dgm:pt>
    <dgm:pt modelId="{0A19D549-DE2C-4D86-9A7F-FA4D9757CEE3}" type="sibTrans" cxnId="{F6E43E95-F9F0-4B38-B220-DA9439A71EA4}">
      <dgm:prSet/>
      <dgm:spPr/>
      <dgm:t>
        <a:bodyPr/>
        <a:lstStyle/>
        <a:p>
          <a:endParaRPr lang="en-US"/>
        </a:p>
      </dgm:t>
    </dgm:pt>
    <dgm:pt modelId="{006A3D39-2F97-4342-B921-1E3C7F1E8B04}">
      <dgm:prSet phldrT="[Text]" custT="1"/>
      <dgm:spPr/>
      <dgm:t>
        <a:bodyPr/>
        <a:lstStyle/>
        <a:p>
          <a:r>
            <a:rPr lang="en-US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Develop business plan, mission &amp;  milestones</a:t>
          </a:r>
        </a:p>
      </dgm:t>
    </dgm:pt>
    <dgm:pt modelId="{9FAB867B-6B54-489E-8485-160C23D4D48A}" type="parTrans" cxnId="{D2308983-90E1-42CD-9AE6-007EF97CDD2F}">
      <dgm:prSet/>
      <dgm:spPr/>
      <dgm:t>
        <a:bodyPr/>
        <a:lstStyle/>
        <a:p>
          <a:endParaRPr lang="en-US"/>
        </a:p>
      </dgm:t>
    </dgm:pt>
    <dgm:pt modelId="{405F3EF6-3483-42EC-8ADB-7EF2F807594D}" type="sibTrans" cxnId="{D2308983-90E1-42CD-9AE6-007EF97CDD2F}">
      <dgm:prSet/>
      <dgm:spPr/>
      <dgm:t>
        <a:bodyPr/>
        <a:lstStyle/>
        <a:p>
          <a:endParaRPr lang="en-US"/>
        </a:p>
      </dgm:t>
    </dgm:pt>
    <dgm:pt modelId="{0036D5A3-F440-4282-A2A9-64560CB473F4}" type="pres">
      <dgm:prSet presAssocID="{94753E40-3E61-4B1E-A721-D2A67820E8AB}" presName="theList" presStyleCnt="0">
        <dgm:presLayoutVars>
          <dgm:dir/>
          <dgm:animLvl val="lvl"/>
          <dgm:resizeHandles val="exact"/>
        </dgm:presLayoutVars>
      </dgm:prSet>
      <dgm:spPr/>
    </dgm:pt>
    <dgm:pt modelId="{41D9A035-2CFE-4B42-AF49-FB77E65ACCE1}" type="pres">
      <dgm:prSet presAssocID="{56AF841E-6A37-4B59-8C57-1513B3E32D8F}" presName="compNode" presStyleCnt="0"/>
      <dgm:spPr/>
    </dgm:pt>
    <dgm:pt modelId="{9F8F2F6E-8A8B-4820-A246-414DFA2AFD46}" type="pres">
      <dgm:prSet presAssocID="{56AF841E-6A37-4B59-8C57-1513B3E32D8F}" presName="aNode" presStyleLbl="bgShp" presStyleIdx="0" presStyleCnt="5" custScaleY="100000" custLinFactNeighborX="-285" custLinFactNeighborY="14920"/>
      <dgm:spPr/>
    </dgm:pt>
    <dgm:pt modelId="{69B077CF-2846-422B-A931-82D929E5E3EA}" type="pres">
      <dgm:prSet presAssocID="{56AF841E-6A37-4B59-8C57-1513B3E32D8F}" presName="textNode" presStyleLbl="bgShp" presStyleIdx="0" presStyleCnt="5"/>
      <dgm:spPr/>
    </dgm:pt>
    <dgm:pt modelId="{E424B03A-A8C4-4DC4-AC75-0445EAEF4EAF}" type="pres">
      <dgm:prSet presAssocID="{56AF841E-6A37-4B59-8C57-1513B3E32D8F}" presName="compChildNode" presStyleCnt="0"/>
      <dgm:spPr/>
    </dgm:pt>
    <dgm:pt modelId="{44FE7F0B-3B24-44A5-BF96-1893035FFB42}" type="pres">
      <dgm:prSet presAssocID="{56AF841E-6A37-4B59-8C57-1513B3E32D8F}" presName="theInnerList" presStyleCnt="0"/>
      <dgm:spPr/>
    </dgm:pt>
    <dgm:pt modelId="{59DFF9E9-4F67-49C7-B5AE-7A5287B85F21}" type="pres">
      <dgm:prSet presAssocID="{BE7930E1-E2BB-4D0A-B4C2-19D04BB3AC6A}" presName="childNode" presStyleLbl="node1" presStyleIdx="0" presStyleCnt="5" custScaleY="137128" custLinFactNeighborX="3159" custLinFactNeighborY="-7746">
        <dgm:presLayoutVars>
          <dgm:bulletEnabled val="1"/>
        </dgm:presLayoutVars>
      </dgm:prSet>
      <dgm:spPr/>
    </dgm:pt>
    <dgm:pt modelId="{9A7A326E-FD97-46DD-90CB-E4222357136A}" type="pres">
      <dgm:prSet presAssocID="{56AF841E-6A37-4B59-8C57-1513B3E32D8F}" presName="aSpace" presStyleCnt="0"/>
      <dgm:spPr/>
    </dgm:pt>
    <dgm:pt modelId="{FE0562F9-6978-4460-BD1E-E76E948523A8}" type="pres">
      <dgm:prSet presAssocID="{EF1040F2-396F-49F0-96C4-C64A246F7B99}" presName="compNode" presStyleCnt="0"/>
      <dgm:spPr/>
    </dgm:pt>
    <dgm:pt modelId="{4C9B931E-E68D-49EB-BF3B-77A94020637D}" type="pres">
      <dgm:prSet presAssocID="{EF1040F2-396F-49F0-96C4-C64A246F7B99}" presName="aNode" presStyleLbl="bgShp" presStyleIdx="1" presStyleCnt="5" custScaleY="100000" custLinFactNeighborX="-1238" custLinFactNeighborY="-14535"/>
      <dgm:spPr/>
    </dgm:pt>
    <dgm:pt modelId="{D095DC18-2E42-4B1D-A923-7F86E63DEFF8}" type="pres">
      <dgm:prSet presAssocID="{EF1040F2-396F-49F0-96C4-C64A246F7B99}" presName="textNode" presStyleLbl="bgShp" presStyleIdx="1" presStyleCnt="5"/>
      <dgm:spPr/>
    </dgm:pt>
    <dgm:pt modelId="{5149CE30-E7C3-483F-BE7F-327DCA09075D}" type="pres">
      <dgm:prSet presAssocID="{EF1040F2-396F-49F0-96C4-C64A246F7B99}" presName="compChildNode" presStyleCnt="0"/>
      <dgm:spPr/>
    </dgm:pt>
    <dgm:pt modelId="{82EFE550-BA69-40D3-85E7-6CE5242B4E38}" type="pres">
      <dgm:prSet presAssocID="{EF1040F2-396F-49F0-96C4-C64A246F7B99}" presName="theInnerList" presStyleCnt="0"/>
      <dgm:spPr/>
    </dgm:pt>
    <dgm:pt modelId="{92F7A971-05B0-4A2B-8ACB-2912334FF5AB}" type="pres">
      <dgm:prSet presAssocID="{006A3D39-2F97-4342-B921-1E3C7F1E8B04}" presName="childNode" presStyleLbl="node1" presStyleIdx="1" presStyleCnt="5" custScaleY="118241" custLinFactNeighborX="-1649" custLinFactNeighborY="-11435">
        <dgm:presLayoutVars>
          <dgm:bulletEnabled val="1"/>
        </dgm:presLayoutVars>
      </dgm:prSet>
      <dgm:spPr/>
    </dgm:pt>
    <dgm:pt modelId="{04D5E9D5-B12F-435F-A359-4AFFAEA4B468}" type="pres">
      <dgm:prSet presAssocID="{EF1040F2-396F-49F0-96C4-C64A246F7B99}" presName="aSpace" presStyleCnt="0"/>
      <dgm:spPr/>
    </dgm:pt>
    <dgm:pt modelId="{3519E264-9E9D-4F23-A5CA-72E41645F8EB}" type="pres">
      <dgm:prSet presAssocID="{BD21B8CB-57B0-4DEC-9A7C-841D4B506FEE}" presName="compNode" presStyleCnt="0"/>
      <dgm:spPr/>
    </dgm:pt>
    <dgm:pt modelId="{AD7A88B1-EECD-4D15-A182-DD0CF4B9D637}" type="pres">
      <dgm:prSet presAssocID="{BD21B8CB-57B0-4DEC-9A7C-841D4B506FEE}" presName="aNode" presStyleLbl="bgShp" presStyleIdx="2" presStyleCnt="5"/>
      <dgm:spPr/>
    </dgm:pt>
    <dgm:pt modelId="{A464D07E-E530-4A54-BF01-5353E208AF0F}" type="pres">
      <dgm:prSet presAssocID="{BD21B8CB-57B0-4DEC-9A7C-841D4B506FEE}" presName="textNode" presStyleLbl="bgShp" presStyleIdx="2" presStyleCnt="5"/>
      <dgm:spPr/>
    </dgm:pt>
    <dgm:pt modelId="{87474F43-9E4A-43C2-ADC3-354D44555F83}" type="pres">
      <dgm:prSet presAssocID="{BD21B8CB-57B0-4DEC-9A7C-841D4B506FEE}" presName="compChildNode" presStyleCnt="0"/>
      <dgm:spPr/>
    </dgm:pt>
    <dgm:pt modelId="{71D4EFB1-EE9B-46BE-ABDE-64E40BD7484B}" type="pres">
      <dgm:prSet presAssocID="{BD21B8CB-57B0-4DEC-9A7C-841D4B506FEE}" presName="theInnerList" presStyleCnt="0"/>
      <dgm:spPr/>
    </dgm:pt>
    <dgm:pt modelId="{4C6B6FA8-E528-4009-A87F-9029916CACB7}" type="pres">
      <dgm:prSet presAssocID="{B8CA2C84-1EA3-42DD-8CD7-7D2C8272A611}" presName="childNode" presStyleLbl="node1" presStyleIdx="2" presStyleCnt="5" custScaleX="105497" custScaleY="139250" custLinFactNeighborX="1999" custLinFactNeighborY="-8051">
        <dgm:presLayoutVars>
          <dgm:bulletEnabled val="1"/>
        </dgm:presLayoutVars>
      </dgm:prSet>
      <dgm:spPr/>
    </dgm:pt>
    <dgm:pt modelId="{E38F55A9-9DFE-4DF3-B137-0545C4B4673D}" type="pres">
      <dgm:prSet presAssocID="{BD21B8CB-57B0-4DEC-9A7C-841D4B506FEE}" presName="aSpace" presStyleCnt="0"/>
      <dgm:spPr/>
    </dgm:pt>
    <dgm:pt modelId="{1BC2664A-917A-4908-86FF-BC199F205B73}" type="pres">
      <dgm:prSet presAssocID="{708B1019-CAD6-412D-AC2E-D8D08CA36663}" presName="compNode" presStyleCnt="0"/>
      <dgm:spPr/>
    </dgm:pt>
    <dgm:pt modelId="{A561396B-094B-4E5D-85CA-F815D6AAA183}" type="pres">
      <dgm:prSet presAssocID="{708B1019-CAD6-412D-AC2E-D8D08CA36663}" presName="aNode" presStyleLbl="bgShp" presStyleIdx="3" presStyleCnt="5"/>
      <dgm:spPr/>
    </dgm:pt>
    <dgm:pt modelId="{5407D20B-9976-4126-9405-AA84651ED359}" type="pres">
      <dgm:prSet presAssocID="{708B1019-CAD6-412D-AC2E-D8D08CA36663}" presName="textNode" presStyleLbl="bgShp" presStyleIdx="3" presStyleCnt="5"/>
      <dgm:spPr/>
    </dgm:pt>
    <dgm:pt modelId="{3192A195-4FDE-46B1-82EA-CB0A59995B09}" type="pres">
      <dgm:prSet presAssocID="{708B1019-CAD6-412D-AC2E-D8D08CA36663}" presName="compChildNode" presStyleCnt="0"/>
      <dgm:spPr/>
    </dgm:pt>
    <dgm:pt modelId="{D3F47916-E56D-4CFF-AD03-63BD585DD23B}" type="pres">
      <dgm:prSet presAssocID="{708B1019-CAD6-412D-AC2E-D8D08CA36663}" presName="theInnerList" presStyleCnt="0"/>
      <dgm:spPr/>
    </dgm:pt>
    <dgm:pt modelId="{0EA98244-909A-4981-9926-6E7EEA8F32FA}" type="pres">
      <dgm:prSet presAssocID="{FCF75889-F9C3-42F8-B337-20BE2F1FBBDF}" presName="childNode" presStyleLbl="node1" presStyleIdx="3" presStyleCnt="5" custScaleX="115929" custScaleY="115117" custLinFactNeighborX="-965" custLinFactNeighborY="-6651">
        <dgm:presLayoutVars>
          <dgm:bulletEnabled val="1"/>
        </dgm:presLayoutVars>
      </dgm:prSet>
      <dgm:spPr/>
    </dgm:pt>
    <dgm:pt modelId="{EE18FD87-C369-4B9F-A141-5A4CAD71B7BB}" type="pres">
      <dgm:prSet presAssocID="{708B1019-CAD6-412D-AC2E-D8D08CA36663}" presName="aSpace" presStyleCnt="0"/>
      <dgm:spPr/>
    </dgm:pt>
    <dgm:pt modelId="{FAE885F1-9DA6-4910-8FC9-2520BA3B7021}" type="pres">
      <dgm:prSet presAssocID="{42B67F71-4949-4FC1-AB9F-A93184F33C13}" presName="compNode" presStyleCnt="0"/>
      <dgm:spPr/>
    </dgm:pt>
    <dgm:pt modelId="{C6869C6F-8EDC-41C7-B8EF-2C6BF7648AC1}" type="pres">
      <dgm:prSet presAssocID="{42B67F71-4949-4FC1-AB9F-A93184F33C13}" presName="aNode" presStyleLbl="bgShp" presStyleIdx="4" presStyleCnt="5" custLinFactNeighborX="285" custLinFactNeighborY="3220"/>
      <dgm:spPr/>
    </dgm:pt>
    <dgm:pt modelId="{EC0768AD-DE00-4822-9862-33FFE06E2A0C}" type="pres">
      <dgm:prSet presAssocID="{42B67F71-4949-4FC1-AB9F-A93184F33C13}" presName="textNode" presStyleLbl="bgShp" presStyleIdx="4" presStyleCnt="5"/>
      <dgm:spPr/>
    </dgm:pt>
    <dgm:pt modelId="{6E22F101-10D0-4AB0-9847-F003BC5B4AB8}" type="pres">
      <dgm:prSet presAssocID="{42B67F71-4949-4FC1-AB9F-A93184F33C13}" presName="compChildNode" presStyleCnt="0"/>
      <dgm:spPr/>
    </dgm:pt>
    <dgm:pt modelId="{37E9CC3F-CCD7-4847-BFCB-2140267BB07D}" type="pres">
      <dgm:prSet presAssocID="{42B67F71-4949-4FC1-AB9F-A93184F33C13}" presName="theInnerList" presStyleCnt="0"/>
      <dgm:spPr/>
    </dgm:pt>
    <dgm:pt modelId="{040B8E87-547D-452C-8FB9-8EAA3058A389}" type="pres">
      <dgm:prSet presAssocID="{64E47730-2106-4356-A954-9A5894990520}" presName="childNode" presStyleLbl="node1" presStyleIdx="4" presStyleCnt="5" custScaleY="117343" custLinFactNeighborX="38" custLinFactNeighborY="-6772">
        <dgm:presLayoutVars>
          <dgm:bulletEnabled val="1"/>
        </dgm:presLayoutVars>
      </dgm:prSet>
      <dgm:spPr/>
    </dgm:pt>
  </dgm:ptLst>
  <dgm:cxnLst>
    <dgm:cxn modelId="{03BE210A-38A4-488E-ADA5-FA499A7353A0}" type="presOf" srcId="{EF1040F2-396F-49F0-96C4-C64A246F7B99}" destId="{D095DC18-2E42-4B1D-A923-7F86E63DEFF8}" srcOrd="1" destOrd="0" presId="urn:microsoft.com/office/officeart/2005/8/layout/lProcess2"/>
    <dgm:cxn modelId="{F8B0620C-40F5-4627-A38D-DF4DD7A4536E}" type="presOf" srcId="{708B1019-CAD6-412D-AC2E-D8D08CA36663}" destId="{5407D20B-9976-4126-9405-AA84651ED359}" srcOrd="1" destOrd="0" presId="urn:microsoft.com/office/officeart/2005/8/layout/lProcess2"/>
    <dgm:cxn modelId="{F50C2A16-1158-4638-99AC-660B4F9C99A7}" type="presOf" srcId="{EF1040F2-396F-49F0-96C4-C64A246F7B99}" destId="{4C9B931E-E68D-49EB-BF3B-77A94020637D}" srcOrd="0" destOrd="0" presId="urn:microsoft.com/office/officeart/2005/8/layout/lProcess2"/>
    <dgm:cxn modelId="{206D8721-BB6A-4FDA-A460-BB90982A205C}" type="presOf" srcId="{42B67F71-4949-4FC1-AB9F-A93184F33C13}" destId="{C6869C6F-8EDC-41C7-B8EF-2C6BF7648AC1}" srcOrd="0" destOrd="0" presId="urn:microsoft.com/office/officeart/2005/8/layout/lProcess2"/>
    <dgm:cxn modelId="{29E1CE22-DE12-438E-95C4-DDE0E7593543}" srcId="{94753E40-3E61-4B1E-A721-D2A67820E8AB}" destId="{708B1019-CAD6-412D-AC2E-D8D08CA36663}" srcOrd="3" destOrd="0" parTransId="{7C03B8AD-500B-4E50-9D7E-2321891D8031}" sibTransId="{5FE99DC1-9992-4D4C-8155-35959A96E6F6}"/>
    <dgm:cxn modelId="{D41C8B34-5C3C-44C5-9A1D-C0051BD02D89}" srcId="{94753E40-3E61-4B1E-A721-D2A67820E8AB}" destId="{56AF841E-6A37-4B59-8C57-1513B3E32D8F}" srcOrd="0" destOrd="0" parTransId="{2EE57133-7CDB-42B6-8671-9E53D59DEE16}" sibTransId="{21723A86-265D-42C6-85B7-6177259505AD}"/>
    <dgm:cxn modelId="{3818CE35-BE20-4BA4-8C9B-7383848B362C}" type="presOf" srcId="{B8CA2C84-1EA3-42DD-8CD7-7D2C8272A611}" destId="{4C6B6FA8-E528-4009-A87F-9029916CACB7}" srcOrd="0" destOrd="0" presId="urn:microsoft.com/office/officeart/2005/8/layout/lProcess2"/>
    <dgm:cxn modelId="{104ADF3F-7324-42DA-967A-279F65296B24}" srcId="{94753E40-3E61-4B1E-A721-D2A67820E8AB}" destId="{BD21B8CB-57B0-4DEC-9A7C-841D4B506FEE}" srcOrd="2" destOrd="0" parTransId="{35ED566E-9C8A-4DB9-9A92-1BFDA02A454D}" sibTransId="{34B9B40E-6D6D-4C03-9E25-A823A07C49B5}"/>
    <dgm:cxn modelId="{4ECA825F-828D-4BFB-9C0D-557620B568CC}" type="presOf" srcId="{64E47730-2106-4356-A954-9A5894990520}" destId="{040B8E87-547D-452C-8FB9-8EAA3058A389}" srcOrd="0" destOrd="0" presId="urn:microsoft.com/office/officeart/2005/8/layout/lProcess2"/>
    <dgm:cxn modelId="{E20FBB61-C0DC-42EF-BEC6-EA11A8EE0E1C}" type="presOf" srcId="{56AF841E-6A37-4B59-8C57-1513B3E32D8F}" destId="{9F8F2F6E-8A8B-4820-A246-414DFA2AFD46}" srcOrd="0" destOrd="0" presId="urn:microsoft.com/office/officeart/2005/8/layout/lProcess2"/>
    <dgm:cxn modelId="{7028BE61-E6FC-4F9B-9B17-0776BEAA681B}" srcId="{42B67F71-4949-4FC1-AB9F-A93184F33C13}" destId="{64E47730-2106-4356-A954-9A5894990520}" srcOrd="0" destOrd="0" parTransId="{EC461B0F-662B-4CA8-8FE1-6B5936F67E98}" sibTransId="{DB894A78-D83D-47B2-8122-43FBD6436516}"/>
    <dgm:cxn modelId="{304F2B43-4A7B-4B6E-8919-0BDC53A2E3AA}" srcId="{94753E40-3E61-4B1E-A721-D2A67820E8AB}" destId="{42B67F71-4949-4FC1-AB9F-A93184F33C13}" srcOrd="4" destOrd="0" parTransId="{60550B76-09C9-4000-84D6-644C04E4D113}" sibTransId="{87D2C78B-ED0C-4345-B3D3-45CE5CF76AA8}"/>
    <dgm:cxn modelId="{2C93AE48-C3AB-4882-AFD2-EBB1C3E3B3D5}" type="presOf" srcId="{BE7930E1-E2BB-4D0A-B4C2-19D04BB3AC6A}" destId="{59DFF9E9-4F67-49C7-B5AE-7A5287B85F21}" srcOrd="0" destOrd="0" presId="urn:microsoft.com/office/officeart/2005/8/layout/lProcess2"/>
    <dgm:cxn modelId="{3B12F14C-5A2D-41D2-8E2A-0C5FE4C382E3}" srcId="{56AF841E-6A37-4B59-8C57-1513B3E32D8F}" destId="{BE7930E1-E2BB-4D0A-B4C2-19D04BB3AC6A}" srcOrd="0" destOrd="0" parTransId="{CE3E88BF-EEA1-4805-BE47-168D2DF5B34E}" sibTransId="{BCFF1CF0-E603-4548-B94F-B711F4914C6C}"/>
    <dgm:cxn modelId="{D7BE5A80-1D0C-4F2A-9003-A3BD85A0EAE5}" srcId="{708B1019-CAD6-412D-AC2E-D8D08CA36663}" destId="{FCF75889-F9C3-42F8-B337-20BE2F1FBBDF}" srcOrd="0" destOrd="0" parTransId="{58CF4CCA-A2F3-4D3E-989B-B7F3F196107D}" sibTransId="{92398B79-2907-498E-A1B9-B1C39DF5721B}"/>
    <dgm:cxn modelId="{3A99E181-59B5-4A21-BEF4-4C58D034417D}" type="presOf" srcId="{94753E40-3E61-4B1E-A721-D2A67820E8AB}" destId="{0036D5A3-F440-4282-A2A9-64560CB473F4}" srcOrd="0" destOrd="0" presId="urn:microsoft.com/office/officeart/2005/8/layout/lProcess2"/>
    <dgm:cxn modelId="{6EE59E82-9E54-49CD-8278-38EE1D85EE09}" type="presOf" srcId="{42B67F71-4949-4FC1-AB9F-A93184F33C13}" destId="{EC0768AD-DE00-4822-9862-33FFE06E2A0C}" srcOrd="1" destOrd="0" presId="urn:microsoft.com/office/officeart/2005/8/layout/lProcess2"/>
    <dgm:cxn modelId="{D2308983-90E1-42CD-9AE6-007EF97CDD2F}" srcId="{EF1040F2-396F-49F0-96C4-C64A246F7B99}" destId="{006A3D39-2F97-4342-B921-1E3C7F1E8B04}" srcOrd="0" destOrd="0" parTransId="{9FAB867B-6B54-489E-8485-160C23D4D48A}" sibTransId="{405F3EF6-3483-42EC-8ADB-7EF2F807594D}"/>
    <dgm:cxn modelId="{F6E43E95-F9F0-4B38-B220-DA9439A71EA4}" srcId="{94753E40-3E61-4B1E-A721-D2A67820E8AB}" destId="{EF1040F2-396F-49F0-96C4-C64A246F7B99}" srcOrd="1" destOrd="0" parTransId="{9BABC117-3433-4F08-BF7F-7CA97A60402D}" sibTransId="{0A19D549-DE2C-4D86-9A7F-FA4D9757CEE3}"/>
    <dgm:cxn modelId="{DC4FB9AC-C8E7-4C6A-8B87-9741D56FC477}" type="presOf" srcId="{56AF841E-6A37-4B59-8C57-1513B3E32D8F}" destId="{69B077CF-2846-422B-A931-82D929E5E3EA}" srcOrd="1" destOrd="0" presId="urn:microsoft.com/office/officeart/2005/8/layout/lProcess2"/>
    <dgm:cxn modelId="{7FA778B4-CEB8-4BB0-92B0-5F31651A4715}" type="presOf" srcId="{BD21B8CB-57B0-4DEC-9A7C-841D4B506FEE}" destId="{AD7A88B1-EECD-4D15-A182-DD0CF4B9D637}" srcOrd="0" destOrd="0" presId="urn:microsoft.com/office/officeart/2005/8/layout/lProcess2"/>
    <dgm:cxn modelId="{1B1742D5-68D5-4B83-8E1D-2B556C7C8017}" type="presOf" srcId="{708B1019-CAD6-412D-AC2E-D8D08CA36663}" destId="{A561396B-094B-4E5D-85CA-F815D6AAA183}" srcOrd="0" destOrd="0" presId="urn:microsoft.com/office/officeart/2005/8/layout/lProcess2"/>
    <dgm:cxn modelId="{F015DFDB-5E22-48AF-B3F2-CDA897CA56AE}" srcId="{BD21B8CB-57B0-4DEC-9A7C-841D4B506FEE}" destId="{B8CA2C84-1EA3-42DD-8CD7-7D2C8272A611}" srcOrd="0" destOrd="0" parTransId="{F8810B2D-0E90-4977-B80E-19143E9CD54B}" sibTransId="{A2F8657D-3DDA-4FC1-8246-82117E4448AF}"/>
    <dgm:cxn modelId="{EF24BDDE-1243-46AF-8B2C-96B388B1C7BF}" type="presOf" srcId="{FCF75889-F9C3-42F8-B337-20BE2F1FBBDF}" destId="{0EA98244-909A-4981-9926-6E7EEA8F32FA}" srcOrd="0" destOrd="0" presId="urn:microsoft.com/office/officeart/2005/8/layout/lProcess2"/>
    <dgm:cxn modelId="{7A8E52EC-DF2C-4CB2-874A-B67225932295}" type="presOf" srcId="{BD21B8CB-57B0-4DEC-9A7C-841D4B506FEE}" destId="{A464D07E-E530-4A54-BF01-5353E208AF0F}" srcOrd="1" destOrd="0" presId="urn:microsoft.com/office/officeart/2005/8/layout/lProcess2"/>
    <dgm:cxn modelId="{5669BEFD-C715-49E9-9868-EC5F53BA79A3}" type="presOf" srcId="{006A3D39-2F97-4342-B921-1E3C7F1E8B04}" destId="{92F7A971-05B0-4A2B-8ACB-2912334FF5AB}" srcOrd="0" destOrd="0" presId="urn:microsoft.com/office/officeart/2005/8/layout/lProcess2"/>
    <dgm:cxn modelId="{ADB5DF27-87CD-47F0-B4C5-80600AD065AB}" type="presParOf" srcId="{0036D5A3-F440-4282-A2A9-64560CB473F4}" destId="{41D9A035-2CFE-4B42-AF49-FB77E65ACCE1}" srcOrd="0" destOrd="0" presId="urn:microsoft.com/office/officeart/2005/8/layout/lProcess2"/>
    <dgm:cxn modelId="{2E5E8EF0-725C-494C-BC6B-82172C8B9D56}" type="presParOf" srcId="{41D9A035-2CFE-4B42-AF49-FB77E65ACCE1}" destId="{9F8F2F6E-8A8B-4820-A246-414DFA2AFD46}" srcOrd="0" destOrd="0" presId="urn:microsoft.com/office/officeart/2005/8/layout/lProcess2"/>
    <dgm:cxn modelId="{568F911D-289A-487D-A473-DE2218F3D9A6}" type="presParOf" srcId="{41D9A035-2CFE-4B42-AF49-FB77E65ACCE1}" destId="{69B077CF-2846-422B-A931-82D929E5E3EA}" srcOrd="1" destOrd="0" presId="urn:microsoft.com/office/officeart/2005/8/layout/lProcess2"/>
    <dgm:cxn modelId="{6985A822-39C0-4600-AD28-7ECC41BC22F8}" type="presParOf" srcId="{41D9A035-2CFE-4B42-AF49-FB77E65ACCE1}" destId="{E424B03A-A8C4-4DC4-AC75-0445EAEF4EAF}" srcOrd="2" destOrd="0" presId="urn:microsoft.com/office/officeart/2005/8/layout/lProcess2"/>
    <dgm:cxn modelId="{AB0EF9DE-B905-49FB-8996-A82ACD08467D}" type="presParOf" srcId="{E424B03A-A8C4-4DC4-AC75-0445EAEF4EAF}" destId="{44FE7F0B-3B24-44A5-BF96-1893035FFB42}" srcOrd="0" destOrd="0" presId="urn:microsoft.com/office/officeart/2005/8/layout/lProcess2"/>
    <dgm:cxn modelId="{7C7430D4-33C8-4737-A321-44139FACEB05}" type="presParOf" srcId="{44FE7F0B-3B24-44A5-BF96-1893035FFB42}" destId="{59DFF9E9-4F67-49C7-B5AE-7A5287B85F21}" srcOrd="0" destOrd="0" presId="urn:microsoft.com/office/officeart/2005/8/layout/lProcess2"/>
    <dgm:cxn modelId="{2E6898DA-4724-432E-8B39-F11ECE8E5B1C}" type="presParOf" srcId="{0036D5A3-F440-4282-A2A9-64560CB473F4}" destId="{9A7A326E-FD97-46DD-90CB-E4222357136A}" srcOrd="1" destOrd="0" presId="urn:microsoft.com/office/officeart/2005/8/layout/lProcess2"/>
    <dgm:cxn modelId="{D3654FB9-91FB-4DD5-84D9-58428A9613AC}" type="presParOf" srcId="{0036D5A3-F440-4282-A2A9-64560CB473F4}" destId="{FE0562F9-6978-4460-BD1E-E76E948523A8}" srcOrd="2" destOrd="0" presId="urn:microsoft.com/office/officeart/2005/8/layout/lProcess2"/>
    <dgm:cxn modelId="{656F19BC-3406-4C25-B597-6354D7EAD900}" type="presParOf" srcId="{FE0562F9-6978-4460-BD1E-E76E948523A8}" destId="{4C9B931E-E68D-49EB-BF3B-77A94020637D}" srcOrd="0" destOrd="0" presId="urn:microsoft.com/office/officeart/2005/8/layout/lProcess2"/>
    <dgm:cxn modelId="{7C41A675-6A3C-4F66-912C-A16DEB809B81}" type="presParOf" srcId="{FE0562F9-6978-4460-BD1E-E76E948523A8}" destId="{D095DC18-2E42-4B1D-A923-7F86E63DEFF8}" srcOrd="1" destOrd="0" presId="urn:microsoft.com/office/officeart/2005/8/layout/lProcess2"/>
    <dgm:cxn modelId="{9C599AC1-598C-4CA7-8419-C696F441DC5D}" type="presParOf" srcId="{FE0562F9-6978-4460-BD1E-E76E948523A8}" destId="{5149CE30-E7C3-483F-BE7F-327DCA09075D}" srcOrd="2" destOrd="0" presId="urn:microsoft.com/office/officeart/2005/8/layout/lProcess2"/>
    <dgm:cxn modelId="{FE010952-3E52-494B-AB56-FDDB492F6386}" type="presParOf" srcId="{5149CE30-E7C3-483F-BE7F-327DCA09075D}" destId="{82EFE550-BA69-40D3-85E7-6CE5242B4E38}" srcOrd="0" destOrd="0" presId="urn:microsoft.com/office/officeart/2005/8/layout/lProcess2"/>
    <dgm:cxn modelId="{0E727AAD-A5FF-4E41-8B70-9ECE388907FF}" type="presParOf" srcId="{82EFE550-BA69-40D3-85E7-6CE5242B4E38}" destId="{92F7A971-05B0-4A2B-8ACB-2912334FF5AB}" srcOrd="0" destOrd="0" presId="urn:microsoft.com/office/officeart/2005/8/layout/lProcess2"/>
    <dgm:cxn modelId="{57044C1B-5166-4677-BB6D-5A3162EEDB9A}" type="presParOf" srcId="{0036D5A3-F440-4282-A2A9-64560CB473F4}" destId="{04D5E9D5-B12F-435F-A359-4AFFAEA4B468}" srcOrd="3" destOrd="0" presId="urn:microsoft.com/office/officeart/2005/8/layout/lProcess2"/>
    <dgm:cxn modelId="{2EFD5499-3B03-4092-9DCB-3BB2363F7E4C}" type="presParOf" srcId="{0036D5A3-F440-4282-A2A9-64560CB473F4}" destId="{3519E264-9E9D-4F23-A5CA-72E41645F8EB}" srcOrd="4" destOrd="0" presId="urn:microsoft.com/office/officeart/2005/8/layout/lProcess2"/>
    <dgm:cxn modelId="{CB972723-6077-44C7-A380-96BA1FF2068A}" type="presParOf" srcId="{3519E264-9E9D-4F23-A5CA-72E41645F8EB}" destId="{AD7A88B1-EECD-4D15-A182-DD0CF4B9D637}" srcOrd="0" destOrd="0" presId="urn:microsoft.com/office/officeart/2005/8/layout/lProcess2"/>
    <dgm:cxn modelId="{211D773A-6755-4127-84C2-A2E6C3A5DDC3}" type="presParOf" srcId="{3519E264-9E9D-4F23-A5CA-72E41645F8EB}" destId="{A464D07E-E530-4A54-BF01-5353E208AF0F}" srcOrd="1" destOrd="0" presId="urn:microsoft.com/office/officeart/2005/8/layout/lProcess2"/>
    <dgm:cxn modelId="{44AB5207-B7A8-4F8F-963C-74BB41656E0B}" type="presParOf" srcId="{3519E264-9E9D-4F23-A5CA-72E41645F8EB}" destId="{87474F43-9E4A-43C2-ADC3-354D44555F83}" srcOrd="2" destOrd="0" presId="urn:microsoft.com/office/officeart/2005/8/layout/lProcess2"/>
    <dgm:cxn modelId="{4164FB0D-B851-4CC5-8C6B-C568EB2EFCB9}" type="presParOf" srcId="{87474F43-9E4A-43C2-ADC3-354D44555F83}" destId="{71D4EFB1-EE9B-46BE-ABDE-64E40BD7484B}" srcOrd="0" destOrd="0" presId="urn:microsoft.com/office/officeart/2005/8/layout/lProcess2"/>
    <dgm:cxn modelId="{04A17859-7580-44CC-94F5-FDDB09FA224D}" type="presParOf" srcId="{71D4EFB1-EE9B-46BE-ABDE-64E40BD7484B}" destId="{4C6B6FA8-E528-4009-A87F-9029916CACB7}" srcOrd="0" destOrd="0" presId="urn:microsoft.com/office/officeart/2005/8/layout/lProcess2"/>
    <dgm:cxn modelId="{5E51783D-12BE-4405-A1C3-6EE8BCAD7F09}" type="presParOf" srcId="{0036D5A3-F440-4282-A2A9-64560CB473F4}" destId="{E38F55A9-9DFE-4DF3-B137-0545C4B4673D}" srcOrd="5" destOrd="0" presId="urn:microsoft.com/office/officeart/2005/8/layout/lProcess2"/>
    <dgm:cxn modelId="{5856D5ED-EDBF-47B1-AB3A-B7875E023339}" type="presParOf" srcId="{0036D5A3-F440-4282-A2A9-64560CB473F4}" destId="{1BC2664A-917A-4908-86FF-BC199F205B73}" srcOrd="6" destOrd="0" presId="urn:microsoft.com/office/officeart/2005/8/layout/lProcess2"/>
    <dgm:cxn modelId="{28AF45C3-5DF0-44C4-8981-FC92EC2E9FA3}" type="presParOf" srcId="{1BC2664A-917A-4908-86FF-BC199F205B73}" destId="{A561396B-094B-4E5D-85CA-F815D6AAA183}" srcOrd="0" destOrd="0" presId="urn:microsoft.com/office/officeart/2005/8/layout/lProcess2"/>
    <dgm:cxn modelId="{3480BEA8-C9A4-491C-9C13-FD63CFA6506C}" type="presParOf" srcId="{1BC2664A-917A-4908-86FF-BC199F205B73}" destId="{5407D20B-9976-4126-9405-AA84651ED359}" srcOrd="1" destOrd="0" presId="urn:microsoft.com/office/officeart/2005/8/layout/lProcess2"/>
    <dgm:cxn modelId="{AA2C89DB-1F42-4FAF-86CC-44C8DB18A7C8}" type="presParOf" srcId="{1BC2664A-917A-4908-86FF-BC199F205B73}" destId="{3192A195-4FDE-46B1-82EA-CB0A59995B09}" srcOrd="2" destOrd="0" presId="urn:microsoft.com/office/officeart/2005/8/layout/lProcess2"/>
    <dgm:cxn modelId="{D71CE1FE-FF80-41E7-9211-B974163BD1EB}" type="presParOf" srcId="{3192A195-4FDE-46B1-82EA-CB0A59995B09}" destId="{D3F47916-E56D-4CFF-AD03-63BD585DD23B}" srcOrd="0" destOrd="0" presId="urn:microsoft.com/office/officeart/2005/8/layout/lProcess2"/>
    <dgm:cxn modelId="{1A2BC814-4357-4EBF-A11C-BC00D67997FF}" type="presParOf" srcId="{D3F47916-E56D-4CFF-AD03-63BD585DD23B}" destId="{0EA98244-909A-4981-9926-6E7EEA8F32FA}" srcOrd="0" destOrd="0" presId="urn:microsoft.com/office/officeart/2005/8/layout/lProcess2"/>
    <dgm:cxn modelId="{6AC94AFB-0721-4EFC-A8E0-ED6CC04E1EDB}" type="presParOf" srcId="{0036D5A3-F440-4282-A2A9-64560CB473F4}" destId="{EE18FD87-C369-4B9F-A141-5A4CAD71B7BB}" srcOrd="7" destOrd="0" presId="urn:microsoft.com/office/officeart/2005/8/layout/lProcess2"/>
    <dgm:cxn modelId="{DA3F1B63-0900-46F4-A122-9D3402EB8808}" type="presParOf" srcId="{0036D5A3-F440-4282-A2A9-64560CB473F4}" destId="{FAE885F1-9DA6-4910-8FC9-2520BA3B7021}" srcOrd="8" destOrd="0" presId="urn:microsoft.com/office/officeart/2005/8/layout/lProcess2"/>
    <dgm:cxn modelId="{B14933A4-FE2B-4E79-BDE3-B48B9AF0EDEA}" type="presParOf" srcId="{FAE885F1-9DA6-4910-8FC9-2520BA3B7021}" destId="{C6869C6F-8EDC-41C7-B8EF-2C6BF7648AC1}" srcOrd="0" destOrd="0" presId="urn:microsoft.com/office/officeart/2005/8/layout/lProcess2"/>
    <dgm:cxn modelId="{780399A9-5D83-4F0B-B3AD-2CDE7CAFFC85}" type="presParOf" srcId="{FAE885F1-9DA6-4910-8FC9-2520BA3B7021}" destId="{EC0768AD-DE00-4822-9862-33FFE06E2A0C}" srcOrd="1" destOrd="0" presId="urn:microsoft.com/office/officeart/2005/8/layout/lProcess2"/>
    <dgm:cxn modelId="{588A942A-01ED-475B-AAB8-298CBAFE55C2}" type="presParOf" srcId="{FAE885F1-9DA6-4910-8FC9-2520BA3B7021}" destId="{6E22F101-10D0-4AB0-9847-F003BC5B4AB8}" srcOrd="2" destOrd="0" presId="urn:microsoft.com/office/officeart/2005/8/layout/lProcess2"/>
    <dgm:cxn modelId="{E9475EE6-CB36-400C-BB51-29B91B018BE4}" type="presParOf" srcId="{6E22F101-10D0-4AB0-9847-F003BC5B4AB8}" destId="{37E9CC3F-CCD7-4847-BFCB-2140267BB07D}" srcOrd="0" destOrd="0" presId="urn:microsoft.com/office/officeart/2005/8/layout/lProcess2"/>
    <dgm:cxn modelId="{698A319F-9702-4BB1-9790-3CA817A18A85}" type="presParOf" srcId="{37E9CC3F-CCD7-4847-BFCB-2140267BB07D}" destId="{040B8E87-547D-452C-8FB9-8EAA3058A389}" srcOrd="0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F8F2F6E-8A8B-4820-A246-414DFA2AFD46}">
      <dsp:nvSpPr>
        <dsp:cNvPr id="0" name=""/>
        <dsp:cNvSpPr/>
      </dsp:nvSpPr>
      <dsp:spPr>
        <a:xfrm>
          <a:off x="0" y="0"/>
          <a:ext cx="1888292" cy="1669558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1. </a:t>
          </a:r>
          <a:r>
            <a:rPr lang="en-US" sz="1800" kern="1200" dirty="0"/>
            <a:t>Ideation</a:t>
          </a:r>
        </a:p>
      </dsp:txBody>
      <dsp:txXfrm>
        <a:off x="0" y="0"/>
        <a:ext cx="1888292" cy="500867"/>
      </dsp:txXfrm>
    </dsp:sp>
    <dsp:sp modelId="{59DFF9E9-4F67-49C7-B5AE-7A5287B85F21}">
      <dsp:nvSpPr>
        <dsp:cNvPr id="0" name=""/>
        <dsp:cNvSpPr/>
      </dsp:nvSpPr>
      <dsp:spPr>
        <a:xfrm>
          <a:off x="241931" y="440171"/>
          <a:ext cx="1510633" cy="108412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Supports to launch your business idea</a:t>
          </a:r>
          <a:r>
            <a:rPr lang="en-US" sz="1400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.</a:t>
          </a:r>
        </a:p>
      </dsp:txBody>
      <dsp:txXfrm>
        <a:off x="273684" y="471924"/>
        <a:ext cx="1447127" cy="1020620"/>
      </dsp:txXfrm>
    </dsp:sp>
    <dsp:sp modelId="{4C9B931E-E68D-49EB-BF3B-77A94020637D}">
      <dsp:nvSpPr>
        <dsp:cNvPr id="0" name=""/>
        <dsp:cNvSpPr/>
      </dsp:nvSpPr>
      <dsp:spPr>
        <a:xfrm>
          <a:off x="2011918" y="0"/>
          <a:ext cx="1888292" cy="1669558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2. Concept</a:t>
          </a:r>
        </a:p>
      </dsp:txBody>
      <dsp:txXfrm>
        <a:off x="2011918" y="0"/>
        <a:ext cx="1888292" cy="500867"/>
      </dsp:txXfrm>
    </dsp:sp>
    <dsp:sp modelId="{92F7A971-05B0-4A2B-8ACB-2912334FF5AB}">
      <dsp:nvSpPr>
        <dsp:cNvPr id="0" name=""/>
        <dsp:cNvSpPr/>
      </dsp:nvSpPr>
      <dsp:spPr>
        <a:xfrm>
          <a:off x="2199214" y="395938"/>
          <a:ext cx="1510633" cy="108517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Develop business plan, mission &amp;  milestones</a:t>
          </a:r>
        </a:p>
      </dsp:txBody>
      <dsp:txXfrm>
        <a:off x="2230998" y="427722"/>
        <a:ext cx="1447065" cy="1021609"/>
      </dsp:txXfrm>
    </dsp:sp>
    <dsp:sp modelId="{AD7A88B1-EECD-4D15-A182-DD0CF4B9D637}">
      <dsp:nvSpPr>
        <dsp:cNvPr id="0" name=""/>
        <dsp:cNvSpPr/>
      </dsp:nvSpPr>
      <dsp:spPr>
        <a:xfrm>
          <a:off x="4065209" y="0"/>
          <a:ext cx="1888292" cy="1669558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3. Validation</a:t>
          </a:r>
        </a:p>
      </dsp:txBody>
      <dsp:txXfrm>
        <a:off x="4065209" y="0"/>
        <a:ext cx="1888292" cy="500867"/>
      </dsp:txXfrm>
    </dsp:sp>
    <dsp:sp modelId="{4C6B6FA8-E528-4009-A87F-9029916CACB7}">
      <dsp:nvSpPr>
        <dsp:cNvPr id="0" name=""/>
        <dsp:cNvSpPr/>
      </dsp:nvSpPr>
      <dsp:spPr>
        <a:xfrm>
          <a:off x="4242716" y="438426"/>
          <a:ext cx="1593673" cy="108466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Developing a minimum viable product for an identified market</a:t>
          </a:r>
        </a:p>
      </dsp:txBody>
      <dsp:txXfrm>
        <a:off x="4274485" y="470195"/>
        <a:ext cx="1530135" cy="1021131"/>
      </dsp:txXfrm>
    </dsp:sp>
    <dsp:sp modelId="{A561396B-094B-4E5D-85CA-F815D6AAA183}">
      <dsp:nvSpPr>
        <dsp:cNvPr id="0" name=""/>
        <dsp:cNvSpPr/>
      </dsp:nvSpPr>
      <dsp:spPr>
        <a:xfrm>
          <a:off x="6095124" y="0"/>
          <a:ext cx="1888292" cy="1669558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4. </a:t>
          </a:r>
          <a:r>
            <a:rPr lang="en-US" sz="1600" kern="1200" dirty="0"/>
            <a:t>Getting Investor Ready</a:t>
          </a:r>
        </a:p>
      </dsp:txBody>
      <dsp:txXfrm>
        <a:off x="6095124" y="0"/>
        <a:ext cx="1888292" cy="500867"/>
      </dsp:txXfrm>
    </dsp:sp>
    <dsp:sp modelId="{0EA98244-909A-4981-9926-6E7EEA8F32FA}">
      <dsp:nvSpPr>
        <dsp:cNvPr id="0" name=""/>
        <dsp:cNvSpPr/>
      </dsp:nvSpPr>
      <dsp:spPr>
        <a:xfrm>
          <a:off x="6149061" y="438528"/>
          <a:ext cx="1751262" cy="108456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Seek investment, early sales &amp;  building a management team</a:t>
          </a:r>
        </a:p>
      </dsp:txBody>
      <dsp:txXfrm>
        <a:off x="6180827" y="470294"/>
        <a:ext cx="1687730" cy="1021034"/>
      </dsp:txXfrm>
    </dsp:sp>
    <dsp:sp modelId="{C6869C6F-8EDC-41C7-B8EF-2C6BF7648AC1}">
      <dsp:nvSpPr>
        <dsp:cNvPr id="0" name=""/>
        <dsp:cNvSpPr/>
      </dsp:nvSpPr>
      <dsp:spPr>
        <a:xfrm>
          <a:off x="8130419" y="0"/>
          <a:ext cx="1888292" cy="1669558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5. </a:t>
          </a:r>
          <a:r>
            <a:rPr lang="en-US" sz="1600" kern="1200" dirty="0"/>
            <a:t>Growth &amp; Scale</a:t>
          </a:r>
        </a:p>
      </dsp:txBody>
      <dsp:txXfrm>
        <a:off x="8130419" y="0"/>
        <a:ext cx="1888292" cy="500867"/>
      </dsp:txXfrm>
    </dsp:sp>
    <dsp:sp modelId="{040B8E87-547D-452C-8FB9-8EAA3058A389}">
      <dsp:nvSpPr>
        <dsp:cNvPr id="0" name=""/>
        <dsp:cNvSpPr/>
      </dsp:nvSpPr>
      <dsp:spPr>
        <a:xfrm>
          <a:off x="8314441" y="438693"/>
          <a:ext cx="1510633" cy="108439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Accelerating growth in international markets</a:t>
          </a:r>
        </a:p>
      </dsp:txBody>
      <dsp:txXfrm>
        <a:off x="8346202" y="470454"/>
        <a:ext cx="1447111" cy="102087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3" name="Shape 483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4638" cy="3727450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  <p:sp>
        <p:nvSpPr>
          <p:cNvPr id="484" name="Shape 484"/>
          <p:cNvSpPr>
            <a:spLocks noGrp="1"/>
          </p:cNvSpPr>
          <p:nvPr>
            <p:ph type="body" sz="quarter" idx="1"/>
          </p:nvPr>
        </p:nvSpPr>
        <p:spPr>
          <a:xfrm>
            <a:off x="907839" y="4721940"/>
            <a:ext cx="4993111" cy="4473416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90246579"/>
      </p:ext>
    </p:extLst>
  </p:cSld>
  <p:clrMap bg1="lt1" tx1="dk1" bg2="lt2" tx2="dk2" accent1="accent1" accent2="accent2" accent3="accent3" accent4="accent4" accent5="accent5" accent6="accent6" hlink="hlink" folHlink="folHlink"/>
  <p:notesStyle>
    <a:lvl1pPr latinLnBrk="0">
      <a:defRPr sz="1200" b="0" i="0">
        <a:latin typeface="Arial Regular"/>
        <a:ea typeface="+mj-ea"/>
        <a:cs typeface="+mj-cs"/>
        <a:sym typeface="Calibri"/>
      </a:defRPr>
    </a:lvl1pPr>
    <a:lvl2pPr indent="228600" latinLnBrk="0">
      <a:defRPr sz="1200">
        <a:latin typeface="+mj-lt"/>
        <a:ea typeface="+mj-ea"/>
        <a:cs typeface="+mj-cs"/>
        <a:sym typeface="Calibri"/>
      </a:defRPr>
    </a:lvl2pPr>
    <a:lvl3pPr indent="457200" latinLnBrk="0">
      <a:defRPr sz="1200">
        <a:latin typeface="+mj-lt"/>
        <a:ea typeface="+mj-ea"/>
        <a:cs typeface="+mj-cs"/>
        <a:sym typeface="Calibri"/>
      </a:defRPr>
    </a:lvl3pPr>
    <a:lvl4pPr indent="685800" latinLnBrk="0">
      <a:defRPr sz="1200">
        <a:latin typeface="+mj-lt"/>
        <a:ea typeface="+mj-ea"/>
        <a:cs typeface="+mj-cs"/>
        <a:sym typeface="Calibri"/>
      </a:defRPr>
    </a:lvl4pPr>
    <a:lvl5pPr indent="914400" latinLnBrk="0">
      <a:defRPr sz="1200">
        <a:latin typeface="+mj-lt"/>
        <a:ea typeface="+mj-ea"/>
        <a:cs typeface="+mj-cs"/>
        <a:sym typeface="Calibri"/>
      </a:defRPr>
    </a:lvl5pPr>
    <a:lvl6pPr indent="1143000" latinLnBrk="0">
      <a:defRPr sz="1200">
        <a:latin typeface="+mj-lt"/>
        <a:ea typeface="+mj-ea"/>
        <a:cs typeface="+mj-cs"/>
        <a:sym typeface="Calibri"/>
      </a:defRPr>
    </a:lvl6pPr>
    <a:lvl7pPr indent="1371600" latinLnBrk="0">
      <a:defRPr sz="1200">
        <a:latin typeface="+mj-lt"/>
        <a:ea typeface="+mj-ea"/>
        <a:cs typeface="+mj-cs"/>
        <a:sym typeface="Calibri"/>
      </a:defRPr>
    </a:lvl7pPr>
    <a:lvl8pPr indent="1600200" latinLnBrk="0">
      <a:defRPr sz="1200">
        <a:latin typeface="+mj-lt"/>
        <a:ea typeface="+mj-ea"/>
        <a:cs typeface="+mj-cs"/>
        <a:sym typeface="Calibri"/>
      </a:defRPr>
    </a:lvl8pPr>
    <a:lvl9pPr indent="1828800" latinLnBrk="0">
      <a:defRPr sz="1200">
        <a:latin typeface="+mj-lt"/>
        <a:ea typeface="+mj-ea"/>
        <a:cs typeface="+mj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dirty="0"/>
              <a:t>What I intend to do this morning is outline the context, that is, what Enterprise Ireland is about, give a high level overview of our services and give a </a:t>
            </a:r>
            <a:r>
              <a:rPr lang="en-US" altLang="en-US" dirty="0" err="1"/>
              <a:t>flavour</a:t>
            </a:r>
            <a:r>
              <a:rPr lang="en-US" altLang="en-US" dirty="0"/>
              <a:t> of the type of supports offered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28740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04156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558249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7792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IE" dirty="0">
                <a:solidFill>
                  <a:srgbClr val="0070C0"/>
                </a:solidFill>
              </a:rPr>
              <a:t>Innovation Vouchers can be used for any kind of innovation such as:</a:t>
            </a:r>
          </a:p>
          <a:p>
            <a:r>
              <a:rPr lang="en-IE" dirty="0">
                <a:solidFill>
                  <a:srgbClr val="0070C0"/>
                </a:solidFill>
              </a:rPr>
              <a:t>new product/process development;</a:t>
            </a:r>
          </a:p>
          <a:p>
            <a:r>
              <a:rPr lang="en-IE" dirty="0">
                <a:solidFill>
                  <a:srgbClr val="0070C0"/>
                </a:solidFill>
              </a:rPr>
              <a:t>new business model development;</a:t>
            </a:r>
          </a:p>
          <a:p>
            <a:r>
              <a:rPr lang="en-IE" dirty="0">
                <a:solidFill>
                  <a:srgbClr val="0070C0"/>
                </a:solidFill>
              </a:rPr>
              <a:t>new service delivery and customer interface;</a:t>
            </a:r>
          </a:p>
          <a:p>
            <a:r>
              <a:rPr lang="en-IE" dirty="0">
                <a:solidFill>
                  <a:srgbClr val="0070C0"/>
                </a:solidFill>
              </a:rPr>
              <a:t>new service development;</a:t>
            </a:r>
          </a:p>
          <a:p>
            <a:r>
              <a:rPr lang="en-IE" dirty="0">
                <a:solidFill>
                  <a:srgbClr val="0070C0"/>
                </a:solidFill>
              </a:rPr>
              <a:t>tailored training in innovation management;</a:t>
            </a:r>
          </a:p>
          <a:p>
            <a:r>
              <a:rPr lang="en-IE">
                <a:solidFill>
                  <a:srgbClr val="0070C0"/>
                </a:solidFill>
              </a:rPr>
              <a:t>innovation/technology audit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974052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544145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823102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2703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04204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E" dirty="0"/>
              <a:t>In 2017 we set the following targets around Exports, Jobs, R&amp;D spend and increasing spending in the economy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99B9A9-FE7D-46D1-AA90-A792682F6CD4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25178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99B9A9-FE7D-46D1-AA90-A792682F6CD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15212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99B9A9-FE7D-46D1-AA90-A792682F6CD4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61231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99B9A9-FE7D-46D1-AA90-A792682F6CD4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72506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78583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01608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2081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b="0" i="0" dirty="0">
              <a:latin typeface="Arial Regular"/>
            </a:endParaRPr>
          </a:p>
        </p:txBody>
      </p:sp>
      <p:sp>
        <p:nvSpPr>
          <p:cNvPr id="16" name="Title Text"/>
          <p:cNvSpPr txBox="1">
            <a:spLocks noGrp="1"/>
          </p:cNvSpPr>
          <p:nvPr>
            <p:ph type="title"/>
          </p:nvPr>
        </p:nvSpPr>
        <p:spPr>
          <a:xfrm>
            <a:off x="630990" y="550452"/>
            <a:ext cx="4927601" cy="522288"/>
          </a:xfrm>
          <a:prstGeom prst="rect">
            <a:avLst/>
          </a:prstGeom>
        </p:spPr>
        <p:txBody>
          <a:bodyPr/>
          <a:lstStyle>
            <a:lvl1pPr>
              <a:defRPr sz="28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itle Text</a:t>
            </a:r>
          </a:p>
        </p:txBody>
      </p:sp>
      <p:pic>
        <p:nvPicPr>
          <p:cNvPr id="17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6290505"/>
            <a:ext cx="567494" cy="567495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Text"/>
          <p:cNvSpPr txBox="1">
            <a:spLocks noGrp="1"/>
          </p:cNvSpPr>
          <p:nvPr>
            <p:ph type="title"/>
          </p:nvPr>
        </p:nvSpPr>
        <p:spPr>
          <a:xfrm>
            <a:off x="839787" y="457200"/>
            <a:ext cx="3932239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t>Title Text</a:t>
            </a:r>
          </a:p>
        </p:txBody>
      </p:sp>
      <p:sp>
        <p:nvSpPr>
          <p:cNvPr id="105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5183187" y="987425"/>
            <a:ext cx="6172201" cy="4873625"/>
          </a:xfrm>
          <a:prstGeom prst="rect">
            <a:avLst/>
          </a:prstGeom>
        </p:spPr>
        <p:txBody>
          <a:bodyPr lIns="91439" rIns="91439">
            <a:noAutofit/>
          </a:bodyPr>
          <a:lstStyle>
            <a:lvl1pPr>
              <a:defRPr b="0" i="0"/>
            </a:lvl1pPr>
          </a:lstStyle>
          <a:p>
            <a:endParaRPr dirty="0"/>
          </a:p>
        </p:txBody>
      </p:sp>
      <p:sp>
        <p:nvSpPr>
          <p:cNvPr id="106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9787" y="2057400"/>
            <a:ext cx="3932239" cy="3811588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1600" b="0" i="0"/>
            </a:lvl1pPr>
            <a:lvl2pPr marL="0" indent="457200">
              <a:buSzTx/>
              <a:buFontTx/>
              <a:buNone/>
              <a:defRPr sz="1600" b="0" i="0"/>
            </a:lvl2pPr>
            <a:lvl3pPr marL="0" indent="914400">
              <a:buSzTx/>
              <a:buFontTx/>
              <a:buNone/>
              <a:defRPr sz="1600" b="0" i="0"/>
            </a:lvl3pPr>
            <a:lvl4pPr marL="0" indent="1371600">
              <a:buSzTx/>
              <a:buFontTx/>
              <a:buNone/>
              <a:defRPr sz="1600" b="0" i="0"/>
            </a:lvl4pPr>
            <a:lvl5pPr marL="0" indent="1828800">
              <a:buSzTx/>
              <a:buFontTx/>
              <a:buNone/>
              <a:defRPr sz="1600" b="0" i="0"/>
            </a:lvl5pPr>
          </a:lstStyle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10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3918" y="6400413"/>
            <a:ext cx="279883" cy="276999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Title Text"/>
          <p:cNvSpPr txBox="1">
            <a:spLocks noGrp="1"/>
          </p:cNvSpPr>
          <p:nvPr>
            <p:ph type="title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24" name="Body Level One…"/>
          <p:cNvSpPr txBox="1">
            <a:spLocks noGrp="1"/>
          </p:cNvSpPr>
          <p:nvPr>
            <p:ph type="body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12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3918" y="6400413"/>
            <a:ext cx="279883" cy="276999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10_Title and Content">
    <p:bg>
      <p:bgPr>
        <a:solidFill>
          <a:srgbClr val="E2E6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Rectangle 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b="0" i="0" dirty="0">
              <a:latin typeface="Arial Regular"/>
            </a:endParaRPr>
          </a:p>
        </p:txBody>
      </p:sp>
      <p:sp>
        <p:nvSpPr>
          <p:cNvPr id="134" name="Rectangle 12"/>
          <p:cNvSpPr/>
          <p:nvPr/>
        </p:nvSpPr>
        <p:spPr>
          <a:xfrm>
            <a:off x="8971005" y="0"/>
            <a:ext cx="3220996" cy="6858000"/>
          </a:xfrm>
          <a:prstGeom prst="rect">
            <a:avLst/>
          </a:prstGeom>
          <a:solidFill>
            <a:srgbClr val="042D43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b="0" i="0" dirty="0">
              <a:latin typeface="Arial Regular"/>
            </a:endParaRPr>
          </a:p>
        </p:txBody>
      </p:sp>
      <p:pic>
        <p:nvPicPr>
          <p:cNvPr id="135" name="Picture 4" descr="Picture 4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6290505"/>
            <a:ext cx="567494" cy="567495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549870788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Title Text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t>Title Text</a:t>
            </a:r>
          </a:p>
        </p:txBody>
      </p:sp>
      <p:sp>
        <p:nvSpPr>
          <p:cNvPr id="171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1850" y="4589462"/>
            <a:ext cx="10515600" cy="1500188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2400" b="0" i="0">
                <a:solidFill>
                  <a:srgbClr val="888888"/>
                </a:solidFill>
              </a:defRPr>
            </a:lvl1pPr>
            <a:lvl2pPr marL="0" indent="457200">
              <a:buSzTx/>
              <a:buFontTx/>
              <a:buNone/>
              <a:defRPr sz="2400" b="0" i="0">
                <a:solidFill>
                  <a:srgbClr val="888888"/>
                </a:solidFill>
              </a:defRPr>
            </a:lvl2pPr>
            <a:lvl3pPr marL="0" indent="914400">
              <a:buSzTx/>
              <a:buFontTx/>
              <a:buNone/>
              <a:defRPr sz="2400" b="0" i="0">
                <a:solidFill>
                  <a:srgbClr val="888888"/>
                </a:solidFill>
              </a:defRPr>
            </a:lvl3pPr>
            <a:lvl4pPr marL="0" indent="1371600">
              <a:buSzTx/>
              <a:buFontTx/>
              <a:buNone/>
              <a:defRPr sz="2400" b="0" i="0">
                <a:solidFill>
                  <a:srgbClr val="888888"/>
                </a:solidFill>
              </a:defRPr>
            </a:lvl4pPr>
            <a:lvl5pPr marL="0" indent="1828800">
              <a:buSzTx/>
              <a:buFontTx/>
              <a:buNone/>
              <a:defRPr sz="2400" b="0" i="0">
                <a:solidFill>
                  <a:srgbClr val="888888"/>
                </a:solidFill>
              </a:defRPr>
            </a:lvl5pPr>
          </a:lstStyle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17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3918" y="6400413"/>
            <a:ext cx="279883" cy="276999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Title Text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80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18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3918" y="6400413"/>
            <a:ext cx="279883" cy="276999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Title Text"/>
          <p:cNvSpPr txBox="1">
            <a:spLocks noGrp="1"/>
          </p:cNvSpPr>
          <p:nvPr>
            <p:ph type="title"/>
          </p:nvPr>
        </p:nvSpPr>
        <p:spPr>
          <a:xfrm>
            <a:off x="839787" y="365125"/>
            <a:ext cx="10515601" cy="1325563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89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9787" y="1681163"/>
            <a:ext cx="5157789" cy="823913"/>
          </a:xfrm>
          <a:prstGeom prst="rect">
            <a:avLst/>
          </a:prstGeom>
        </p:spPr>
        <p:txBody>
          <a:bodyPr anchor="b"/>
          <a:lstStyle>
            <a:lvl1pPr marL="0" indent="0">
              <a:buSzTx/>
              <a:buFontTx/>
              <a:buNone/>
              <a:defRPr sz="2400" b="0" i="0"/>
            </a:lvl1pPr>
            <a:lvl2pPr marL="0" indent="457200">
              <a:buSzTx/>
              <a:buFontTx/>
              <a:buNone/>
              <a:defRPr sz="2400" b="0" i="0"/>
            </a:lvl2pPr>
            <a:lvl3pPr marL="0" indent="914400">
              <a:buSzTx/>
              <a:buFontTx/>
              <a:buNone/>
              <a:defRPr sz="2400" b="0" i="0"/>
            </a:lvl3pPr>
            <a:lvl4pPr marL="0" indent="1371600">
              <a:buSzTx/>
              <a:buFontTx/>
              <a:buNone/>
              <a:defRPr sz="2400" b="0" i="0"/>
            </a:lvl4pPr>
            <a:lvl5pPr marL="0" indent="1828800">
              <a:buSzTx/>
              <a:buFontTx/>
              <a:buNone/>
              <a:defRPr sz="2400" b="0" i="0"/>
            </a:lvl5pPr>
          </a:lstStyle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19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172200" y="1681163"/>
            <a:ext cx="5183188" cy="823913"/>
          </a:xfrm>
          <a:prstGeom prst="rect">
            <a:avLst/>
          </a:prstGeom>
        </p:spPr>
        <p:txBody>
          <a:bodyPr anchor="b"/>
          <a:lstStyle>
            <a:lvl1pPr>
              <a:defRPr b="0" i="0"/>
            </a:lvl1pPr>
          </a:lstStyle>
          <a:p>
            <a:pPr marL="0" indent="0">
              <a:buSzTx/>
              <a:buFontTx/>
              <a:buNone/>
              <a:defRPr sz="2400" b="1"/>
            </a:pPr>
            <a:endParaRPr dirty="0"/>
          </a:p>
        </p:txBody>
      </p:sp>
      <p:sp>
        <p:nvSpPr>
          <p:cNvPr id="19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3918" y="6400413"/>
            <a:ext cx="279883" cy="276999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Title Text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9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3918" y="6400413"/>
            <a:ext cx="279883" cy="276999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3918" y="6400413"/>
            <a:ext cx="279883" cy="276999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Title Text"/>
          <p:cNvSpPr txBox="1">
            <a:spLocks noGrp="1"/>
          </p:cNvSpPr>
          <p:nvPr>
            <p:ph type="title"/>
          </p:nvPr>
        </p:nvSpPr>
        <p:spPr>
          <a:xfrm>
            <a:off x="839787" y="457200"/>
            <a:ext cx="3932239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t>Title Text</a:t>
            </a:r>
          </a:p>
        </p:txBody>
      </p:sp>
      <p:sp>
        <p:nvSpPr>
          <p:cNvPr id="214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5183187" y="987425"/>
            <a:ext cx="6172201" cy="4873625"/>
          </a:xfrm>
          <a:prstGeom prst="rect">
            <a:avLst/>
          </a:prstGeom>
        </p:spPr>
        <p:txBody>
          <a:bodyPr/>
          <a:lstStyle>
            <a:lvl1pPr>
              <a:defRPr sz="3200" b="0" i="0"/>
            </a:lvl1pPr>
            <a:lvl2pPr marL="718457" indent="-261257">
              <a:defRPr sz="3200" b="0" i="0"/>
            </a:lvl2pPr>
            <a:lvl3pPr marL="1219200" indent="-304800">
              <a:defRPr sz="3200" b="0" i="0"/>
            </a:lvl3pPr>
            <a:lvl4pPr marL="1737360" indent="-365760">
              <a:defRPr sz="3200" b="0" i="0"/>
            </a:lvl4pPr>
            <a:lvl5pPr marL="2194560" indent="-365760">
              <a:defRPr sz="3200" b="0" i="0"/>
            </a:lvl5pPr>
          </a:lstStyle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215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839787" y="2057400"/>
            <a:ext cx="3932239" cy="3811588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pPr marL="0" indent="0">
              <a:buSzTx/>
              <a:buFontTx/>
              <a:buNone/>
              <a:defRPr sz="1600"/>
            </a:pPr>
            <a:endParaRPr dirty="0"/>
          </a:p>
        </p:txBody>
      </p:sp>
      <p:sp>
        <p:nvSpPr>
          <p:cNvPr id="21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3918" y="6400413"/>
            <a:ext cx="279883" cy="276999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" name="Title Text"/>
          <p:cNvSpPr txBox="1">
            <a:spLocks noGrp="1"/>
          </p:cNvSpPr>
          <p:nvPr>
            <p:ph type="title"/>
          </p:nvPr>
        </p:nvSpPr>
        <p:spPr>
          <a:xfrm>
            <a:off x="839787" y="457200"/>
            <a:ext cx="3932239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t>Title Text</a:t>
            </a:r>
          </a:p>
        </p:txBody>
      </p:sp>
      <p:sp>
        <p:nvSpPr>
          <p:cNvPr id="224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5183187" y="987425"/>
            <a:ext cx="6172201" cy="4873625"/>
          </a:xfrm>
          <a:prstGeom prst="rect">
            <a:avLst/>
          </a:prstGeom>
        </p:spPr>
        <p:txBody>
          <a:bodyPr lIns="91439" rIns="91439">
            <a:noAutofit/>
          </a:bodyPr>
          <a:lstStyle>
            <a:lvl1pPr>
              <a:defRPr b="0" i="0"/>
            </a:lvl1pPr>
          </a:lstStyle>
          <a:p>
            <a:endParaRPr dirty="0"/>
          </a:p>
        </p:txBody>
      </p:sp>
      <p:sp>
        <p:nvSpPr>
          <p:cNvPr id="225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9787" y="2057400"/>
            <a:ext cx="3932239" cy="3811588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1600" b="0" i="0"/>
            </a:lvl1pPr>
            <a:lvl2pPr marL="0" indent="457200">
              <a:buSzTx/>
              <a:buFontTx/>
              <a:buNone/>
              <a:defRPr sz="1600" b="0" i="0"/>
            </a:lvl2pPr>
            <a:lvl3pPr marL="0" indent="914400">
              <a:buSzTx/>
              <a:buFontTx/>
              <a:buNone/>
              <a:defRPr sz="1600" b="0" i="0"/>
            </a:lvl3pPr>
            <a:lvl4pPr marL="0" indent="1371600">
              <a:buSzTx/>
              <a:buFontTx/>
              <a:buNone/>
              <a:defRPr sz="1600" b="0" i="0"/>
            </a:lvl4pPr>
            <a:lvl5pPr marL="0" indent="1828800">
              <a:buSzTx/>
              <a:buFontTx/>
              <a:buNone/>
              <a:defRPr sz="1600" b="0" i="0"/>
            </a:lvl5pPr>
          </a:lstStyle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22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3918" y="6400413"/>
            <a:ext cx="279883" cy="276999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Title Text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234" name="Body Level One…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23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3918" y="6400413"/>
            <a:ext cx="279883" cy="276999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Title Text"/>
          <p:cNvSpPr txBox="1">
            <a:spLocks noGrp="1"/>
          </p:cNvSpPr>
          <p:nvPr>
            <p:ph type="title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243" name="Body Level One…"/>
          <p:cNvSpPr txBox="1">
            <a:spLocks noGrp="1"/>
          </p:cNvSpPr>
          <p:nvPr>
            <p:ph type="body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24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3918" y="6400413"/>
            <a:ext cx="279883" cy="276999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Blank background">
    <p:bg>
      <p:bgPr>
        <a:gradFill flip="none" rotWithShape="1">
          <a:gsLst>
            <a:gs pos="50000">
              <a:srgbClr val="E5E5E2"/>
            </a:gs>
            <a:gs pos="100000">
              <a:srgbClr val="CECEC7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1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rcRect b="9396"/>
          <a:stretch>
            <a:fillRect/>
          </a:stretch>
        </p:blipFill>
        <p:spPr>
          <a:xfrm>
            <a:off x="0" y="-1"/>
            <a:ext cx="12192000" cy="6858002"/>
          </a:xfrm>
          <a:prstGeom prst="rect">
            <a:avLst/>
          </a:prstGeom>
          <a:ln w="12700">
            <a:miter lim="400000"/>
          </a:ln>
        </p:spPr>
      </p:pic>
      <p:pic>
        <p:nvPicPr>
          <p:cNvPr id="252" name="Picture 6" descr="Picture 6"/>
          <p:cNvPicPr>
            <a:picLocks noChangeAspect="1"/>
          </p:cNvPicPr>
          <p:nvPr/>
        </p:nvPicPr>
        <p:blipFill>
          <a:blip r:embed="rId3">
            <a:extLst/>
          </a:blip>
          <a:srcRect b="87606"/>
          <a:stretch>
            <a:fillRect/>
          </a:stretch>
        </p:blipFill>
        <p:spPr>
          <a:xfrm>
            <a:off x="0" y="-1"/>
            <a:ext cx="12192000" cy="931818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57" name="Group 4"/>
          <p:cNvGrpSpPr/>
          <p:nvPr/>
        </p:nvGrpSpPr>
        <p:grpSpPr>
          <a:xfrm>
            <a:off x="10056814" y="238125"/>
            <a:ext cx="1858965" cy="496889"/>
            <a:chOff x="0" y="0"/>
            <a:chExt cx="1858963" cy="496887"/>
          </a:xfrm>
        </p:grpSpPr>
        <p:sp>
          <p:nvSpPr>
            <p:cNvPr id="253" name="Freeform 5"/>
            <p:cNvSpPr/>
            <p:nvPr/>
          </p:nvSpPr>
          <p:spPr>
            <a:xfrm>
              <a:off x="465137" y="-1"/>
              <a:ext cx="1393827" cy="369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53" y="16982"/>
                  </a:moveTo>
                  <a:cubicBezTo>
                    <a:pt x="14753" y="18621"/>
                    <a:pt x="14439" y="19738"/>
                    <a:pt x="14008" y="19738"/>
                  </a:cubicBezTo>
                  <a:cubicBezTo>
                    <a:pt x="13596" y="19738"/>
                    <a:pt x="13596" y="19738"/>
                    <a:pt x="13596" y="19738"/>
                  </a:cubicBezTo>
                  <a:cubicBezTo>
                    <a:pt x="13596" y="14152"/>
                    <a:pt x="13596" y="14152"/>
                    <a:pt x="13596" y="14152"/>
                  </a:cubicBezTo>
                  <a:cubicBezTo>
                    <a:pt x="14008" y="14152"/>
                    <a:pt x="14008" y="14152"/>
                    <a:pt x="14008" y="14152"/>
                  </a:cubicBezTo>
                  <a:cubicBezTo>
                    <a:pt x="14439" y="14152"/>
                    <a:pt x="14753" y="15269"/>
                    <a:pt x="14753" y="16908"/>
                  </a:cubicBezTo>
                  <a:lnTo>
                    <a:pt x="14753" y="16982"/>
                  </a:lnTo>
                  <a:close/>
                  <a:moveTo>
                    <a:pt x="14008" y="12290"/>
                  </a:moveTo>
                  <a:cubicBezTo>
                    <a:pt x="13046" y="12290"/>
                    <a:pt x="13046" y="12290"/>
                    <a:pt x="13046" y="12290"/>
                  </a:cubicBezTo>
                  <a:cubicBezTo>
                    <a:pt x="13046" y="21600"/>
                    <a:pt x="13046" y="21600"/>
                    <a:pt x="13046" y="21600"/>
                  </a:cubicBezTo>
                  <a:cubicBezTo>
                    <a:pt x="14008" y="21600"/>
                    <a:pt x="14008" y="21600"/>
                    <a:pt x="14008" y="21600"/>
                  </a:cubicBezTo>
                  <a:cubicBezTo>
                    <a:pt x="14773" y="21600"/>
                    <a:pt x="15302" y="19589"/>
                    <a:pt x="15302" y="16908"/>
                  </a:cubicBezTo>
                  <a:cubicBezTo>
                    <a:pt x="15302" y="16908"/>
                    <a:pt x="15302" y="16908"/>
                    <a:pt x="15302" y="16908"/>
                  </a:cubicBezTo>
                  <a:cubicBezTo>
                    <a:pt x="15302" y="14301"/>
                    <a:pt x="14773" y="12290"/>
                    <a:pt x="14008" y="12290"/>
                  </a:cubicBezTo>
                  <a:moveTo>
                    <a:pt x="12105" y="18025"/>
                  </a:moveTo>
                  <a:cubicBezTo>
                    <a:pt x="10967" y="12290"/>
                    <a:pt x="10967" y="12290"/>
                    <a:pt x="10967" y="12290"/>
                  </a:cubicBezTo>
                  <a:cubicBezTo>
                    <a:pt x="10476" y="12290"/>
                    <a:pt x="10476" y="12290"/>
                    <a:pt x="10476" y="12290"/>
                  </a:cubicBezTo>
                  <a:cubicBezTo>
                    <a:pt x="10476" y="21600"/>
                    <a:pt x="10476" y="21600"/>
                    <a:pt x="10476" y="21600"/>
                  </a:cubicBezTo>
                  <a:cubicBezTo>
                    <a:pt x="11006" y="21600"/>
                    <a:pt x="11006" y="21600"/>
                    <a:pt x="11006" y="21600"/>
                  </a:cubicBezTo>
                  <a:cubicBezTo>
                    <a:pt x="11006" y="15716"/>
                    <a:pt x="11006" y="15716"/>
                    <a:pt x="11006" y="15716"/>
                  </a:cubicBezTo>
                  <a:cubicBezTo>
                    <a:pt x="12183" y="21600"/>
                    <a:pt x="12183" y="21600"/>
                    <a:pt x="12183" y="21600"/>
                  </a:cubicBezTo>
                  <a:cubicBezTo>
                    <a:pt x="12634" y="21600"/>
                    <a:pt x="12634" y="21600"/>
                    <a:pt x="12634" y="21600"/>
                  </a:cubicBezTo>
                  <a:cubicBezTo>
                    <a:pt x="12634" y="12290"/>
                    <a:pt x="12634" y="12290"/>
                    <a:pt x="12634" y="12290"/>
                  </a:cubicBezTo>
                  <a:cubicBezTo>
                    <a:pt x="12105" y="12290"/>
                    <a:pt x="12105" y="12290"/>
                    <a:pt x="12105" y="12290"/>
                  </a:cubicBezTo>
                  <a:lnTo>
                    <a:pt x="12105" y="18025"/>
                  </a:lnTo>
                  <a:close/>
                  <a:moveTo>
                    <a:pt x="8573" y="17727"/>
                  </a:moveTo>
                  <a:cubicBezTo>
                    <a:pt x="8907" y="14673"/>
                    <a:pt x="8907" y="14673"/>
                    <a:pt x="8907" y="14673"/>
                  </a:cubicBezTo>
                  <a:cubicBezTo>
                    <a:pt x="9221" y="17727"/>
                    <a:pt x="9221" y="17727"/>
                    <a:pt x="9221" y="17727"/>
                  </a:cubicBezTo>
                  <a:lnTo>
                    <a:pt x="8573" y="17727"/>
                  </a:lnTo>
                  <a:close/>
                  <a:moveTo>
                    <a:pt x="8671" y="12215"/>
                  </a:moveTo>
                  <a:cubicBezTo>
                    <a:pt x="7612" y="21600"/>
                    <a:pt x="7612" y="21600"/>
                    <a:pt x="7612" y="21600"/>
                  </a:cubicBezTo>
                  <a:cubicBezTo>
                    <a:pt x="8161" y="21600"/>
                    <a:pt x="8161" y="21600"/>
                    <a:pt x="8161" y="21600"/>
                  </a:cubicBezTo>
                  <a:cubicBezTo>
                    <a:pt x="8397" y="19514"/>
                    <a:pt x="8397" y="19514"/>
                    <a:pt x="8397" y="19514"/>
                  </a:cubicBezTo>
                  <a:cubicBezTo>
                    <a:pt x="9417" y="19514"/>
                    <a:pt x="9417" y="19514"/>
                    <a:pt x="9417" y="19514"/>
                  </a:cubicBezTo>
                  <a:cubicBezTo>
                    <a:pt x="9652" y="21600"/>
                    <a:pt x="9652" y="21600"/>
                    <a:pt x="9652" y="21600"/>
                  </a:cubicBezTo>
                  <a:cubicBezTo>
                    <a:pt x="10202" y="21600"/>
                    <a:pt x="10202" y="21600"/>
                    <a:pt x="10202" y="21600"/>
                  </a:cubicBezTo>
                  <a:cubicBezTo>
                    <a:pt x="9162" y="12215"/>
                    <a:pt x="9162" y="12215"/>
                    <a:pt x="9162" y="12215"/>
                  </a:cubicBezTo>
                  <a:lnTo>
                    <a:pt x="8671" y="12215"/>
                  </a:lnTo>
                  <a:close/>
                  <a:moveTo>
                    <a:pt x="6180" y="12290"/>
                  </a:moveTo>
                  <a:cubicBezTo>
                    <a:pt x="5650" y="12290"/>
                    <a:pt x="5650" y="12290"/>
                    <a:pt x="5650" y="12290"/>
                  </a:cubicBezTo>
                  <a:cubicBezTo>
                    <a:pt x="5650" y="21600"/>
                    <a:pt x="5650" y="21600"/>
                    <a:pt x="5650" y="21600"/>
                  </a:cubicBezTo>
                  <a:cubicBezTo>
                    <a:pt x="7396" y="21600"/>
                    <a:pt x="7396" y="21600"/>
                    <a:pt x="7396" y="21600"/>
                  </a:cubicBezTo>
                  <a:cubicBezTo>
                    <a:pt x="7396" y="19738"/>
                    <a:pt x="7396" y="19738"/>
                    <a:pt x="7396" y="19738"/>
                  </a:cubicBezTo>
                  <a:cubicBezTo>
                    <a:pt x="6180" y="19738"/>
                    <a:pt x="6180" y="19738"/>
                    <a:pt x="6180" y="19738"/>
                  </a:cubicBezTo>
                  <a:lnTo>
                    <a:pt x="6180" y="12290"/>
                  </a:lnTo>
                  <a:close/>
                  <a:moveTo>
                    <a:pt x="3943" y="17801"/>
                  </a:moveTo>
                  <a:cubicBezTo>
                    <a:pt x="5081" y="17801"/>
                    <a:pt x="5081" y="17801"/>
                    <a:pt x="5081" y="17801"/>
                  </a:cubicBezTo>
                  <a:cubicBezTo>
                    <a:pt x="5081" y="16014"/>
                    <a:pt x="5081" y="16014"/>
                    <a:pt x="5081" y="16014"/>
                  </a:cubicBezTo>
                  <a:cubicBezTo>
                    <a:pt x="3943" y="16014"/>
                    <a:pt x="3943" y="16014"/>
                    <a:pt x="3943" y="16014"/>
                  </a:cubicBezTo>
                  <a:cubicBezTo>
                    <a:pt x="3943" y="14152"/>
                    <a:pt x="3943" y="14152"/>
                    <a:pt x="3943" y="14152"/>
                  </a:cubicBezTo>
                  <a:cubicBezTo>
                    <a:pt x="5238" y="14152"/>
                    <a:pt x="5238" y="14152"/>
                    <a:pt x="5238" y="14152"/>
                  </a:cubicBezTo>
                  <a:cubicBezTo>
                    <a:pt x="5238" y="12290"/>
                    <a:pt x="5238" y="12290"/>
                    <a:pt x="5238" y="12290"/>
                  </a:cubicBezTo>
                  <a:cubicBezTo>
                    <a:pt x="3394" y="12290"/>
                    <a:pt x="3394" y="12290"/>
                    <a:pt x="3394" y="12290"/>
                  </a:cubicBezTo>
                  <a:cubicBezTo>
                    <a:pt x="3394" y="21600"/>
                    <a:pt x="3394" y="21600"/>
                    <a:pt x="3394" y="21600"/>
                  </a:cubicBezTo>
                  <a:cubicBezTo>
                    <a:pt x="5258" y="21600"/>
                    <a:pt x="5258" y="21600"/>
                    <a:pt x="5258" y="21600"/>
                  </a:cubicBezTo>
                  <a:cubicBezTo>
                    <a:pt x="5258" y="19738"/>
                    <a:pt x="5258" y="19738"/>
                    <a:pt x="5258" y="19738"/>
                  </a:cubicBezTo>
                  <a:cubicBezTo>
                    <a:pt x="3943" y="19738"/>
                    <a:pt x="3943" y="19738"/>
                    <a:pt x="3943" y="19738"/>
                  </a:cubicBezTo>
                  <a:lnTo>
                    <a:pt x="3943" y="17801"/>
                  </a:lnTo>
                  <a:close/>
                  <a:moveTo>
                    <a:pt x="2472" y="15492"/>
                  </a:moveTo>
                  <a:cubicBezTo>
                    <a:pt x="2472" y="16312"/>
                    <a:pt x="2315" y="16833"/>
                    <a:pt x="2060" y="16833"/>
                  </a:cubicBezTo>
                  <a:cubicBezTo>
                    <a:pt x="1511" y="16833"/>
                    <a:pt x="1511" y="16833"/>
                    <a:pt x="1511" y="16833"/>
                  </a:cubicBezTo>
                  <a:cubicBezTo>
                    <a:pt x="1511" y="14152"/>
                    <a:pt x="1511" y="14152"/>
                    <a:pt x="1511" y="14152"/>
                  </a:cubicBezTo>
                  <a:cubicBezTo>
                    <a:pt x="2040" y="14152"/>
                    <a:pt x="2040" y="14152"/>
                    <a:pt x="2040" y="14152"/>
                  </a:cubicBezTo>
                  <a:cubicBezTo>
                    <a:pt x="2295" y="14152"/>
                    <a:pt x="2472" y="14599"/>
                    <a:pt x="2472" y="15492"/>
                  </a:cubicBezTo>
                  <a:close/>
                  <a:moveTo>
                    <a:pt x="3002" y="15418"/>
                  </a:moveTo>
                  <a:cubicBezTo>
                    <a:pt x="3002" y="15343"/>
                    <a:pt x="3002" y="15343"/>
                    <a:pt x="3002" y="15343"/>
                  </a:cubicBezTo>
                  <a:cubicBezTo>
                    <a:pt x="3002" y="14524"/>
                    <a:pt x="2943" y="13779"/>
                    <a:pt x="2805" y="13258"/>
                  </a:cubicBezTo>
                  <a:cubicBezTo>
                    <a:pt x="2629" y="12662"/>
                    <a:pt x="2393" y="12290"/>
                    <a:pt x="2080" y="12290"/>
                  </a:cubicBezTo>
                  <a:cubicBezTo>
                    <a:pt x="961" y="12290"/>
                    <a:pt x="961" y="12290"/>
                    <a:pt x="961" y="12290"/>
                  </a:cubicBezTo>
                  <a:cubicBezTo>
                    <a:pt x="961" y="21600"/>
                    <a:pt x="961" y="21600"/>
                    <a:pt x="961" y="21600"/>
                  </a:cubicBezTo>
                  <a:cubicBezTo>
                    <a:pt x="1511" y="21600"/>
                    <a:pt x="1511" y="21600"/>
                    <a:pt x="1511" y="21600"/>
                  </a:cubicBezTo>
                  <a:cubicBezTo>
                    <a:pt x="1511" y="18621"/>
                    <a:pt x="1511" y="18621"/>
                    <a:pt x="1511" y="18621"/>
                  </a:cubicBezTo>
                  <a:cubicBezTo>
                    <a:pt x="1923" y="18621"/>
                    <a:pt x="1923" y="18621"/>
                    <a:pt x="1923" y="18621"/>
                  </a:cubicBezTo>
                  <a:cubicBezTo>
                    <a:pt x="2452" y="21600"/>
                    <a:pt x="2452" y="21600"/>
                    <a:pt x="2452" y="21600"/>
                  </a:cubicBezTo>
                  <a:cubicBezTo>
                    <a:pt x="3080" y="21600"/>
                    <a:pt x="3080" y="21600"/>
                    <a:pt x="3080" y="21600"/>
                  </a:cubicBezTo>
                  <a:cubicBezTo>
                    <a:pt x="2492" y="18248"/>
                    <a:pt x="2492" y="18248"/>
                    <a:pt x="2492" y="18248"/>
                  </a:cubicBezTo>
                  <a:cubicBezTo>
                    <a:pt x="2786" y="17801"/>
                    <a:pt x="3002" y="16908"/>
                    <a:pt x="3002" y="15418"/>
                  </a:cubicBezTo>
                  <a:moveTo>
                    <a:pt x="20" y="21600"/>
                  </a:moveTo>
                  <a:cubicBezTo>
                    <a:pt x="549" y="21600"/>
                    <a:pt x="549" y="21600"/>
                    <a:pt x="549" y="21600"/>
                  </a:cubicBezTo>
                  <a:cubicBezTo>
                    <a:pt x="549" y="12290"/>
                    <a:pt x="549" y="12290"/>
                    <a:pt x="549" y="12290"/>
                  </a:cubicBezTo>
                  <a:cubicBezTo>
                    <a:pt x="20" y="12290"/>
                    <a:pt x="20" y="12290"/>
                    <a:pt x="20" y="12290"/>
                  </a:cubicBezTo>
                  <a:lnTo>
                    <a:pt x="20" y="21600"/>
                  </a:lnTo>
                  <a:close/>
                  <a:moveTo>
                    <a:pt x="20266" y="7597"/>
                  </a:moveTo>
                  <a:cubicBezTo>
                    <a:pt x="20266" y="5661"/>
                    <a:pt x="20266" y="5661"/>
                    <a:pt x="20266" y="5661"/>
                  </a:cubicBezTo>
                  <a:cubicBezTo>
                    <a:pt x="21423" y="5661"/>
                    <a:pt x="21423" y="5661"/>
                    <a:pt x="21423" y="5661"/>
                  </a:cubicBezTo>
                  <a:cubicBezTo>
                    <a:pt x="21423" y="3873"/>
                    <a:pt x="21423" y="3873"/>
                    <a:pt x="21423" y="3873"/>
                  </a:cubicBezTo>
                  <a:cubicBezTo>
                    <a:pt x="20266" y="3873"/>
                    <a:pt x="20266" y="3873"/>
                    <a:pt x="20266" y="3873"/>
                  </a:cubicBezTo>
                  <a:cubicBezTo>
                    <a:pt x="20266" y="1937"/>
                    <a:pt x="20266" y="1937"/>
                    <a:pt x="20266" y="1937"/>
                  </a:cubicBezTo>
                  <a:cubicBezTo>
                    <a:pt x="21580" y="1937"/>
                    <a:pt x="21580" y="1937"/>
                    <a:pt x="21580" y="1937"/>
                  </a:cubicBezTo>
                  <a:cubicBezTo>
                    <a:pt x="21580" y="149"/>
                    <a:pt x="21580" y="149"/>
                    <a:pt x="21580" y="149"/>
                  </a:cubicBezTo>
                  <a:cubicBezTo>
                    <a:pt x="19736" y="149"/>
                    <a:pt x="19736" y="149"/>
                    <a:pt x="19736" y="149"/>
                  </a:cubicBezTo>
                  <a:cubicBezTo>
                    <a:pt x="19736" y="9385"/>
                    <a:pt x="19736" y="9385"/>
                    <a:pt x="19736" y="9385"/>
                  </a:cubicBezTo>
                  <a:cubicBezTo>
                    <a:pt x="21600" y="9385"/>
                    <a:pt x="21600" y="9385"/>
                    <a:pt x="21600" y="9385"/>
                  </a:cubicBezTo>
                  <a:cubicBezTo>
                    <a:pt x="21600" y="7597"/>
                    <a:pt x="21600" y="7597"/>
                    <a:pt x="21600" y="7597"/>
                  </a:cubicBezTo>
                  <a:lnTo>
                    <a:pt x="20266" y="7597"/>
                  </a:lnTo>
                  <a:close/>
                  <a:moveTo>
                    <a:pt x="18598" y="3873"/>
                  </a:moveTo>
                  <a:cubicBezTo>
                    <a:pt x="18186" y="3426"/>
                    <a:pt x="18069" y="3277"/>
                    <a:pt x="18069" y="2607"/>
                  </a:cubicBezTo>
                  <a:cubicBezTo>
                    <a:pt x="18069" y="2607"/>
                    <a:pt x="18069" y="2607"/>
                    <a:pt x="18069" y="2607"/>
                  </a:cubicBezTo>
                  <a:cubicBezTo>
                    <a:pt x="18069" y="2160"/>
                    <a:pt x="18186" y="1788"/>
                    <a:pt x="18383" y="1788"/>
                  </a:cubicBezTo>
                  <a:cubicBezTo>
                    <a:pt x="18598" y="1788"/>
                    <a:pt x="18814" y="2160"/>
                    <a:pt x="19030" y="2756"/>
                  </a:cubicBezTo>
                  <a:cubicBezTo>
                    <a:pt x="19305" y="1192"/>
                    <a:pt x="19305" y="1192"/>
                    <a:pt x="19305" y="1192"/>
                  </a:cubicBezTo>
                  <a:cubicBezTo>
                    <a:pt x="19050" y="447"/>
                    <a:pt x="18755" y="0"/>
                    <a:pt x="18402" y="0"/>
                  </a:cubicBezTo>
                  <a:cubicBezTo>
                    <a:pt x="17892" y="0"/>
                    <a:pt x="17539" y="1117"/>
                    <a:pt x="17539" y="2830"/>
                  </a:cubicBezTo>
                  <a:cubicBezTo>
                    <a:pt x="17539" y="2830"/>
                    <a:pt x="17539" y="2830"/>
                    <a:pt x="17539" y="2830"/>
                  </a:cubicBezTo>
                  <a:cubicBezTo>
                    <a:pt x="17539" y="4692"/>
                    <a:pt x="17853" y="5214"/>
                    <a:pt x="18343" y="5661"/>
                  </a:cubicBezTo>
                  <a:cubicBezTo>
                    <a:pt x="18755" y="6033"/>
                    <a:pt x="18834" y="6331"/>
                    <a:pt x="18834" y="6852"/>
                  </a:cubicBezTo>
                  <a:cubicBezTo>
                    <a:pt x="18834" y="6852"/>
                    <a:pt x="18834" y="6852"/>
                    <a:pt x="18834" y="6852"/>
                  </a:cubicBezTo>
                  <a:cubicBezTo>
                    <a:pt x="18834" y="7448"/>
                    <a:pt x="18716" y="7746"/>
                    <a:pt x="18481" y="7746"/>
                  </a:cubicBezTo>
                  <a:cubicBezTo>
                    <a:pt x="18206" y="7746"/>
                    <a:pt x="17990" y="7299"/>
                    <a:pt x="17755" y="6629"/>
                  </a:cubicBezTo>
                  <a:cubicBezTo>
                    <a:pt x="17441" y="8044"/>
                    <a:pt x="17441" y="8044"/>
                    <a:pt x="17441" y="8044"/>
                  </a:cubicBezTo>
                  <a:cubicBezTo>
                    <a:pt x="17735" y="9087"/>
                    <a:pt x="18108" y="9534"/>
                    <a:pt x="18481" y="9534"/>
                  </a:cubicBezTo>
                  <a:cubicBezTo>
                    <a:pt x="19010" y="9534"/>
                    <a:pt x="19383" y="8491"/>
                    <a:pt x="19383" y="6703"/>
                  </a:cubicBezTo>
                  <a:cubicBezTo>
                    <a:pt x="19383" y="6629"/>
                    <a:pt x="19383" y="6629"/>
                    <a:pt x="19383" y="6629"/>
                  </a:cubicBezTo>
                  <a:cubicBezTo>
                    <a:pt x="19383" y="5065"/>
                    <a:pt x="19089" y="4320"/>
                    <a:pt x="18598" y="3873"/>
                  </a:cubicBezTo>
                  <a:moveTo>
                    <a:pt x="16538" y="9385"/>
                  </a:moveTo>
                  <a:cubicBezTo>
                    <a:pt x="17088" y="9385"/>
                    <a:pt x="17088" y="9385"/>
                    <a:pt x="17088" y="9385"/>
                  </a:cubicBezTo>
                  <a:cubicBezTo>
                    <a:pt x="17088" y="149"/>
                    <a:pt x="17088" y="149"/>
                    <a:pt x="17088" y="149"/>
                  </a:cubicBezTo>
                  <a:cubicBezTo>
                    <a:pt x="16538" y="149"/>
                    <a:pt x="16538" y="149"/>
                    <a:pt x="16538" y="149"/>
                  </a:cubicBezTo>
                  <a:lnTo>
                    <a:pt x="16538" y="9385"/>
                  </a:lnTo>
                  <a:close/>
                  <a:moveTo>
                    <a:pt x="15557" y="3352"/>
                  </a:moveTo>
                  <a:cubicBezTo>
                    <a:pt x="15557" y="4097"/>
                    <a:pt x="15420" y="4618"/>
                    <a:pt x="15146" y="4618"/>
                  </a:cubicBezTo>
                  <a:cubicBezTo>
                    <a:pt x="14616" y="4618"/>
                    <a:pt x="14616" y="4618"/>
                    <a:pt x="14616" y="4618"/>
                  </a:cubicBezTo>
                  <a:cubicBezTo>
                    <a:pt x="14616" y="2011"/>
                    <a:pt x="14616" y="2011"/>
                    <a:pt x="14616" y="2011"/>
                  </a:cubicBezTo>
                  <a:cubicBezTo>
                    <a:pt x="15146" y="2011"/>
                    <a:pt x="15146" y="2011"/>
                    <a:pt x="15146" y="2011"/>
                  </a:cubicBezTo>
                  <a:cubicBezTo>
                    <a:pt x="15401" y="2011"/>
                    <a:pt x="15557" y="2458"/>
                    <a:pt x="15557" y="3277"/>
                  </a:cubicBezTo>
                  <a:lnTo>
                    <a:pt x="15557" y="3352"/>
                  </a:lnTo>
                  <a:close/>
                  <a:moveTo>
                    <a:pt x="16107" y="3203"/>
                  </a:moveTo>
                  <a:cubicBezTo>
                    <a:pt x="16107" y="3203"/>
                    <a:pt x="16107" y="3203"/>
                    <a:pt x="16107" y="3203"/>
                  </a:cubicBezTo>
                  <a:cubicBezTo>
                    <a:pt x="16107" y="2309"/>
                    <a:pt x="16028" y="1564"/>
                    <a:pt x="15911" y="1043"/>
                  </a:cubicBezTo>
                  <a:cubicBezTo>
                    <a:pt x="15734" y="447"/>
                    <a:pt x="15499" y="149"/>
                    <a:pt x="15185" y="149"/>
                  </a:cubicBezTo>
                  <a:cubicBezTo>
                    <a:pt x="14066" y="149"/>
                    <a:pt x="14066" y="149"/>
                    <a:pt x="14066" y="149"/>
                  </a:cubicBezTo>
                  <a:cubicBezTo>
                    <a:pt x="14066" y="9385"/>
                    <a:pt x="14066" y="9385"/>
                    <a:pt x="14066" y="9385"/>
                  </a:cubicBezTo>
                  <a:cubicBezTo>
                    <a:pt x="14616" y="9385"/>
                    <a:pt x="14616" y="9385"/>
                    <a:pt x="14616" y="9385"/>
                  </a:cubicBezTo>
                  <a:cubicBezTo>
                    <a:pt x="14616" y="6480"/>
                    <a:pt x="14616" y="6480"/>
                    <a:pt x="14616" y="6480"/>
                  </a:cubicBezTo>
                  <a:cubicBezTo>
                    <a:pt x="15028" y="6480"/>
                    <a:pt x="15028" y="6480"/>
                    <a:pt x="15028" y="6480"/>
                  </a:cubicBezTo>
                  <a:cubicBezTo>
                    <a:pt x="15557" y="9385"/>
                    <a:pt x="15557" y="9385"/>
                    <a:pt x="15557" y="9385"/>
                  </a:cubicBezTo>
                  <a:cubicBezTo>
                    <a:pt x="16185" y="9385"/>
                    <a:pt x="16185" y="9385"/>
                    <a:pt x="16185" y="9385"/>
                  </a:cubicBezTo>
                  <a:cubicBezTo>
                    <a:pt x="15597" y="6108"/>
                    <a:pt x="15597" y="6108"/>
                    <a:pt x="15597" y="6108"/>
                  </a:cubicBezTo>
                  <a:cubicBezTo>
                    <a:pt x="15891" y="5661"/>
                    <a:pt x="16107" y="4692"/>
                    <a:pt x="16107" y="3203"/>
                  </a:cubicBezTo>
                  <a:moveTo>
                    <a:pt x="13203" y="3426"/>
                  </a:moveTo>
                  <a:cubicBezTo>
                    <a:pt x="13203" y="4171"/>
                    <a:pt x="13046" y="4841"/>
                    <a:pt x="12772" y="4841"/>
                  </a:cubicBezTo>
                  <a:cubicBezTo>
                    <a:pt x="12360" y="4841"/>
                    <a:pt x="12360" y="4841"/>
                    <a:pt x="12360" y="4841"/>
                  </a:cubicBezTo>
                  <a:cubicBezTo>
                    <a:pt x="12360" y="2011"/>
                    <a:pt x="12360" y="2011"/>
                    <a:pt x="12360" y="2011"/>
                  </a:cubicBezTo>
                  <a:cubicBezTo>
                    <a:pt x="12772" y="2011"/>
                    <a:pt x="12772" y="2011"/>
                    <a:pt x="12772" y="2011"/>
                  </a:cubicBezTo>
                  <a:cubicBezTo>
                    <a:pt x="13027" y="2011"/>
                    <a:pt x="13203" y="2458"/>
                    <a:pt x="13203" y="3352"/>
                  </a:cubicBezTo>
                  <a:lnTo>
                    <a:pt x="13203" y="3426"/>
                  </a:lnTo>
                  <a:close/>
                  <a:moveTo>
                    <a:pt x="13753" y="3352"/>
                  </a:moveTo>
                  <a:cubicBezTo>
                    <a:pt x="13753" y="3352"/>
                    <a:pt x="13753" y="3352"/>
                    <a:pt x="13753" y="3352"/>
                  </a:cubicBezTo>
                  <a:cubicBezTo>
                    <a:pt x="13753" y="1415"/>
                    <a:pt x="13399" y="149"/>
                    <a:pt x="12811" y="149"/>
                  </a:cubicBezTo>
                  <a:cubicBezTo>
                    <a:pt x="11810" y="149"/>
                    <a:pt x="11810" y="149"/>
                    <a:pt x="11810" y="149"/>
                  </a:cubicBezTo>
                  <a:cubicBezTo>
                    <a:pt x="11810" y="9385"/>
                    <a:pt x="11810" y="9385"/>
                    <a:pt x="11810" y="9385"/>
                  </a:cubicBezTo>
                  <a:cubicBezTo>
                    <a:pt x="12360" y="9385"/>
                    <a:pt x="12360" y="9385"/>
                    <a:pt x="12360" y="9385"/>
                  </a:cubicBezTo>
                  <a:cubicBezTo>
                    <a:pt x="12360" y="6629"/>
                    <a:pt x="12360" y="6629"/>
                    <a:pt x="12360" y="6629"/>
                  </a:cubicBezTo>
                  <a:cubicBezTo>
                    <a:pt x="12752" y="6629"/>
                    <a:pt x="12752" y="6629"/>
                    <a:pt x="12752" y="6629"/>
                  </a:cubicBezTo>
                  <a:cubicBezTo>
                    <a:pt x="13301" y="6629"/>
                    <a:pt x="13753" y="5512"/>
                    <a:pt x="13753" y="3352"/>
                  </a:cubicBezTo>
                  <a:moveTo>
                    <a:pt x="10457" y="4618"/>
                  </a:moveTo>
                  <a:cubicBezTo>
                    <a:pt x="9907" y="4618"/>
                    <a:pt x="9907" y="4618"/>
                    <a:pt x="9907" y="4618"/>
                  </a:cubicBezTo>
                  <a:cubicBezTo>
                    <a:pt x="9907" y="2011"/>
                    <a:pt x="9907" y="2011"/>
                    <a:pt x="9907" y="2011"/>
                  </a:cubicBezTo>
                  <a:cubicBezTo>
                    <a:pt x="10457" y="2011"/>
                    <a:pt x="10457" y="2011"/>
                    <a:pt x="10457" y="2011"/>
                  </a:cubicBezTo>
                  <a:cubicBezTo>
                    <a:pt x="10712" y="2011"/>
                    <a:pt x="10869" y="2458"/>
                    <a:pt x="10869" y="3277"/>
                  </a:cubicBezTo>
                  <a:cubicBezTo>
                    <a:pt x="10869" y="3352"/>
                    <a:pt x="10869" y="3352"/>
                    <a:pt x="10869" y="3352"/>
                  </a:cubicBezTo>
                  <a:cubicBezTo>
                    <a:pt x="10869" y="4097"/>
                    <a:pt x="10712" y="4618"/>
                    <a:pt x="10457" y="4618"/>
                  </a:cubicBezTo>
                  <a:moveTo>
                    <a:pt x="11496" y="9385"/>
                  </a:moveTo>
                  <a:cubicBezTo>
                    <a:pt x="10888" y="6108"/>
                    <a:pt x="10888" y="6108"/>
                    <a:pt x="10888" y="6108"/>
                  </a:cubicBezTo>
                  <a:cubicBezTo>
                    <a:pt x="11202" y="5661"/>
                    <a:pt x="11418" y="4692"/>
                    <a:pt x="11418" y="3203"/>
                  </a:cubicBezTo>
                  <a:cubicBezTo>
                    <a:pt x="11418" y="3203"/>
                    <a:pt x="11418" y="3203"/>
                    <a:pt x="11418" y="3203"/>
                  </a:cubicBezTo>
                  <a:cubicBezTo>
                    <a:pt x="11418" y="2309"/>
                    <a:pt x="11340" y="1564"/>
                    <a:pt x="11202" y="1043"/>
                  </a:cubicBezTo>
                  <a:cubicBezTo>
                    <a:pt x="11045" y="447"/>
                    <a:pt x="10810" y="149"/>
                    <a:pt x="10496" y="149"/>
                  </a:cubicBezTo>
                  <a:cubicBezTo>
                    <a:pt x="9378" y="149"/>
                    <a:pt x="9378" y="149"/>
                    <a:pt x="9378" y="149"/>
                  </a:cubicBezTo>
                  <a:cubicBezTo>
                    <a:pt x="9378" y="9385"/>
                    <a:pt x="9378" y="9385"/>
                    <a:pt x="9378" y="9385"/>
                  </a:cubicBezTo>
                  <a:cubicBezTo>
                    <a:pt x="9907" y="9385"/>
                    <a:pt x="9907" y="9385"/>
                    <a:pt x="9907" y="9385"/>
                  </a:cubicBezTo>
                  <a:cubicBezTo>
                    <a:pt x="9907" y="6480"/>
                    <a:pt x="9907" y="6480"/>
                    <a:pt x="9907" y="6480"/>
                  </a:cubicBezTo>
                  <a:cubicBezTo>
                    <a:pt x="10339" y="6480"/>
                    <a:pt x="10339" y="6480"/>
                    <a:pt x="10339" y="6480"/>
                  </a:cubicBezTo>
                  <a:cubicBezTo>
                    <a:pt x="10869" y="9385"/>
                    <a:pt x="10869" y="9385"/>
                    <a:pt x="10869" y="9385"/>
                  </a:cubicBezTo>
                  <a:lnTo>
                    <a:pt x="11496" y="9385"/>
                  </a:lnTo>
                  <a:close/>
                  <a:moveTo>
                    <a:pt x="9025" y="7597"/>
                  </a:moveTo>
                  <a:cubicBezTo>
                    <a:pt x="7690" y="7597"/>
                    <a:pt x="7690" y="7597"/>
                    <a:pt x="7690" y="7597"/>
                  </a:cubicBezTo>
                  <a:cubicBezTo>
                    <a:pt x="7690" y="5661"/>
                    <a:pt x="7690" y="5661"/>
                    <a:pt x="7690" y="5661"/>
                  </a:cubicBezTo>
                  <a:cubicBezTo>
                    <a:pt x="8848" y="5661"/>
                    <a:pt x="8848" y="5661"/>
                    <a:pt x="8848" y="5661"/>
                  </a:cubicBezTo>
                  <a:cubicBezTo>
                    <a:pt x="8848" y="3873"/>
                    <a:pt x="8848" y="3873"/>
                    <a:pt x="8848" y="3873"/>
                  </a:cubicBezTo>
                  <a:cubicBezTo>
                    <a:pt x="7690" y="3873"/>
                    <a:pt x="7690" y="3873"/>
                    <a:pt x="7690" y="3873"/>
                  </a:cubicBezTo>
                  <a:cubicBezTo>
                    <a:pt x="7690" y="1937"/>
                    <a:pt x="7690" y="1937"/>
                    <a:pt x="7690" y="1937"/>
                  </a:cubicBezTo>
                  <a:cubicBezTo>
                    <a:pt x="9005" y="1937"/>
                    <a:pt x="9005" y="1937"/>
                    <a:pt x="9005" y="1937"/>
                  </a:cubicBezTo>
                  <a:cubicBezTo>
                    <a:pt x="9005" y="149"/>
                    <a:pt x="9005" y="149"/>
                    <a:pt x="9005" y="149"/>
                  </a:cubicBezTo>
                  <a:cubicBezTo>
                    <a:pt x="7161" y="149"/>
                    <a:pt x="7161" y="149"/>
                    <a:pt x="7161" y="149"/>
                  </a:cubicBezTo>
                  <a:cubicBezTo>
                    <a:pt x="7161" y="9385"/>
                    <a:pt x="7161" y="9385"/>
                    <a:pt x="7161" y="9385"/>
                  </a:cubicBezTo>
                  <a:cubicBezTo>
                    <a:pt x="9025" y="9385"/>
                    <a:pt x="9025" y="9385"/>
                    <a:pt x="9025" y="9385"/>
                  </a:cubicBezTo>
                  <a:lnTo>
                    <a:pt x="9025" y="7597"/>
                  </a:lnTo>
                  <a:close/>
                  <a:moveTo>
                    <a:pt x="6043" y="9385"/>
                  </a:moveTo>
                  <a:cubicBezTo>
                    <a:pt x="6043" y="2011"/>
                    <a:pt x="6043" y="2011"/>
                    <a:pt x="6043" y="2011"/>
                  </a:cubicBezTo>
                  <a:cubicBezTo>
                    <a:pt x="6788" y="2011"/>
                    <a:pt x="6788" y="2011"/>
                    <a:pt x="6788" y="2011"/>
                  </a:cubicBezTo>
                  <a:cubicBezTo>
                    <a:pt x="6788" y="149"/>
                    <a:pt x="6788" y="149"/>
                    <a:pt x="6788" y="149"/>
                  </a:cubicBezTo>
                  <a:cubicBezTo>
                    <a:pt x="4767" y="149"/>
                    <a:pt x="4767" y="149"/>
                    <a:pt x="4767" y="149"/>
                  </a:cubicBezTo>
                  <a:cubicBezTo>
                    <a:pt x="4767" y="2011"/>
                    <a:pt x="4767" y="2011"/>
                    <a:pt x="4767" y="2011"/>
                  </a:cubicBezTo>
                  <a:cubicBezTo>
                    <a:pt x="5513" y="2011"/>
                    <a:pt x="5513" y="2011"/>
                    <a:pt x="5513" y="2011"/>
                  </a:cubicBezTo>
                  <a:cubicBezTo>
                    <a:pt x="5513" y="9385"/>
                    <a:pt x="5513" y="9385"/>
                    <a:pt x="5513" y="9385"/>
                  </a:cubicBezTo>
                  <a:lnTo>
                    <a:pt x="6043" y="9385"/>
                  </a:lnTo>
                  <a:close/>
                  <a:moveTo>
                    <a:pt x="2766" y="3501"/>
                  </a:moveTo>
                  <a:cubicBezTo>
                    <a:pt x="3943" y="9385"/>
                    <a:pt x="3943" y="9385"/>
                    <a:pt x="3943" y="9385"/>
                  </a:cubicBezTo>
                  <a:cubicBezTo>
                    <a:pt x="4414" y="9385"/>
                    <a:pt x="4414" y="9385"/>
                    <a:pt x="4414" y="9385"/>
                  </a:cubicBezTo>
                  <a:cubicBezTo>
                    <a:pt x="4414" y="149"/>
                    <a:pt x="4414" y="149"/>
                    <a:pt x="4414" y="149"/>
                  </a:cubicBezTo>
                  <a:cubicBezTo>
                    <a:pt x="3865" y="149"/>
                    <a:pt x="3865" y="149"/>
                    <a:pt x="3865" y="149"/>
                  </a:cubicBezTo>
                  <a:cubicBezTo>
                    <a:pt x="3865" y="5884"/>
                    <a:pt x="3865" y="5884"/>
                    <a:pt x="3865" y="5884"/>
                  </a:cubicBezTo>
                  <a:cubicBezTo>
                    <a:pt x="2727" y="149"/>
                    <a:pt x="2727" y="149"/>
                    <a:pt x="2727" y="149"/>
                  </a:cubicBezTo>
                  <a:cubicBezTo>
                    <a:pt x="2237" y="149"/>
                    <a:pt x="2237" y="149"/>
                    <a:pt x="2237" y="149"/>
                  </a:cubicBezTo>
                  <a:cubicBezTo>
                    <a:pt x="2237" y="9385"/>
                    <a:pt x="2237" y="9385"/>
                    <a:pt x="2237" y="9385"/>
                  </a:cubicBezTo>
                  <a:cubicBezTo>
                    <a:pt x="2766" y="9385"/>
                    <a:pt x="2766" y="9385"/>
                    <a:pt x="2766" y="9385"/>
                  </a:cubicBezTo>
                  <a:lnTo>
                    <a:pt x="2766" y="3501"/>
                  </a:lnTo>
                  <a:close/>
                  <a:moveTo>
                    <a:pt x="1864" y="7597"/>
                  </a:moveTo>
                  <a:cubicBezTo>
                    <a:pt x="530" y="7597"/>
                    <a:pt x="530" y="7597"/>
                    <a:pt x="530" y="7597"/>
                  </a:cubicBezTo>
                  <a:cubicBezTo>
                    <a:pt x="530" y="5661"/>
                    <a:pt x="530" y="5661"/>
                    <a:pt x="530" y="5661"/>
                  </a:cubicBezTo>
                  <a:cubicBezTo>
                    <a:pt x="1687" y="5661"/>
                    <a:pt x="1687" y="5661"/>
                    <a:pt x="1687" y="5661"/>
                  </a:cubicBezTo>
                  <a:cubicBezTo>
                    <a:pt x="1687" y="3873"/>
                    <a:pt x="1687" y="3873"/>
                    <a:pt x="1687" y="3873"/>
                  </a:cubicBezTo>
                  <a:cubicBezTo>
                    <a:pt x="530" y="3873"/>
                    <a:pt x="530" y="3873"/>
                    <a:pt x="530" y="3873"/>
                  </a:cubicBezTo>
                  <a:cubicBezTo>
                    <a:pt x="530" y="1937"/>
                    <a:pt x="530" y="1937"/>
                    <a:pt x="530" y="1937"/>
                  </a:cubicBezTo>
                  <a:cubicBezTo>
                    <a:pt x="1844" y="1937"/>
                    <a:pt x="1844" y="1937"/>
                    <a:pt x="1844" y="1937"/>
                  </a:cubicBezTo>
                  <a:cubicBezTo>
                    <a:pt x="1844" y="149"/>
                    <a:pt x="1844" y="149"/>
                    <a:pt x="1844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9385"/>
                    <a:pt x="0" y="9385"/>
                    <a:pt x="0" y="9385"/>
                  </a:cubicBezTo>
                  <a:cubicBezTo>
                    <a:pt x="1864" y="9385"/>
                    <a:pt x="1864" y="9385"/>
                    <a:pt x="1864" y="9385"/>
                  </a:cubicBezTo>
                  <a:lnTo>
                    <a:pt x="1864" y="7597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  <p:sp>
          <p:nvSpPr>
            <p:cNvPr id="254" name="Freeform 6"/>
            <p:cNvSpPr/>
            <p:nvPr/>
          </p:nvSpPr>
          <p:spPr>
            <a:xfrm>
              <a:off x="466725" y="427037"/>
              <a:ext cx="1368426" cy="698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60" y="9818"/>
                  </a:moveTo>
                  <a:cubicBezTo>
                    <a:pt x="21160" y="8640"/>
                    <a:pt x="21200" y="7855"/>
                    <a:pt x="21280" y="7855"/>
                  </a:cubicBezTo>
                  <a:cubicBezTo>
                    <a:pt x="21380" y="7855"/>
                    <a:pt x="21420" y="8247"/>
                    <a:pt x="21480" y="9818"/>
                  </a:cubicBezTo>
                  <a:cubicBezTo>
                    <a:pt x="21560" y="8640"/>
                    <a:pt x="21560" y="8640"/>
                    <a:pt x="21560" y="8640"/>
                  </a:cubicBezTo>
                  <a:cubicBezTo>
                    <a:pt x="21500" y="7069"/>
                    <a:pt x="21400" y="5891"/>
                    <a:pt x="21300" y="5891"/>
                  </a:cubicBezTo>
                  <a:cubicBezTo>
                    <a:pt x="21160" y="5891"/>
                    <a:pt x="21041" y="7462"/>
                    <a:pt x="21041" y="9818"/>
                  </a:cubicBezTo>
                  <a:cubicBezTo>
                    <a:pt x="21041" y="15316"/>
                    <a:pt x="21500" y="13353"/>
                    <a:pt x="21500" y="17280"/>
                  </a:cubicBezTo>
                  <a:cubicBezTo>
                    <a:pt x="21500" y="18458"/>
                    <a:pt x="21440" y="19636"/>
                    <a:pt x="21320" y="19636"/>
                  </a:cubicBezTo>
                  <a:cubicBezTo>
                    <a:pt x="21220" y="19636"/>
                    <a:pt x="21160" y="18851"/>
                    <a:pt x="21100" y="17673"/>
                  </a:cubicBezTo>
                  <a:cubicBezTo>
                    <a:pt x="21021" y="18851"/>
                    <a:pt x="21021" y="18851"/>
                    <a:pt x="21021" y="18851"/>
                  </a:cubicBezTo>
                  <a:cubicBezTo>
                    <a:pt x="21100" y="20422"/>
                    <a:pt x="21200" y="21600"/>
                    <a:pt x="21320" y="21600"/>
                  </a:cubicBezTo>
                  <a:cubicBezTo>
                    <a:pt x="21460" y="21600"/>
                    <a:pt x="21600" y="20029"/>
                    <a:pt x="21600" y="17280"/>
                  </a:cubicBezTo>
                  <a:cubicBezTo>
                    <a:pt x="21600" y="11389"/>
                    <a:pt x="21160" y="13353"/>
                    <a:pt x="21160" y="9818"/>
                  </a:cubicBezTo>
                  <a:moveTo>
                    <a:pt x="20481" y="9818"/>
                  </a:moveTo>
                  <a:cubicBezTo>
                    <a:pt x="20481" y="8640"/>
                    <a:pt x="20541" y="7855"/>
                    <a:pt x="20621" y="7855"/>
                  </a:cubicBezTo>
                  <a:cubicBezTo>
                    <a:pt x="20721" y="7855"/>
                    <a:pt x="20761" y="8247"/>
                    <a:pt x="20821" y="9818"/>
                  </a:cubicBezTo>
                  <a:cubicBezTo>
                    <a:pt x="20901" y="8640"/>
                    <a:pt x="20901" y="8640"/>
                    <a:pt x="20901" y="8640"/>
                  </a:cubicBezTo>
                  <a:cubicBezTo>
                    <a:pt x="20841" y="7069"/>
                    <a:pt x="20741" y="5891"/>
                    <a:pt x="20641" y="5891"/>
                  </a:cubicBezTo>
                  <a:cubicBezTo>
                    <a:pt x="20481" y="5891"/>
                    <a:pt x="20381" y="7462"/>
                    <a:pt x="20381" y="9818"/>
                  </a:cubicBezTo>
                  <a:cubicBezTo>
                    <a:pt x="20381" y="15316"/>
                    <a:pt x="20821" y="13353"/>
                    <a:pt x="20821" y="17280"/>
                  </a:cubicBezTo>
                  <a:cubicBezTo>
                    <a:pt x="20821" y="18458"/>
                    <a:pt x="20781" y="19636"/>
                    <a:pt x="20661" y="19636"/>
                  </a:cubicBezTo>
                  <a:cubicBezTo>
                    <a:pt x="20561" y="19636"/>
                    <a:pt x="20501" y="18851"/>
                    <a:pt x="20441" y="17673"/>
                  </a:cubicBezTo>
                  <a:cubicBezTo>
                    <a:pt x="20361" y="18851"/>
                    <a:pt x="20361" y="18851"/>
                    <a:pt x="20361" y="18851"/>
                  </a:cubicBezTo>
                  <a:cubicBezTo>
                    <a:pt x="20441" y="20422"/>
                    <a:pt x="20541" y="21600"/>
                    <a:pt x="20661" y="21600"/>
                  </a:cubicBezTo>
                  <a:cubicBezTo>
                    <a:pt x="20801" y="21600"/>
                    <a:pt x="20941" y="20029"/>
                    <a:pt x="20941" y="17280"/>
                  </a:cubicBezTo>
                  <a:cubicBezTo>
                    <a:pt x="20941" y="11389"/>
                    <a:pt x="20481" y="13353"/>
                    <a:pt x="20481" y="9818"/>
                  </a:cubicBezTo>
                  <a:moveTo>
                    <a:pt x="19962" y="7855"/>
                  </a:moveTo>
                  <a:cubicBezTo>
                    <a:pt x="20081" y="7855"/>
                    <a:pt x="20141" y="9425"/>
                    <a:pt x="20141" y="12567"/>
                  </a:cubicBezTo>
                  <a:cubicBezTo>
                    <a:pt x="19742" y="12567"/>
                    <a:pt x="19742" y="12567"/>
                    <a:pt x="19742" y="12567"/>
                  </a:cubicBezTo>
                  <a:cubicBezTo>
                    <a:pt x="19762" y="9425"/>
                    <a:pt x="19822" y="7855"/>
                    <a:pt x="19962" y="7855"/>
                  </a:cubicBezTo>
                  <a:moveTo>
                    <a:pt x="19981" y="19636"/>
                  </a:moveTo>
                  <a:cubicBezTo>
                    <a:pt x="19842" y="19636"/>
                    <a:pt x="19742" y="17673"/>
                    <a:pt x="19742" y="14138"/>
                  </a:cubicBezTo>
                  <a:cubicBezTo>
                    <a:pt x="20241" y="14138"/>
                    <a:pt x="20241" y="14138"/>
                    <a:pt x="20241" y="14138"/>
                  </a:cubicBezTo>
                  <a:cubicBezTo>
                    <a:pt x="20241" y="12960"/>
                    <a:pt x="20241" y="12960"/>
                    <a:pt x="20241" y="12960"/>
                  </a:cubicBezTo>
                  <a:cubicBezTo>
                    <a:pt x="20241" y="7855"/>
                    <a:pt x="20121" y="5891"/>
                    <a:pt x="19962" y="5891"/>
                  </a:cubicBezTo>
                  <a:cubicBezTo>
                    <a:pt x="19762" y="5891"/>
                    <a:pt x="19642" y="9033"/>
                    <a:pt x="19642" y="13745"/>
                  </a:cubicBezTo>
                  <a:cubicBezTo>
                    <a:pt x="19642" y="19244"/>
                    <a:pt x="19802" y="21600"/>
                    <a:pt x="19981" y="21600"/>
                  </a:cubicBezTo>
                  <a:cubicBezTo>
                    <a:pt x="20141" y="21600"/>
                    <a:pt x="20221" y="19636"/>
                    <a:pt x="20261" y="18065"/>
                  </a:cubicBezTo>
                  <a:cubicBezTo>
                    <a:pt x="20181" y="17280"/>
                    <a:pt x="20181" y="17280"/>
                    <a:pt x="20181" y="17280"/>
                  </a:cubicBezTo>
                  <a:cubicBezTo>
                    <a:pt x="20141" y="18851"/>
                    <a:pt x="20061" y="19636"/>
                    <a:pt x="19981" y="19636"/>
                  </a:cubicBezTo>
                  <a:moveTo>
                    <a:pt x="19222" y="5891"/>
                  </a:moveTo>
                  <a:cubicBezTo>
                    <a:pt x="19142" y="5891"/>
                    <a:pt x="19062" y="7069"/>
                    <a:pt x="19002" y="8247"/>
                  </a:cubicBezTo>
                  <a:cubicBezTo>
                    <a:pt x="19002" y="8247"/>
                    <a:pt x="19002" y="8247"/>
                    <a:pt x="19002" y="8247"/>
                  </a:cubicBezTo>
                  <a:cubicBezTo>
                    <a:pt x="19002" y="6284"/>
                    <a:pt x="19002" y="6284"/>
                    <a:pt x="19002" y="6284"/>
                  </a:cubicBezTo>
                  <a:cubicBezTo>
                    <a:pt x="18883" y="6284"/>
                    <a:pt x="18883" y="6284"/>
                    <a:pt x="18883" y="6284"/>
                  </a:cubicBezTo>
                  <a:cubicBezTo>
                    <a:pt x="18883" y="21207"/>
                    <a:pt x="18883" y="21207"/>
                    <a:pt x="18883" y="21207"/>
                  </a:cubicBezTo>
                  <a:cubicBezTo>
                    <a:pt x="19002" y="21207"/>
                    <a:pt x="19002" y="21207"/>
                    <a:pt x="19002" y="21207"/>
                  </a:cubicBezTo>
                  <a:cubicBezTo>
                    <a:pt x="19002" y="10211"/>
                    <a:pt x="19002" y="10211"/>
                    <a:pt x="19002" y="10211"/>
                  </a:cubicBezTo>
                  <a:cubicBezTo>
                    <a:pt x="19042" y="9033"/>
                    <a:pt x="19142" y="7855"/>
                    <a:pt x="19222" y="7855"/>
                  </a:cubicBezTo>
                  <a:cubicBezTo>
                    <a:pt x="19282" y="7855"/>
                    <a:pt x="19342" y="8247"/>
                    <a:pt x="19342" y="10211"/>
                  </a:cubicBezTo>
                  <a:cubicBezTo>
                    <a:pt x="19342" y="21207"/>
                    <a:pt x="19342" y="21207"/>
                    <a:pt x="19342" y="21207"/>
                  </a:cubicBezTo>
                  <a:cubicBezTo>
                    <a:pt x="19442" y="21207"/>
                    <a:pt x="19442" y="21207"/>
                    <a:pt x="19442" y="21207"/>
                  </a:cubicBezTo>
                  <a:cubicBezTo>
                    <a:pt x="19442" y="10211"/>
                    <a:pt x="19442" y="10211"/>
                    <a:pt x="19442" y="10211"/>
                  </a:cubicBezTo>
                  <a:cubicBezTo>
                    <a:pt x="19442" y="7069"/>
                    <a:pt x="19342" y="5891"/>
                    <a:pt x="19222" y="5891"/>
                  </a:cubicBezTo>
                  <a:moveTo>
                    <a:pt x="18503" y="21207"/>
                  </a:moveTo>
                  <a:cubicBezTo>
                    <a:pt x="18603" y="21207"/>
                    <a:pt x="18603" y="21207"/>
                    <a:pt x="18603" y="21207"/>
                  </a:cubicBezTo>
                  <a:cubicBezTo>
                    <a:pt x="18603" y="6284"/>
                    <a:pt x="18603" y="6284"/>
                    <a:pt x="18603" y="6284"/>
                  </a:cubicBezTo>
                  <a:cubicBezTo>
                    <a:pt x="18503" y="6284"/>
                    <a:pt x="18503" y="6284"/>
                    <a:pt x="18503" y="6284"/>
                  </a:cubicBezTo>
                  <a:lnTo>
                    <a:pt x="18503" y="21207"/>
                  </a:lnTo>
                  <a:close/>
                  <a:moveTo>
                    <a:pt x="18503" y="2749"/>
                  </a:moveTo>
                  <a:cubicBezTo>
                    <a:pt x="18603" y="2749"/>
                    <a:pt x="18603" y="2749"/>
                    <a:pt x="18603" y="2749"/>
                  </a:cubicBezTo>
                  <a:cubicBezTo>
                    <a:pt x="18603" y="0"/>
                    <a:pt x="18603" y="0"/>
                    <a:pt x="18603" y="0"/>
                  </a:cubicBezTo>
                  <a:cubicBezTo>
                    <a:pt x="18503" y="0"/>
                    <a:pt x="18503" y="0"/>
                    <a:pt x="18503" y="0"/>
                  </a:cubicBezTo>
                  <a:lnTo>
                    <a:pt x="18503" y="2749"/>
                  </a:lnTo>
                  <a:close/>
                  <a:moveTo>
                    <a:pt x="17843" y="9818"/>
                  </a:moveTo>
                  <a:cubicBezTo>
                    <a:pt x="17843" y="8640"/>
                    <a:pt x="17903" y="7855"/>
                    <a:pt x="17983" y="7855"/>
                  </a:cubicBezTo>
                  <a:cubicBezTo>
                    <a:pt x="18063" y="7855"/>
                    <a:pt x="18123" y="8247"/>
                    <a:pt x="18183" y="9818"/>
                  </a:cubicBezTo>
                  <a:cubicBezTo>
                    <a:pt x="18263" y="8640"/>
                    <a:pt x="18263" y="8640"/>
                    <a:pt x="18263" y="8640"/>
                  </a:cubicBezTo>
                  <a:cubicBezTo>
                    <a:pt x="18203" y="7069"/>
                    <a:pt x="18103" y="5891"/>
                    <a:pt x="18003" y="5891"/>
                  </a:cubicBezTo>
                  <a:cubicBezTo>
                    <a:pt x="17843" y="5891"/>
                    <a:pt x="17744" y="7462"/>
                    <a:pt x="17744" y="9818"/>
                  </a:cubicBezTo>
                  <a:cubicBezTo>
                    <a:pt x="17724" y="15316"/>
                    <a:pt x="18183" y="13353"/>
                    <a:pt x="18183" y="17280"/>
                  </a:cubicBezTo>
                  <a:cubicBezTo>
                    <a:pt x="18183" y="18458"/>
                    <a:pt x="18143" y="19636"/>
                    <a:pt x="18023" y="19636"/>
                  </a:cubicBezTo>
                  <a:cubicBezTo>
                    <a:pt x="17923" y="19636"/>
                    <a:pt x="17843" y="18851"/>
                    <a:pt x="17804" y="17673"/>
                  </a:cubicBezTo>
                  <a:cubicBezTo>
                    <a:pt x="17724" y="18851"/>
                    <a:pt x="17724" y="18851"/>
                    <a:pt x="17724" y="18851"/>
                  </a:cubicBezTo>
                  <a:cubicBezTo>
                    <a:pt x="17784" y="20422"/>
                    <a:pt x="17903" y="21600"/>
                    <a:pt x="18023" y="21600"/>
                  </a:cubicBezTo>
                  <a:cubicBezTo>
                    <a:pt x="18163" y="21600"/>
                    <a:pt x="18283" y="20029"/>
                    <a:pt x="18283" y="17280"/>
                  </a:cubicBezTo>
                  <a:cubicBezTo>
                    <a:pt x="18283" y="11389"/>
                    <a:pt x="17843" y="13353"/>
                    <a:pt x="17843" y="9818"/>
                  </a:cubicBezTo>
                  <a:moveTo>
                    <a:pt x="17444" y="17673"/>
                  </a:moveTo>
                  <a:cubicBezTo>
                    <a:pt x="17384" y="18458"/>
                    <a:pt x="17304" y="19636"/>
                    <a:pt x="17224" y="19636"/>
                  </a:cubicBezTo>
                  <a:cubicBezTo>
                    <a:pt x="17144" y="19636"/>
                    <a:pt x="17104" y="19244"/>
                    <a:pt x="17104" y="17280"/>
                  </a:cubicBezTo>
                  <a:cubicBezTo>
                    <a:pt x="17104" y="6284"/>
                    <a:pt x="17104" y="6284"/>
                    <a:pt x="17104" y="6284"/>
                  </a:cubicBezTo>
                  <a:cubicBezTo>
                    <a:pt x="16984" y="6284"/>
                    <a:pt x="16984" y="6284"/>
                    <a:pt x="16984" y="6284"/>
                  </a:cubicBezTo>
                  <a:cubicBezTo>
                    <a:pt x="16984" y="17280"/>
                    <a:pt x="16984" y="17280"/>
                    <a:pt x="16984" y="17280"/>
                  </a:cubicBezTo>
                  <a:cubicBezTo>
                    <a:pt x="16984" y="20422"/>
                    <a:pt x="17104" y="21600"/>
                    <a:pt x="17204" y="21600"/>
                  </a:cubicBezTo>
                  <a:cubicBezTo>
                    <a:pt x="17304" y="21600"/>
                    <a:pt x="17384" y="20422"/>
                    <a:pt x="17444" y="19244"/>
                  </a:cubicBezTo>
                  <a:cubicBezTo>
                    <a:pt x="17444" y="19244"/>
                    <a:pt x="17444" y="19244"/>
                    <a:pt x="17444" y="19244"/>
                  </a:cubicBezTo>
                  <a:cubicBezTo>
                    <a:pt x="17444" y="21207"/>
                    <a:pt x="17444" y="21207"/>
                    <a:pt x="17444" y="21207"/>
                  </a:cubicBezTo>
                  <a:cubicBezTo>
                    <a:pt x="17544" y="21207"/>
                    <a:pt x="17544" y="21207"/>
                    <a:pt x="17544" y="21207"/>
                  </a:cubicBezTo>
                  <a:cubicBezTo>
                    <a:pt x="17544" y="6284"/>
                    <a:pt x="17544" y="6284"/>
                    <a:pt x="17544" y="6284"/>
                  </a:cubicBezTo>
                  <a:cubicBezTo>
                    <a:pt x="17444" y="6284"/>
                    <a:pt x="17444" y="6284"/>
                    <a:pt x="17444" y="6284"/>
                  </a:cubicBezTo>
                  <a:lnTo>
                    <a:pt x="17444" y="17673"/>
                  </a:lnTo>
                  <a:close/>
                  <a:moveTo>
                    <a:pt x="16465" y="19636"/>
                  </a:moveTo>
                  <a:cubicBezTo>
                    <a:pt x="16385" y="19636"/>
                    <a:pt x="16345" y="19244"/>
                    <a:pt x="16265" y="17673"/>
                  </a:cubicBezTo>
                  <a:cubicBezTo>
                    <a:pt x="16265" y="9818"/>
                    <a:pt x="16265" y="9818"/>
                    <a:pt x="16265" y="9818"/>
                  </a:cubicBezTo>
                  <a:cubicBezTo>
                    <a:pt x="16325" y="8640"/>
                    <a:pt x="16405" y="7855"/>
                    <a:pt x="16465" y="7855"/>
                  </a:cubicBezTo>
                  <a:cubicBezTo>
                    <a:pt x="16585" y="7855"/>
                    <a:pt x="16685" y="9425"/>
                    <a:pt x="16685" y="13745"/>
                  </a:cubicBezTo>
                  <a:cubicBezTo>
                    <a:pt x="16685" y="17673"/>
                    <a:pt x="16585" y="19636"/>
                    <a:pt x="16465" y="19636"/>
                  </a:cubicBezTo>
                  <a:moveTo>
                    <a:pt x="16485" y="5891"/>
                  </a:moveTo>
                  <a:cubicBezTo>
                    <a:pt x="16405" y="5891"/>
                    <a:pt x="16325" y="6676"/>
                    <a:pt x="16265" y="7462"/>
                  </a:cubicBezTo>
                  <a:cubicBezTo>
                    <a:pt x="16265" y="7855"/>
                    <a:pt x="16265" y="7855"/>
                    <a:pt x="16265" y="7855"/>
                  </a:cubicBezTo>
                  <a:cubicBezTo>
                    <a:pt x="16265" y="393"/>
                    <a:pt x="16265" y="393"/>
                    <a:pt x="16265" y="393"/>
                  </a:cubicBezTo>
                  <a:cubicBezTo>
                    <a:pt x="16165" y="393"/>
                    <a:pt x="16165" y="393"/>
                    <a:pt x="16165" y="393"/>
                  </a:cubicBezTo>
                  <a:cubicBezTo>
                    <a:pt x="16165" y="18065"/>
                    <a:pt x="16165" y="18065"/>
                    <a:pt x="16165" y="18065"/>
                  </a:cubicBezTo>
                  <a:cubicBezTo>
                    <a:pt x="16165" y="19244"/>
                    <a:pt x="16165" y="20029"/>
                    <a:pt x="16145" y="21207"/>
                  </a:cubicBezTo>
                  <a:cubicBezTo>
                    <a:pt x="16225" y="21207"/>
                    <a:pt x="16225" y="21207"/>
                    <a:pt x="16225" y="21207"/>
                  </a:cubicBezTo>
                  <a:cubicBezTo>
                    <a:pt x="16245" y="19636"/>
                    <a:pt x="16245" y="19636"/>
                    <a:pt x="16245" y="19636"/>
                  </a:cubicBezTo>
                  <a:cubicBezTo>
                    <a:pt x="16305" y="20815"/>
                    <a:pt x="16385" y="21600"/>
                    <a:pt x="16465" y="21600"/>
                  </a:cubicBezTo>
                  <a:cubicBezTo>
                    <a:pt x="16605" y="21600"/>
                    <a:pt x="16784" y="19636"/>
                    <a:pt x="16784" y="13745"/>
                  </a:cubicBezTo>
                  <a:cubicBezTo>
                    <a:pt x="16784" y="7855"/>
                    <a:pt x="16605" y="5891"/>
                    <a:pt x="16485" y="5891"/>
                  </a:cubicBezTo>
                  <a:moveTo>
                    <a:pt x="15086" y="9818"/>
                  </a:moveTo>
                  <a:cubicBezTo>
                    <a:pt x="15086" y="8640"/>
                    <a:pt x="15126" y="7855"/>
                    <a:pt x="15226" y="7855"/>
                  </a:cubicBezTo>
                  <a:cubicBezTo>
                    <a:pt x="15306" y="7855"/>
                    <a:pt x="15366" y="8247"/>
                    <a:pt x="15426" y="9818"/>
                  </a:cubicBezTo>
                  <a:cubicBezTo>
                    <a:pt x="15486" y="8640"/>
                    <a:pt x="15486" y="8640"/>
                    <a:pt x="15486" y="8640"/>
                  </a:cubicBezTo>
                  <a:cubicBezTo>
                    <a:pt x="15446" y="7069"/>
                    <a:pt x="15326" y="5891"/>
                    <a:pt x="15226" y="5891"/>
                  </a:cubicBezTo>
                  <a:cubicBezTo>
                    <a:pt x="15086" y="5891"/>
                    <a:pt x="14986" y="7462"/>
                    <a:pt x="14966" y="9818"/>
                  </a:cubicBezTo>
                  <a:cubicBezTo>
                    <a:pt x="14966" y="15316"/>
                    <a:pt x="15426" y="13353"/>
                    <a:pt x="15426" y="17280"/>
                  </a:cubicBezTo>
                  <a:cubicBezTo>
                    <a:pt x="15426" y="18458"/>
                    <a:pt x="15366" y="19636"/>
                    <a:pt x="15246" y="19636"/>
                  </a:cubicBezTo>
                  <a:cubicBezTo>
                    <a:pt x="15166" y="19636"/>
                    <a:pt x="15086" y="18851"/>
                    <a:pt x="15026" y="17673"/>
                  </a:cubicBezTo>
                  <a:cubicBezTo>
                    <a:pt x="14946" y="18851"/>
                    <a:pt x="14946" y="18851"/>
                    <a:pt x="14946" y="18851"/>
                  </a:cubicBezTo>
                  <a:cubicBezTo>
                    <a:pt x="15026" y="20422"/>
                    <a:pt x="15146" y="21600"/>
                    <a:pt x="15266" y="21600"/>
                  </a:cubicBezTo>
                  <a:cubicBezTo>
                    <a:pt x="15406" y="21600"/>
                    <a:pt x="15526" y="20029"/>
                    <a:pt x="15526" y="17280"/>
                  </a:cubicBezTo>
                  <a:cubicBezTo>
                    <a:pt x="15526" y="11389"/>
                    <a:pt x="15086" y="13353"/>
                    <a:pt x="15086" y="9818"/>
                  </a:cubicBezTo>
                  <a:moveTo>
                    <a:pt x="14567" y="5891"/>
                  </a:moveTo>
                  <a:cubicBezTo>
                    <a:pt x="14467" y="5891"/>
                    <a:pt x="14387" y="7069"/>
                    <a:pt x="14327" y="8247"/>
                  </a:cubicBezTo>
                  <a:cubicBezTo>
                    <a:pt x="14327" y="8247"/>
                    <a:pt x="14327" y="8247"/>
                    <a:pt x="14327" y="8247"/>
                  </a:cubicBezTo>
                  <a:cubicBezTo>
                    <a:pt x="14327" y="6284"/>
                    <a:pt x="14327" y="6284"/>
                    <a:pt x="14327" y="6284"/>
                  </a:cubicBezTo>
                  <a:cubicBezTo>
                    <a:pt x="14227" y="6284"/>
                    <a:pt x="14227" y="6284"/>
                    <a:pt x="14227" y="6284"/>
                  </a:cubicBezTo>
                  <a:cubicBezTo>
                    <a:pt x="14227" y="21207"/>
                    <a:pt x="14227" y="21207"/>
                    <a:pt x="14227" y="21207"/>
                  </a:cubicBezTo>
                  <a:cubicBezTo>
                    <a:pt x="14327" y="21207"/>
                    <a:pt x="14327" y="21207"/>
                    <a:pt x="14327" y="21207"/>
                  </a:cubicBezTo>
                  <a:cubicBezTo>
                    <a:pt x="14327" y="10211"/>
                    <a:pt x="14327" y="10211"/>
                    <a:pt x="14327" y="10211"/>
                  </a:cubicBezTo>
                  <a:cubicBezTo>
                    <a:pt x="14367" y="9033"/>
                    <a:pt x="14467" y="7855"/>
                    <a:pt x="14547" y="7855"/>
                  </a:cubicBezTo>
                  <a:cubicBezTo>
                    <a:pt x="14626" y="7855"/>
                    <a:pt x="14666" y="8247"/>
                    <a:pt x="14666" y="10211"/>
                  </a:cubicBezTo>
                  <a:cubicBezTo>
                    <a:pt x="14666" y="21207"/>
                    <a:pt x="14666" y="21207"/>
                    <a:pt x="14666" y="21207"/>
                  </a:cubicBezTo>
                  <a:cubicBezTo>
                    <a:pt x="14786" y="21207"/>
                    <a:pt x="14786" y="21207"/>
                    <a:pt x="14786" y="21207"/>
                  </a:cubicBezTo>
                  <a:cubicBezTo>
                    <a:pt x="14786" y="10211"/>
                    <a:pt x="14786" y="10211"/>
                    <a:pt x="14786" y="10211"/>
                  </a:cubicBezTo>
                  <a:cubicBezTo>
                    <a:pt x="14786" y="7069"/>
                    <a:pt x="14666" y="5891"/>
                    <a:pt x="14567" y="5891"/>
                  </a:cubicBezTo>
                  <a:moveTo>
                    <a:pt x="13887" y="17280"/>
                  </a:moveTo>
                  <a:cubicBezTo>
                    <a:pt x="13807" y="18851"/>
                    <a:pt x="13727" y="19636"/>
                    <a:pt x="13647" y="19636"/>
                  </a:cubicBezTo>
                  <a:cubicBezTo>
                    <a:pt x="13587" y="19636"/>
                    <a:pt x="13507" y="18851"/>
                    <a:pt x="13507" y="17673"/>
                  </a:cubicBezTo>
                  <a:cubicBezTo>
                    <a:pt x="13507" y="15316"/>
                    <a:pt x="13627" y="14138"/>
                    <a:pt x="13887" y="13353"/>
                  </a:cubicBezTo>
                  <a:lnTo>
                    <a:pt x="13887" y="17280"/>
                  </a:lnTo>
                  <a:close/>
                  <a:moveTo>
                    <a:pt x="13987" y="10604"/>
                  </a:moveTo>
                  <a:cubicBezTo>
                    <a:pt x="13987" y="7069"/>
                    <a:pt x="13847" y="5891"/>
                    <a:pt x="13727" y="5891"/>
                  </a:cubicBezTo>
                  <a:cubicBezTo>
                    <a:pt x="13567" y="5891"/>
                    <a:pt x="13488" y="7462"/>
                    <a:pt x="13428" y="9033"/>
                  </a:cubicBezTo>
                  <a:cubicBezTo>
                    <a:pt x="13527" y="10211"/>
                    <a:pt x="13527" y="10211"/>
                    <a:pt x="13527" y="10211"/>
                  </a:cubicBezTo>
                  <a:cubicBezTo>
                    <a:pt x="13547" y="9033"/>
                    <a:pt x="13607" y="7855"/>
                    <a:pt x="13727" y="7855"/>
                  </a:cubicBezTo>
                  <a:cubicBezTo>
                    <a:pt x="13807" y="7855"/>
                    <a:pt x="13887" y="8640"/>
                    <a:pt x="13887" y="10604"/>
                  </a:cubicBezTo>
                  <a:cubicBezTo>
                    <a:pt x="13887" y="11389"/>
                    <a:pt x="13887" y="11389"/>
                    <a:pt x="13887" y="11389"/>
                  </a:cubicBezTo>
                  <a:cubicBezTo>
                    <a:pt x="13547" y="12567"/>
                    <a:pt x="13408" y="14138"/>
                    <a:pt x="13408" y="17280"/>
                  </a:cubicBezTo>
                  <a:cubicBezTo>
                    <a:pt x="13408" y="20029"/>
                    <a:pt x="13507" y="21600"/>
                    <a:pt x="13627" y="21600"/>
                  </a:cubicBezTo>
                  <a:cubicBezTo>
                    <a:pt x="13747" y="21600"/>
                    <a:pt x="13827" y="20422"/>
                    <a:pt x="13887" y="19244"/>
                  </a:cubicBezTo>
                  <a:cubicBezTo>
                    <a:pt x="13887" y="21207"/>
                    <a:pt x="13887" y="21207"/>
                    <a:pt x="13887" y="21207"/>
                  </a:cubicBezTo>
                  <a:cubicBezTo>
                    <a:pt x="14007" y="21207"/>
                    <a:pt x="14007" y="21207"/>
                    <a:pt x="14007" y="21207"/>
                  </a:cubicBezTo>
                  <a:cubicBezTo>
                    <a:pt x="13987" y="20422"/>
                    <a:pt x="13987" y="19636"/>
                    <a:pt x="13987" y="18065"/>
                  </a:cubicBezTo>
                  <a:lnTo>
                    <a:pt x="13987" y="10604"/>
                  </a:lnTo>
                  <a:close/>
                  <a:moveTo>
                    <a:pt x="12988" y="7855"/>
                  </a:moveTo>
                  <a:cubicBezTo>
                    <a:pt x="13088" y="7855"/>
                    <a:pt x="13168" y="9425"/>
                    <a:pt x="13168" y="12567"/>
                  </a:cubicBezTo>
                  <a:cubicBezTo>
                    <a:pt x="12768" y="12567"/>
                    <a:pt x="12768" y="12567"/>
                    <a:pt x="12768" y="12567"/>
                  </a:cubicBezTo>
                  <a:cubicBezTo>
                    <a:pt x="12788" y="9425"/>
                    <a:pt x="12848" y="7855"/>
                    <a:pt x="12988" y="7855"/>
                  </a:cubicBezTo>
                  <a:moveTo>
                    <a:pt x="12988" y="19636"/>
                  </a:moveTo>
                  <a:cubicBezTo>
                    <a:pt x="12868" y="19636"/>
                    <a:pt x="12768" y="17673"/>
                    <a:pt x="12768" y="14138"/>
                  </a:cubicBezTo>
                  <a:cubicBezTo>
                    <a:pt x="13268" y="14138"/>
                    <a:pt x="13268" y="14138"/>
                    <a:pt x="13268" y="14138"/>
                  </a:cubicBezTo>
                  <a:cubicBezTo>
                    <a:pt x="13268" y="12960"/>
                    <a:pt x="13268" y="12960"/>
                    <a:pt x="13268" y="12960"/>
                  </a:cubicBezTo>
                  <a:cubicBezTo>
                    <a:pt x="13268" y="7855"/>
                    <a:pt x="13128" y="5891"/>
                    <a:pt x="12968" y="5891"/>
                  </a:cubicBezTo>
                  <a:cubicBezTo>
                    <a:pt x="12788" y="5891"/>
                    <a:pt x="12668" y="9033"/>
                    <a:pt x="12668" y="13745"/>
                  </a:cubicBezTo>
                  <a:cubicBezTo>
                    <a:pt x="12668" y="19244"/>
                    <a:pt x="12828" y="21600"/>
                    <a:pt x="12988" y="21600"/>
                  </a:cubicBezTo>
                  <a:cubicBezTo>
                    <a:pt x="13168" y="21600"/>
                    <a:pt x="13248" y="19636"/>
                    <a:pt x="13288" y="18065"/>
                  </a:cubicBezTo>
                  <a:cubicBezTo>
                    <a:pt x="13208" y="17280"/>
                    <a:pt x="13208" y="17280"/>
                    <a:pt x="13208" y="17280"/>
                  </a:cubicBezTo>
                  <a:cubicBezTo>
                    <a:pt x="13168" y="18851"/>
                    <a:pt x="13088" y="19636"/>
                    <a:pt x="12988" y="19636"/>
                  </a:cubicBezTo>
                  <a:moveTo>
                    <a:pt x="12269" y="5891"/>
                  </a:moveTo>
                  <a:cubicBezTo>
                    <a:pt x="12169" y="5891"/>
                    <a:pt x="12089" y="7069"/>
                    <a:pt x="12029" y="8247"/>
                  </a:cubicBezTo>
                  <a:cubicBezTo>
                    <a:pt x="11989" y="7069"/>
                    <a:pt x="11929" y="5891"/>
                    <a:pt x="11829" y="5891"/>
                  </a:cubicBezTo>
                  <a:cubicBezTo>
                    <a:pt x="11749" y="5891"/>
                    <a:pt x="11669" y="6676"/>
                    <a:pt x="11609" y="8247"/>
                  </a:cubicBezTo>
                  <a:cubicBezTo>
                    <a:pt x="11589" y="8247"/>
                    <a:pt x="11589" y="8247"/>
                    <a:pt x="11589" y="8247"/>
                  </a:cubicBezTo>
                  <a:cubicBezTo>
                    <a:pt x="11589" y="6284"/>
                    <a:pt x="11589" y="6284"/>
                    <a:pt x="11589" y="6284"/>
                  </a:cubicBezTo>
                  <a:cubicBezTo>
                    <a:pt x="11489" y="6284"/>
                    <a:pt x="11489" y="6284"/>
                    <a:pt x="11489" y="6284"/>
                  </a:cubicBezTo>
                  <a:cubicBezTo>
                    <a:pt x="11489" y="21207"/>
                    <a:pt x="11489" y="21207"/>
                    <a:pt x="11489" y="21207"/>
                  </a:cubicBezTo>
                  <a:cubicBezTo>
                    <a:pt x="11589" y="21207"/>
                    <a:pt x="11589" y="21207"/>
                    <a:pt x="11589" y="21207"/>
                  </a:cubicBezTo>
                  <a:cubicBezTo>
                    <a:pt x="11589" y="10211"/>
                    <a:pt x="11589" y="10211"/>
                    <a:pt x="11589" y="10211"/>
                  </a:cubicBezTo>
                  <a:cubicBezTo>
                    <a:pt x="11649" y="9033"/>
                    <a:pt x="11709" y="7855"/>
                    <a:pt x="11809" y="7855"/>
                  </a:cubicBezTo>
                  <a:cubicBezTo>
                    <a:pt x="11889" y="7855"/>
                    <a:pt x="11929" y="8640"/>
                    <a:pt x="11929" y="10604"/>
                  </a:cubicBezTo>
                  <a:cubicBezTo>
                    <a:pt x="11929" y="21207"/>
                    <a:pt x="11929" y="21207"/>
                    <a:pt x="11929" y="21207"/>
                  </a:cubicBezTo>
                  <a:cubicBezTo>
                    <a:pt x="12029" y="21207"/>
                    <a:pt x="12029" y="21207"/>
                    <a:pt x="12029" y="21207"/>
                  </a:cubicBezTo>
                  <a:cubicBezTo>
                    <a:pt x="12029" y="10211"/>
                    <a:pt x="12029" y="10211"/>
                    <a:pt x="12029" y="10211"/>
                  </a:cubicBezTo>
                  <a:cubicBezTo>
                    <a:pt x="12089" y="9033"/>
                    <a:pt x="12149" y="7855"/>
                    <a:pt x="12249" y="7855"/>
                  </a:cubicBezTo>
                  <a:cubicBezTo>
                    <a:pt x="12329" y="7855"/>
                    <a:pt x="12369" y="8640"/>
                    <a:pt x="12369" y="10604"/>
                  </a:cubicBezTo>
                  <a:cubicBezTo>
                    <a:pt x="12369" y="21207"/>
                    <a:pt x="12369" y="21207"/>
                    <a:pt x="12369" y="21207"/>
                  </a:cubicBezTo>
                  <a:cubicBezTo>
                    <a:pt x="12468" y="21207"/>
                    <a:pt x="12468" y="21207"/>
                    <a:pt x="12468" y="21207"/>
                  </a:cubicBezTo>
                  <a:cubicBezTo>
                    <a:pt x="12468" y="10604"/>
                    <a:pt x="12468" y="10604"/>
                    <a:pt x="12468" y="10604"/>
                  </a:cubicBezTo>
                  <a:cubicBezTo>
                    <a:pt x="12468" y="6676"/>
                    <a:pt x="12369" y="5891"/>
                    <a:pt x="12269" y="5891"/>
                  </a:cubicBezTo>
                  <a:moveTo>
                    <a:pt x="10550" y="5891"/>
                  </a:moveTo>
                  <a:cubicBezTo>
                    <a:pt x="10470" y="5891"/>
                    <a:pt x="10390" y="7069"/>
                    <a:pt x="10330" y="8247"/>
                  </a:cubicBezTo>
                  <a:cubicBezTo>
                    <a:pt x="10330" y="8247"/>
                    <a:pt x="10330" y="8247"/>
                    <a:pt x="10330" y="8247"/>
                  </a:cubicBezTo>
                  <a:cubicBezTo>
                    <a:pt x="10330" y="6284"/>
                    <a:pt x="10330" y="6284"/>
                    <a:pt x="10330" y="6284"/>
                  </a:cubicBezTo>
                  <a:cubicBezTo>
                    <a:pt x="10231" y="6284"/>
                    <a:pt x="10231" y="6284"/>
                    <a:pt x="10231" y="6284"/>
                  </a:cubicBezTo>
                  <a:cubicBezTo>
                    <a:pt x="10231" y="21207"/>
                    <a:pt x="10231" y="21207"/>
                    <a:pt x="10231" y="21207"/>
                  </a:cubicBezTo>
                  <a:cubicBezTo>
                    <a:pt x="10330" y="21207"/>
                    <a:pt x="10330" y="21207"/>
                    <a:pt x="10330" y="21207"/>
                  </a:cubicBezTo>
                  <a:cubicBezTo>
                    <a:pt x="10330" y="10211"/>
                    <a:pt x="10330" y="10211"/>
                    <a:pt x="10330" y="10211"/>
                  </a:cubicBezTo>
                  <a:cubicBezTo>
                    <a:pt x="10370" y="9033"/>
                    <a:pt x="10470" y="7855"/>
                    <a:pt x="10550" y="7855"/>
                  </a:cubicBezTo>
                  <a:cubicBezTo>
                    <a:pt x="10630" y="7855"/>
                    <a:pt x="10670" y="8247"/>
                    <a:pt x="10670" y="10211"/>
                  </a:cubicBezTo>
                  <a:cubicBezTo>
                    <a:pt x="10670" y="21207"/>
                    <a:pt x="10670" y="21207"/>
                    <a:pt x="10670" y="21207"/>
                  </a:cubicBezTo>
                  <a:cubicBezTo>
                    <a:pt x="10770" y="21207"/>
                    <a:pt x="10770" y="21207"/>
                    <a:pt x="10770" y="21207"/>
                  </a:cubicBezTo>
                  <a:cubicBezTo>
                    <a:pt x="10770" y="10211"/>
                    <a:pt x="10770" y="10211"/>
                    <a:pt x="10770" y="10211"/>
                  </a:cubicBezTo>
                  <a:cubicBezTo>
                    <a:pt x="10770" y="7069"/>
                    <a:pt x="10670" y="5891"/>
                    <a:pt x="10550" y="5891"/>
                  </a:cubicBezTo>
                  <a:moveTo>
                    <a:pt x="9711" y="19636"/>
                  </a:moveTo>
                  <a:cubicBezTo>
                    <a:pt x="9591" y="19636"/>
                    <a:pt x="9511" y="17673"/>
                    <a:pt x="9511" y="13745"/>
                  </a:cubicBezTo>
                  <a:cubicBezTo>
                    <a:pt x="9511" y="9818"/>
                    <a:pt x="9591" y="7855"/>
                    <a:pt x="9711" y="7855"/>
                  </a:cubicBezTo>
                  <a:cubicBezTo>
                    <a:pt x="9851" y="7855"/>
                    <a:pt x="9931" y="9818"/>
                    <a:pt x="9931" y="13745"/>
                  </a:cubicBezTo>
                  <a:cubicBezTo>
                    <a:pt x="9931" y="17673"/>
                    <a:pt x="9851" y="19636"/>
                    <a:pt x="9711" y="19636"/>
                  </a:cubicBezTo>
                  <a:moveTo>
                    <a:pt x="9711" y="5891"/>
                  </a:moveTo>
                  <a:cubicBezTo>
                    <a:pt x="9511" y="5891"/>
                    <a:pt x="9411" y="9425"/>
                    <a:pt x="9411" y="13745"/>
                  </a:cubicBezTo>
                  <a:cubicBezTo>
                    <a:pt x="9411" y="18065"/>
                    <a:pt x="9511" y="21600"/>
                    <a:pt x="9711" y="21600"/>
                  </a:cubicBezTo>
                  <a:cubicBezTo>
                    <a:pt x="9931" y="21600"/>
                    <a:pt x="10031" y="18065"/>
                    <a:pt x="10031" y="13745"/>
                  </a:cubicBezTo>
                  <a:cubicBezTo>
                    <a:pt x="10031" y="9425"/>
                    <a:pt x="9931" y="5891"/>
                    <a:pt x="9711" y="5891"/>
                  </a:cubicBezTo>
                  <a:moveTo>
                    <a:pt x="9092" y="21207"/>
                  </a:moveTo>
                  <a:cubicBezTo>
                    <a:pt x="9191" y="21207"/>
                    <a:pt x="9191" y="21207"/>
                    <a:pt x="9191" y="21207"/>
                  </a:cubicBezTo>
                  <a:cubicBezTo>
                    <a:pt x="9191" y="6284"/>
                    <a:pt x="9191" y="6284"/>
                    <a:pt x="9191" y="6284"/>
                  </a:cubicBezTo>
                  <a:cubicBezTo>
                    <a:pt x="9092" y="6284"/>
                    <a:pt x="9092" y="6284"/>
                    <a:pt x="9092" y="6284"/>
                  </a:cubicBezTo>
                  <a:lnTo>
                    <a:pt x="9092" y="21207"/>
                  </a:lnTo>
                  <a:close/>
                  <a:moveTo>
                    <a:pt x="9092" y="2749"/>
                  </a:moveTo>
                  <a:cubicBezTo>
                    <a:pt x="9191" y="2749"/>
                    <a:pt x="9191" y="2749"/>
                    <a:pt x="9191" y="2749"/>
                  </a:cubicBezTo>
                  <a:cubicBezTo>
                    <a:pt x="9191" y="0"/>
                    <a:pt x="9191" y="0"/>
                    <a:pt x="9191" y="0"/>
                  </a:cubicBezTo>
                  <a:cubicBezTo>
                    <a:pt x="9092" y="0"/>
                    <a:pt x="9092" y="0"/>
                    <a:pt x="9092" y="0"/>
                  </a:cubicBezTo>
                  <a:lnTo>
                    <a:pt x="9092" y="2749"/>
                  </a:lnTo>
                  <a:close/>
                  <a:moveTo>
                    <a:pt x="8692" y="18851"/>
                  </a:moveTo>
                  <a:cubicBezTo>
                    <a:pt x="8692" y="7855"/>
                    <a:pt x="8692" y="7855"/>
                    <a:pt x="8692" y="7855"/>
                  </a:cubicBezTo>
                  <a:cubicBezTo>
                    <a:pt x="8872" y="7855"/>
                    <a:pt x="8872" y="7855"/>
                    <a:pt x="8872" y="7855"/>
                  </a:cubicBezTo>
                  <a:cubicBezTo>
                    <a:pt x="8872" y="6284"/>
                    <a:pt x="8872" y="6284"/>
                    <a:pt x="8872" y="6284"/>
                  </a:cubicBezTo>
                  <a:cubicBezTo>
                    <a:pt x="8692" y="6284"/>
                    <a:pt x="8692" y="6284"/>
                    <a:pt x="8692" y="6284"/>
                  </a:cubicBezTo>
                  <a:cubicBezTo>
                    <a:pt x="8692" y="1178"/>
                    <a:pt x="8692" y="1178"/>
                    <a:pt x="8692" y="1178"/>
                  </a:cubicBezTo>
                  <a:cubicBezTo>
                    <a:pt x="8592" y="1178"/>
                    <a:pt x="8592" y="1178"/>
                    <a:pt x="8592" y="1178"/>
                  </a:cubicBezTo>
                  <a:cubicBezTo>
                    <a:pt x="8592" y="6284"/>
                    <a:pt x="8592" y="6284"/>
                    <a:pt x="8592" y="6284"/>
                  </a:cubicBezTo>
                  <a:cubicBezTo>
                    <a:pt x="8452" y="6284"/>
                    <a:pt x="8452" y="6284"/>
                    <a:pt x="8452" y="6284"/>
                  </a:cubicBezTo>
                  <a:cubicBezTo>
                    <a:pt x="8452" y="7855"/>
                    <a:pt x="8452" y="7855"/>
                    <a:pt x="8452" y="7855"/>
                  </a:cubicBezTo>
                  <a:cubicBezTo>
                    <a:pt x="8592" y="7855"/>
                    <a:pt x="8592" y="7855"/>
                    <a:pt x="8592" y="7855"/>
                  </a:cubicBezTo>
                  <a:cubicBezTo>
                    <a:pt x="8592" y="19244"/>
                    <a:pt x="8592" y="19244"/>
                    <a:pt x="8592" y="19244"/>
                  </a:cubicBezTo>
                  <a:cubicBezTo>
                    <a:pt x="8592" y="21207"/>
                    <a:pt x="8632" y="21600"/>
                    <a:pt x="8752" y="21600"/>
                  </a:cubicBezTo>
                  <a:cubicBezTo>
                    <a:pt x="8812" y="21600"/>
                    <a:pt x="8852" y="21600"/>
                    <a:pt x="8872" y="21207"/>
                  </a:cubicBezTo>
                  <a:cubicBezTo>
                    <a:pt x="8872" y="19636"/>
                    <a:pt x="8872" y="19636"/>
                    <a:pt x="8872" y="19636"/>
                  </a:cubicBezTo>
                  <a:cubicBezTo>
                    <a:pt x="8852" y="19636"/>
                    <a:pt x="8812" y="19636"/>
                    <a:pt x="8772" y="19636"/>
                  </a:cubicBezTo>
                  <a:cubicBezTo>
                    <a:pt x="8712" y="19636"/>
                    <a:pt x="8692" y="19636"/>
                    <a:pt x="8692" y="18851"/>
                  </a:cubicBezTo>
                  <a:moveTo>
                    <a:pt x="8232" y="17280"/>
                  </a:moveTo>
                  <a:cubicBezTo>
                    <a:pt x="8152" y="18851"/>
                    <a:pt x="8073" y="19636"/>
                    <a:pt x="7993" y="19636"/>
                  </a:cubicBezTo>
                  <a:cubicBezTo>
                    <a:pt x="7933" y="19636"/>
                    <a:pt x="7853" y="18851"/>
                    <a:pt x="7853" y="17673"/>
                  </a:cubicBezTo>
                  <a:cubicBezTo>
                    <a:pt x="7853" y="15316"/>
                    <a:pt x="7973" y="14138"/>
                    <a:pt x="8232" y="13353"/>
                  </a:cubicBezTo>
                  <a:lnTo>
                    <a:pt x="8232" y="17280"/>
                  </a:lnTo>
                  <a:close/>
                  <a:moveTo>
                    <a:pt x="8332" y="10604"/>
                  </a:moveTo>
                  <a:cubicBezTo>
                    <a:pt x="8332" y="7069"/>
                    <a:pt x="8192" y="5891"/>
                    <a:pt x="8073" y="5891"/>
                  </a:cubicBezTo>
                  <a:cubicBezTo>
                    <a:pt x="7913" y="5891"/>
                    <a:pt x="7833" y="7462"/>
                    <a:pt x="7773" y="9033"/>
                  </a:cubicBezTo>
                  <a:cubicBezTo>
                    <a:pt x="7873" y="10211"/>
                    <a:pt x="7873" y="10211"/>
                    <a:pt x="7873" y="10211"/>
                  </a:cubicBezTo>
                  <a:cubicBezTo>
                    <a:pt x="7893" y="9033"/>
                    <a:pt x="7953" y="7855"/>
                    <a:pt x="8073" y="7855"/>
                  </a:cubicBezTo>
                  <a:cubicBezTo>
                    <a:pt x="8152" y="7855"/>
                    <a:pt x="8232" y="8640"/>
                    <a:pt x="8232" y="10604"/>
                  </a:cubicBezTo>
                  <a:cubicBezTo>
                    <a:pt x="8232" y="11389"/>
                    <a:pt x="8232" y="11389"/>
                    <a:pt x="8232" y="11389"/>
                  </a:cubicBezTo>
                  <a:cubicBezTo>
                    <a:pt x="7893" y="12567"/>
                    <a:pt x="7753" y="14138"/>
                    <a:pt x="7753" y="17280"/>
                  </a:cubicBezTo>
                  <a:cubicBezTo>
                    <a:pt x="7753" y="20029"/>
                    <a:pt x="7853" y="21600"/>
                    <a:pt x="7973" y="21600"/>
                  </a:cubicBezTo>
                  <a:cubicBezTo>
                    <a:pt x="8093" y="21600"/>
                    <a:pt x="8172" y="20422"/>
                    <a:pt x="8232" y="19244"/>
                  </a:cubicBezTo>
                  <a:cubicBezTo>
                    <a:pt x="8232" y="21207"/>
                    <a:pt x="8232" y="21207"/>
                    <a:pt x="8232" y="21207"/>
                  </a:cubicBezTo>
                  <a:cubicBezTo>
                    <a:pt x="8352" y="21207"/>
                    <a:pt x="8352" y="21207"/>
                    <a:pt x="8352" y="21207"/>
                  </a:cubicBezTo>
                  <a:cubicBezTo>
                    <a:pt x="8332" y="20422"/>
                    <a:pt x="8332" y="19636"/>
                    <a:pt x="8332" y="18065"/>
                  </a:cubicBezTo>
                  <a:lnTo>
                    <a:pt x="8332" y="10604"/>
                  </a:lnTo>
                  <a:close/>
                  <a:moveTo>
                    <a:pt x="7353" y="18851"/>
                  </a:moveTo>
                  <a:cubicBezTo>
                    <a:pt x="7353" y="18851"/>
                    <a:pt x="7353" y="18851"/>
                    <a:pt x="7353" y="18851"/>
                  </a:cubicBezTo>
                  <a:cubicBezTo>
                    <a:pt x="7173" y="6284"/>
                    <a:pt x="7173" y="6284"/>
                    <a:pt x="7173" y="6284"/>
                  </a:cubicBezTo>
                  <a:cubicBezTo>
                    <a:pt x="7053" y="6284"/>
                    <a:pt x="7053" y="6284"/>
                    <a:pt x="7053" y="6284"/>
                  </a:cubicBezTo>
                  <a:cubicBezTo>
                    <a:pt x="7293" y="21207"/>
                    <a:pt x="7293" y="21207"/>
                    <a:pt x="7293" y="21207"/>
                  </a:cubicBezTo>
                  <a:cubicBezTo>
                    <a:pt x="7433" y="21207"/>
                    <a:pt x="7433" y="21207"/>
                    <a:pt x="7433" y="21207"/>
                  </a:cubicBezTo>
                  <a:cubicBezTo>
                    <a:pt x="7673" y="6284"/>
                    <a:pt x="7673" y="6284"/>
                    <a:pt x="7673" y="6284"/>
                  </a:cubicBezTo>
                  <a:cubicBezTo>
                    <a:pt x="7553" y="6284"/>
                    <a:pt x="7553" y="6284"/>
                    <a:pt x="7553" y="6284"/>
                  </a:cubicBezTo>
                  <a:lnTo>
                    <a:pt x="7353" y="18851"/>
                  </a:lnTo>
                  <a:close/>
                  <a:moveTo>
                    <a:pt x="6654" y="19636"/>
                  </a:moveTo>
                  <a:cubicBezTo>
                    <a:pt x="6534" y="19636"/>
                    <a:pt x="6454" y="17673"/>
                    <a:pt x="6454" y="13745"/>
                  </a:cubicBezTo>
                  <a:cubicBezTo>
                    <a:pt x="6454" y="9818"/>
                    <a:pt x="6534" y="7855"/>
                    <a:pt x="6654" y="7855"/>
                  </a:cubicBezTo>
                  <a:cubicBezTo>
                    <a:pt x="6794" y="7855"/>
                    <a:pt x="6874" y="9818"/>
                    <a:pt x="6874" y="13745"/>
                  </a:cubicBezTo>
                  <a:cubicBezTo>
                    <a:pt x="6874" y="17673"/>
                    <a:pt x="6794" y="19636"/>
                    <a:pt x="6654" y="19636"/>
                  </a:cubicBezTo>
                  <a:moveTo>
                    <a:pt x="6654" y="5891"/>
                  </a:moveTo>
                  <a:cubicBezTo>
                    <a:pt x="6454" y="5891"/>
                    <a:pt x="6354" y="9425"/>
                    <a:pt x="6354" y="13745"/>
                  </a:cubicBezTo>
                  <a:cubicBezTo>
                    <a:pt x="6354" y="18065"/>
                    <a:pt x="6454" y="21600"/>
                    <a:pt x="6654" y="21600"/>
                  </a:cubicBezTo>
                  <a:cubicBezTo>
                    <a:pt x="6874" y="21600"/>
                    <a:pt x="6974" y="18065"/>
                    <a:pt x="6974" y="13745"/>
                  </a:cubicBezTo>
                  <a:cubicBezTo>
                    <a:pt x="6974" y="9425"/>
                    <a:pt x="6874" y="5891"/>
                    <a:pt x="6654" y="5891"/>
                  </a:cubicBezTo>
                  <a:moveTo>
                    <a:pt x="5935" y="5891"/>
                  </a:moveTo>
                  <a:cubicBezTo>
                    <a:pt x="5855" y="5891"/>
                    <a:pt x="5775" y="7069"/>
                    <a:pt x="5715" y="8247"/>
                  </a:cubicBezTo>
                  <a:cubicBezTo>
                    <a:pt x="5695" y="8247"/>
                    <a:pt x="5695" y="8247"/>
                    <a:pt x="5695" y="8247"/>
                  </a:cubicBezTo>
                  <a:cubicBezTo>
                    <a:pt x="5695" y="6284"/>
                    <a:pt x="5695" y="6284"/>
                    <a:pt x="5695" y="6284"/>
                  </a:cubicBezTo>
                  <a:cubicBezTo>
                    <a:pt x="5595" y="6284"/>
                    <a:pt x="5595" y="6284"/>
                    <a:pt x="5595" y="6284"/>
                  </a:cubicBezTo>
                  <a:cubicBezTo>
                    <a:pt x="5595" y="21207"/>
                    <a:pt x="5595" y="21207"/>
                    <a:pt x="5595" y="21207"/>
                  </a:cubicBezTo>
                  <a:cubicBezTo>
                    <a:pt x="5695" y="21207"/>
                    <a:pt x="5695" y="21207"/>
                    <a:pt x="5695" y="21207"/>
                  </a:cubicBezTo>
                  <a:cubicBezTo>
                    <a:pt x="5695" y="10211"/>
                    <a:pt x="5695" y="10211"/>
                    <a:pt x="5695" y="10211"/>
                  </a:cubicBezTo>
                  <a:cubicBezTo>
                    <a:pt x="5755" y="9033"/>
                    <a:pt x="5835" y="7855"/>
                    <a:pt x="5915" y="7855"/>
                  </a:cubicBezTo>
                  <a:cubicBezTo>
                    <a:pt x="5994" y="7855"/>
                    <a:pt x="6054" y="8247"/>
                    <a:pt x="6054" y="10211"/>
                  </a:cubicBezTo>
                  <a:cubicBezTo>
                    <a:pt x="6054" y="21207"/>
                    <a:pt x="6054" y="21207"/>
                    <a:pt x="6054" y="21207"/>
                  </a:cubicBezTo>
                  <a:cubicBezTo>
                    <a:pt x="6154" y="21207"/>
                    <a:pt x="6154" y="21207"/>
                    <a:pt x="6154" y="21207"/>
                  </a:cubicBezTo>
                  <a:cubicBezTo>
                    <a:pt x="6154" y="10211"/>
                    <a:pt x="6154" y="10211"/>
                    <a:pt x="6154" y="10211"/>
                  </a:cubicBezTo>
                  <a:cubicBezTo>
                    <a:pt x="6154" y="7069"/>
                    <a:pt x="6054" y="5891"/>
                    <a:pt x="5935" y="5891"/>
                  </a:cubicBezTo>
                  <a:moveTo>
                    <a:pt x="5115" y="5891"/>
                  </a:moveTo>
                  <a:cubicBezTo>
                    <a:pt x="5015" y="5891"/>
                    <a:pt x="4935" y="7069"/>
                    <a:pt x="4875" y="8247"/>
                  </a:cubicBezTo>
                  <a:cubicBezTo>
                    <a:pt x="4875" y="8247"/>
                    <a:pt x="4875" y="8247"/>
                    <a:pt x="4875" y="8247"/>
                  </a:cubicBezTo>
                  <a:cubicBezTo>
                    <a:pt x="4875" y="6284"/>
                    <a:pt x="4875" y="6284"/>
                    <a:pt x="4875" y="6284"/>
                  </a:cubicBezTo>
                  <a:cubicBezTo>
                    <a:pt x="4776" y="6284"/>
                    <a:pt x="4776" y="6284"/>
                    <a:pt x="4776" y="6284"/>
                  </a:cubicBezTo>
                  <a:cubicBezTo>
                    <a:pt x="4776" y="21207"/>
                    <a:pt x="4776" y="21207"/>
                    <a:pt x="4776" y="21207"/>
                  </a:cubicBezTo>
                  <a:cubicBezTo>
                    <a:pt x="4875" y="21207"/>
                    <a:pt x="4875" y="21207"/>
                    <a:pt x="4875" y="21207"/>
                  </a:cubicBezTo>
                  <a:cubicBezTo>
                    <a:pt x="4875" y="10211"/>
                    <a:pt x="4875" y="10211"/>
                    <a:pt x="4875" y="10211"/>
                  </a:cubicBezTo>
                  <a:cubicBezTo>
                    <a:pt x="4915" y="9033"/>
                    <a:pt x="5015" y="7855"/>
                    <a:pt x="5095" y="7855"/>
                  </a:cubicBezTo>
                  <a:cubicBezTo>
                    <a:pt x="5175" y="7855"/>
                    <a:pt x="5215" y="8247"/>
                    <a:pt x="5215" y="10211"/>
                  </a:cubicBezTo>
                  <a:cubicBezTo>
                    <a:pt x="5215" y="21207"/>
                    <a:pt x="5215" y="21207"/>
                    <a:pt x="5215" y="21207"/>
                  </a:cubicBezTo>
                  <a:cubicBezTo>
                    <a:pt x="5335" y="21207"/>
                    <a:pt x="5335" y="21207"/>
                    <a:pt x="5335" y="21207"/>
                  </a:cubicBezTo>
                  <a:cubicBezTo>
                    <a:pt x="5335" y="10211"/>
                    <a:pt x="5335" y="10211"/>
                    <a:pt x="5335" y="10211"/>
                  </a:cubicBezTo>
                  <a:cubicBezTo>
                    <a:pt x="5335" y="7069"/>
                    <a:pt x="5215" y="5891"/>
                    <a:pt x="5115" y="5891"/>
                  </a:cubicBezTo>
                  <a:moveTo>
                    <a:pt x="4376" y="2749"/>
                  </a:moveTo>
                  <a:cubicBezTo>
                    <a:pt x="4476" y="2749"/>
                    <a:pt x="4476" y="2749"/>
                    <a:pt x="4476" y="2749"/>
                  </a:cubicBezTo>
                  <a:cubicBezTo>
                    <a:pt x="4476" y="0"/>
                    <a:pt x="4476" y="0"/>
                    <a:pt x="4476" y="0"/>
                  </a:cubicBezTo>
                  <a:cubicBezTo>
                    <a:pt x="4376" y="0"/>
                    <a:pt x="4376" y="0"/>
                    <a:pt x="4376" y="0"/>
                  </a:cubicBezTo>
                  <a:lnTo>
                    <a:pt x="4376" y="2749"/>
                  </a:lnTo>
                  <a:close/>
                  <a:moveTo>
                    <a:pt x="4376" y="21207"/>
                  </a:moveTo>
                  <a:cubicBezTo>
                    <a:pt x="4476" y="21207"/>
                    <a:pt x="4476" y="21207"/>
                    <a:pt x="4476" y="21207"/>
                  </a:cubicBezTo>
                  <a:cubicBezTo>
                    <a:pt x="4476" y="6284"/>
                    <a:pt x="4476" y="6284"/>
                    <a:pt x="4476" y="6284"/>
                  </a:cubicBezTo>
                  <a:cubicBezTo>
                    <a:pt x="4376" y="6284"/>
                    <a:pt x="4376" y="6284"/>
                    <a:pt x="4376" y="6284"/>
                  </a:cubicBezTo>
                  <a:lnTo>
                    <a:pt x="4376" y="21207"/>
                  </a:lnTo>
                  <a:close/>
                  <a:moveTo>
                    <a:pt x="3397" y="7855"/>
                  </a:moveTo>
                  <a:cubicBezTo>
                    <a:pt x="3517" y="7855"/>
                    <a:pt x="3577" y="9425"/>
                    <a:pt x="3577" y="12567"/>
                  </a:cubicBezTo>
                  <a:cubicBezTo>
                    <a:pt x="3197" y="12567"/>
                    <a:pt x="3197" y="12567"/>
                    <a:pt x="3197" y="12567"/>
                  </a:cubicBezTo>
                  <a:cubicBezTo>
                    <a:pt x="3197" y="9425"/>
                    <a:pt x="3277" y="7855"/>
                    <a:pt x="3397" y="7855"/>
                  </a:cubicBezTo>
                  <a:moveTo>
                    <a:pt x="3417" y="19636"/>
                  </a:moveTo>
                  <a:cubicBezTo>
                    <a:pt x="3297" y="19636"/>
                    <a:pt x="3197" y="17673"/>
                    <a:pt x="3197" y="14138"/>
                  </a:cubicBezTo>
                  <a:cubicBezTo>
                    <a:pt x="3697" y="14138"/>
                    <a:pt x="3697" y="14138"/>
                    <a:pt x="3697" y="14138"/>
                  </a:cubicBezTo>
                  <a:cubicBezTo>
                    <a:pt x="3697" y="12960"/>
                    <a:pt x="3697" y="12960"/>
                    <a:pt x="3697" y="12960"/>
                  </a:cubicBezTo>
                  <a:cubicBezTo>
                    <a:pt x="3697" y="7855"/>
                    <a:pt x="3557" y="5891"/>
                    <a:pt x="3397" y="5891"/>
                  </a:cubicBezTo>
                  <a:cubicBezTo>
                    <a:pt x="3217" y="5891"/>
                    <a:pt x="3077" y="9033"/>
                    <a:pt x="3077" y="13745"/>
                  </a:cubicBezTo>
                  <a:cubicBezTo>
                    <a:pt x="3077" y="19244"/>
                    <a:pt x="3257" y="21600"/>
                    <a:pt x="3417" y="21600"/>
                  </a:cubicBezTo>
                  <a:cubicBezTo>
                    <a:pt x="3597" y="21600"/>
                    <a:pt x="3657" y="19636"/>
                    <a:pt x="3717" y="18065"/>
                  </a:cubicBezTo>
                  <a:cubicBezTo>
                    <a:pt x="3637" y="17280"/>
                    <a:pt x="3637" y="17280"/>
                    <a:pt x="3637" y="17280"/>
                  </a:cubicBezTo>
                  <a:cubicBezTo>
                    <a:pt x="3597" y="18851"/>
                    <a:pt x="3517" y="19636"/>
                    <a:pt x="3417" y="19636"/>
                  </a:cubicBezTo>
                  <a:moveTo>
                    <a:pt x="2737" y="9033"/>
                  </a:moveTo>
                  <a:cubicBezTo>
                    <a:pt x="2737" y="9033"/>
                    <a:pt x="2737" y="9033"/>
                    <a:pt x="2737" y="9033"/>
                  </a:cubicBezTo>
                  <a:cubicBezTo>
                    <a:pt x="2737" y="6284"/>
                    <a:pt x="2737" y="6284"/>
                    <a:pt x="2737" y="6284"/>
                  </a:cubicBezTo>
                  <a:cubicBezTo>
                    <a:pt x="2638" y="6284"/>
                    <a:pt x="2638" y="6284"/>
                    <a:pt x="2638" y="6284"/>
                  </a:cubicBezTo>
                  <a:cubicBezTo>
                    <a:pt x="2638" y="21207"/>
                    <a:pt x="2638" y="21207"/>
                    <a:pt x="2638" y="21207"/>
                  </a:cubicBezTo>
                  <a:cubicBezTo>
                    <a:pt x="2737" y="21207"/>
                    <a:pt x="2737" y="21207"/>
                    <a:pt x="2737" y="21207"/>
                  </a:cubicBezTo>
                  <a:cubicBezTo>
                    <a:pt x="2737" y="12960"/>
                    <a:pt x="2737" y="12960"/>
                    <a:pt x="2737" y="12960"/>
                  </a:cubicBezTo>
                  <a:cubicBezTo>
                    <a:pt x="2797" y="9818"/>
                    <a:pt x="2857" y="8247"/>
                    <a:pt x="2997" y="8247"/>
                  </a:cubicBezTo>
                  <a:cubicBezTo>
                    <a:pt x="2997" y="5891"/>
                    <a:pt x="2997" y="5891"/>
                    <a:pt x="2997" y="5891"/>
                  </a:cubicBezTo>
                  <a:cubicBezTo>
                    <a:pt x="2857" y="5891"/>
                    <a:pt x="2797" y="7069"/>
                    <a:pt x="2737" y="9033"/>
                  </a:cubicBezTo>
                  <a:moveTo>
                    <a:pt x="2158" y="7855"/>
                  </a:moveTo>
                  <a:cubicBezTo>
                    <a:pt x="2278" y="7855"/>
                    <a:pt x="2338" y="9425"/>
                    <a:pt x="2338" y="12567"/>
                  </a:cubicBezTo>
                  <a:cubicBezTo>
                    <a:pt x="1958" y="12567"/>
                    <a:pt x="1958" y="12567"/>
                    <a:pt x="1958" y="12567"/>
                  </a:cubicBezTo>
                  <a:cubicBezTo>
                    <a:pt x="1958" y="9425"/>
                    <a:pt x="2038" y="7855"/>
                    <a:pt x="2158" y="7855"/>
                  </a:cubicBezTo>
                  <a:moveTo>
                    <a:pt x="2178" y="19636"/>
                  </a:moveTo>
                  <a:cubicBezTo>
                    <a:pt x="2058" y="19636"/>
                    <a:pt x="1958" y="17673"/>
                    <a:pt x="1958" y="14138"/>
                  </a:cubicBezTo>
                  <a:cubicBezTo>
                    <a:pt x="2458" y="14138"/>
                    <a:pt x="2458" y="14138"/>
                    <a:pt x="2458" y="14138"/>
                  </a:cubicBezTo>
                  <a:cubicBezTo>
                    <a:pt x="2458" y="12960"/>
                    <a:pt x="2458" y="12960"/>
                    <a:pt x="2458" y="12960"/>
                  </a:cubicBezTo>
                  <a:cubicBezTo>
                    <a:pt x="2458" y="7855"/>
                    <a:pt x="2318" y="5891"/>
                    <a:pt x="2158" y="5891"/>
                  </a:cubicBezTo>
                  <a:cubicBezTo>
                    <a:pt x="1978" y="5891"/>
                    <a:pt x="1838" y="9033"/>
                    <a:pt x="1838" y="13745"/>
                  </a:cubicBezTo>
                  <a:cubicBezTo>
                    <a:pt x="1838" y="19244"/>
                    <a:pt x="2018" y="21600"/>
                    <a:pt x="2178" y="21600"/>
                  </a:cubicBezTo>
                  <a:cubicBezTo>
                    <a:pt x="2358" y="21600"/>
                    <a:pt x="2418" y="19636"/>
                    <a:pt x="2478" y="18065"/>
                  </a:cubicBezTo>
                  <a:cubicBezTo>
                    <a:pt x="2398" y="17280"/>
                    <a:pt x="2398" y="17280"/>
                    <a:pt x="2398" y="17280"/>
                  </a:cubicBezTo>
                  <a:cubicBezTo>
                    <a:pt x="2358" y="18851"/>
                    <a:pt x="2278" y="19636"/>
                    <a:pt x="2178" y="19636"/>
                  </a:cubicBezTo>
                  <a:moveTo>
                    <a:pt x="1439" y="5891"/>
                  </a:moveTo>
                  <a:cubicBezTo>
                    <a:pt x="1339" y="5891"/>
                    <a:pt x="1259" y="7069"/>
                    <a:pt x="1199" y="8247"/>
                  </a:cubicBezTo>
                  <a:cubicBezTo>
                    <a:pt x="1199" y="8247"/>
                    <a:pt x="1199" y="8247"/>
                    <a:pt x="1199" y="8247"/>
                  </a:cubicBezTo>
                  <a:cubicBezTo>
                    <a:pt x="1199" y="393"/>
                    <a:pt x="1199" y="393"/>
                    <a:pt x="1199" y="393"/>
                  </a:cubicBezTo>
                  <a:cubicBezTo>
                    <a:pt x="1099" y="393"/>
                    <a:pt x="1099" y="393"/>
                    <a:pt x="1099" y="393"/>
                  </a:cubicBezTo>
                  <a:cubicBezTo>
                    <a:pt x="1099" y="21207"/>
                    <a:pt x="1099" y="21207"/>
                    <a:pt x="1099" y="21207"/>
                  </a:cubicBezTo>
                  <a:cubicBezTo>
                    <a:pt x="1199" y="21207"/>
                    <a:pt x="1199" y="21207"/>
                    <a:pt x="1199" y="21207"/>
                  </a:cubicBezTo>
                  <a:cubicBezTo>
                    <a:pt x="1199" y="10211"/>
                    <a:pt x="1199" y="10211"/>
                    <a:pt x="1199" y="10211"/>
                  </a:cubicBezTo>
                  <a:cubicBezTo>
                    <a:pt x="1239" y="9033"/>
                    <a:pt x="1339" y="7855"/>
                    <a:pt x="1419" y="7855"/>
                  </a:cubicBezTo>
                  <a:cubicBezTo>
                    <a:pt x="1499" y="7855"/>
                    <a:pt x="1539" y="8247"/>
                    <a:pt x="1539" y="10211"/>
                  </a:cubicBezTo>
                  <a:cubicBezTo>
                    <a:pt x="1539" y="21207"/>
                    <a:pt x="1539" y="21207"/>
                    <a:pt x="1539" y="21207"/>
                  </a:cubicBezTo>
                  <a:cubicBezTo>
                    <a:pt x="1658" y="21207"/>
                    <a:pt x="1658" y="21207"/>
                    <a:pt x="1658" y="21207"/>
                  </a:cubicBezTo>
                  <a:cubicBezTo>
                    <a:pt x="1658" y="10211"/>
                    <a:pt x="1658" y="10211"/>
                    <a:pt x="1658" y="10211"/>
                  </a:cubicBezTo>
                  <a:cubicBezTo>
                    <a:pt x="1658" y="7069"/>
                    <a:pt x="1539" y="5891"/>
                    <a:pt x="1439" y="5891"/>
                  </a:cubicBezTo>
                  <a:moveTo>
                    <a:pt x="679" y="18065"/>
                  </a:moveTo>
                  <a:cubicBezTo>
                    <a:pt x="679" y="18065"/>
                    <a:pt x="679" y="18065"/>
                    <a:pt x="679" y="18065"/>
                  </a:cubicBezTo>
                  <a:cubicBezTo>
                    <a:pt x="520" y="6284"/>
                    <a:pt x="520" y="6284"/>
                    <a:pt x="520" y="6284"/>
                  </a:cubicBezTo>
                  <a:cubicBezTo>
                    <a:pt x="420" y="6284"/>
                    <a:pt x="420" y="6284"/>
                    <a:pt x="420" y="6284"/>
                  </a:cubicBezTo>
                  <a:cubicBezTo>
                    <a:pt x="260" y="17673"/>
                    <a:pt x="260" y="17673"/>
                    <a:pt x="260" y="17673"/>
                  </a:cubicBezTo>
                  <a:cubicBezTo>
                    <a:pt x="260" y="17673"/>
                    <a:pt x="260" y="17673"/>
                    <a:pt x="260" y="17673"/>
                  </a:cubicBezTo>
                  <a:cubicBezTo>
                    <a:pt x="100" y="6284"/>
                    <a:pt x="100" y="6284"/>
                    <a:pt x="100" y="6284"/>
                  </a:cubicBezTo>
                  <a:cubicBezTo>
                    <a:pt x="0" y="6284"/>
                    <a:pt x="0" y="6284"/>
                    <a:pt x="0" y="6284"/>
                  </a:cubicBezTo>
                  <a:cubicBezTo>
                    <a:pt x="200" y="21207"/>
                    <a:pt x="200" y="21207"/>
                    <a:pt x="200" y="21207"/>
                  </a:cubicBezTo>
                  <a:cubicBezTo>
                    <a:pt x="320" y="21207"/>
                    <a:pt x="320" y="21207"/>
                    <a:pt x="320" y="21207"/>
                  </a:cubicBezTo>
                  <a:cubicBezTo>
                    <a:pt x="460" y="9818"/>
                    <a:pt x="460" y="9818"/>
                    <a:pt x="460" y="9818"/>
                  </a:cubicBezTo>
                  <a:cubicBezTo>
                    <a:pt x="460" y="9818"/>
                    <a:pt x="460" y="9818"/>
                    <a:pt x="460" y="9818"/>
                  </a:cubicBezTo>
                  <a:cubicBezTo>
                    <a:pt x="619" y="21207"/>
                    <a:pt x="619" y="21207"/>
                    <a:pt x="619" y="21207"/>
                  </a:cubicBezTo>
                  <a:cubicBezTo>
                    <a:pt x="719" y="21207"/>
                    <a:pt x="719" y="21207"/>
                    <a:pt x="719" y="21207"/>
                  </a:cubicBezTo>
                  <a:cubicBezTo>
                    <a:pt x="939" y="6284"/>
                    <a:pt x="939" y="6284"/>
                    <a:pt x="939" y="6284"/>
                  </a:cubicBezTo>
                  <a:cubicBezTo>
                    <a:pt x="819" y="6284"/>
                    <a:pt x="819" y="6284"/>
                    <a:pt x="819" y="6284"/>
                  </a:cubicBezTo>
                  <a:lnTo>
                    <a:pt x="679" y="18065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  <p:sp>
          <p:nvSpPr>
            <p:cNvPr id="255" name="Freeform 7"/>
            <p:cNvSpPr/>
            <p:nvPr/>
          </p:nvSpPr>
          <p:spPr>
            <a:xfrm>
              <a:off x="-1" y="82549"/>
              <a:ext cx="363539" cy="3032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095" y="5445"/>
                  </a:moveTo>
                  <a:cubicBezTo>
                    <a:pt x="20020" y="5445"/>
                    <a:pt x="20020" y="5445"/>
                    <a:pt x="20020" y="5445"/>
                  </a:cubicBezTo>
                  <a:cubicBezTo>
                    <a:pt x="19192" y="5445"/>
                    <a:pt x="18514" y="6353"/>
                    <a:pt x="18514" y="7351"/>
                  </a:cubicBezTo>
                  <a:cubicBezTo>
                    <a:pt x="18514" y="13160"/>
                    <a:pt x="14601" y="17879"/>
                    <a:pt x="9784" y="17879"/>
                  </a:cubicBezTo>
                  <a:cubicBezTo>
                    <a:pt x="6096" y="17879"/>
                    <a:pt x="3086" y="14249"/>
                    <a:pt x="3086" y="9802"/>
                  </a:cubicBezTo>
                  <a:cubicBezTo>
                    <a:pt x="3086" y="6444"/>
                    <a:pt x="5344" y="3721"/>
                    <a:pt x="8128" y="3721"/>
                  </a:cubicBezTo>
                  <a:cubicBezTo>
                    <a:pt x="10236" y="3721"/>
                    <a:pt x="11891" y="5718"/>
                    <a:pt x="11891" y="8168"/>
                  </a:cubicBezTo>
                  <a:cubicBezTo>
                    <a:pt x="11891" y="8440"/>
                    <a:pt x="11816" y="8531"/>
                    <a:pt x="11816" y="8622"/>
                  </a:cubicBezTo>
                  <a:cubicBezTo>
                    <a:pt x="11666" y="8713"/>
                    <a:pt x="11214" y="8713"/>
                    <a:pt x="10762" y="8713"/>
                  </a:cubicBezTo>
                  <a:cubicBezTo>
                    <a:pt x="10537" y="8713"/>
                    <a:pt x="10311" y="8713"/>
                    <a:pt x="10085" y="8713"/>
                  </a:cubicBezTo>
                  <a:cubicBezTo>
                    <a:pt x="9784" y="8713"/>
                    <a:pt x="9483" y="8713"/>
                    <a:pt x="9182" y="8713"/>
                  </a:cubicBezTo>
                  <a:cubicBezTo>
                    <a:pt x="8354" y="8713"/>
                    <a:pt x="7677" y="9529"/>
                    <a:pt x="7677" y="10528"/>
                  </a:cubicBezTo>
                  <a:cubicBezTo>
                    <a:pt x="7677" y="10528"/>
                    <a:pt x="7677" y="10528"/>
                    <a:pt x="7677" y="10528"/>
                  </a:cubicBezTo>
                  <a:cubicBezTo>
                    <a:pt x="7677" y="11526"/>
                    <a:pt x="8354" y="12434"/>
                    <a:pt x="9182" y="12434"/>
                  </a:cubicBezTo>
                  <a:cubicBezTo>
                    <a:pt x="9483" y="12434"/>
                    <a:pt x="9784" y="12434"/>
                    <a:pt x="10010" y="12434"/>
                  </a:cubicBezTo>
                  <a:cubicBezTo>
                    <a:pt x="10311" y="12434"/>
                    <a:pt x="10537" y="12434"/>
                    <a:pt x="10838" y="12434"/>
                  </a:cubicBezTo>
                  <a:cubicBezTo>
                    <a:pt x="12042" y="12434"/>
                    <a:pt x="13171" y="12252"/>
                    <a:pt x="13999" y="11254"/>
                  </a:cubicBezTo>
                  <a:cubicBezTo>
                    <a:pt x="14601" y="10528"/>
                    <a:pt x="14977" y="9529"/>
                    <a:pt x="14977" y="8168"/>
                  </a:cubicBezTo>
                  <a:cubicBezTo>
                    <a:pt x="14977" y="3721"/>
                    <a:pt x="11891" y="0"/>
                    <a:pt x="8128" y="0"/>
                  </a:cubicBezTo>
                  <a:cubicBezTo>
                    <a:pt x="3688" y="0"/>
                    <a:pt x="0" y="4447"/>
                    <a:pt x="0" y="9802"/>
                  </a:cubicBezTo>
                  <a:cubicBezTo>
                    <a:pt x="0" y="16245"/>
                    <a:pt x="4440" y="21600"/>
                    <a:pt x="9784" y="21600"/>
                  </a:cubicBezTo>
                  <a:cubicBezTo>
                    <a:pt x="16256" y="21600"/>
                    <a:pt x="21600" y="15156"/>
                    <a:pt x="21600" y="7351"/>
                  </a:cubicBezTo>
                  <a:cubicBezTo>
                    <a:pt x="21600" y="6353"/>
                    <a:pt x="20923" y="5445"/>
                    <a:pt x="20095" y="5445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  <p:sp>
          <p:nvSpPr>
            <p:cNvPr id="256" name="Freeform 8"/>
            <p:cNvSpPr/>
            <p:nvPr/>
          </p:nvSpPr>
          <p:spPr>
            <a:xfrm>
              <a:off x="295275" y="-1"/>
              <a:ext cx="85726" cy="873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5247"/>
                  </a:moveTo>
                  <a:cubicBezTo>
                    <a:pt x="8259" y="15247"/>
                    <a:pt x="6353" y="13341"/>
                    <a:pt x="6353" y="10800"/>
                  </a:cubicBezTo>
                  <a:cubicBezTo>
                    <a:pt x="6353" y="8576"/>
                    <a:pt x="8259" y="6671"/>
                    <a:pt x="10800" y="6671"/>
                  </a:cubicBezTo>
                  <a:cubicBezTo>
                    <a:pt x="13024" y="6671"/>
                    <a:pt x="14929" y="8576"/>
                    <a:pt x="14929" y="10800"/>
                  </a:cubicBezTo>
                  <a:cubicBezTo>
                    <a:pt x="14929" y="13341"/>
                    <a:pt x="13024" y="15247"/>
                    <a:pt x="10800" y="15247"/>
                  </a:cubicBezTo>
                  <a:moveTo>
                    <a:pt x="10800" y="0"/>
                  </a:moveTo>
                  <a:cubicBezTo>
                    <a:pt x="10800" y="0"/>
                    <a:pt x="10800" y="0"/>
                    <a:pt x="10800" y="0"/>
                  </a:cubicBezTo>
                  <a:cubicBezTo>
                    <a:pt x="4765" y="0"/>
                    <a:pt x="0" y="4765"/>
                    <a:pt x="0" y="10800"/>
                  </a:cubicBezTo>
                  <a:cubicBezTo>
                    <a:pt x="0" y="16835"/>
                    <a:pt x="4765" y="21600"/>
                    <a:pt x="10800" y="21600"/>
                  </a:cubicBezTo>
                  <a:cubicBezTo>
                    <a:pt x="16835" y="21600"/>
                    <a:pt x="21600" y="16835"/>
                    <a:pt x="21600" y="10800"/>
                  </a:cubicBezTo>
                  <a:cubicBezTo>
                    <a:pt x="21600" y="4765"/>
                    <a:pt x="16835" y="0"/>
                    <a:pt x="10800" y="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</p:grpSp>
      <p:sp>
        <p:nvSpPr>
          <p:cNvPr id="25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ext with bullets">
    <p:bg>
      <p:bgPr>
        <a:gradFill flip="none" rotWithShape="1">
          <a:gsLst>
            <a:gs pos="50000">
              <a:srgbClr val="E5E5E2"/>
            </a:gs>
            <a:gs pos="100000">
              <a:srgbClr val="CECEC7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5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rcRect b="9396"/>
          <a:stretch>
            <a:fillRect/>
          </a:stretch>
        </p:blipFill>
        <p:spPr>
          <a:xfrm>
            <a:off x="0" y="-1"/>
            <a:ext cx="12192000" cy="6858002"/>
          </a:xfrm>
          <a:prstGeom prst="rect">
            <a:avLst/>
          </a:prstGeom>
          <a:ln w="12700">
            <a:miter lim="400000"/>
          </a:ln>
        </p:spPr>
      </p:pic>
      <p:pic>
        <p:nvPicPr>
          <p:cNvPr id="266" name="Picture 6" descr="Picture 6"/>
          <p:cNvPicPr>
            <a:picLocks noChangeAspect="1"/>
          </p:cNvPicPr>
          <p:nvPr/>
        </p:nvPicPr>
        <p:blipFill>
          <a:blip r:embed="rId3">
            <a:extLst/>
          </a:blip>
          <a:srcRect b="87606"/>
          <a:stretch>
            <a:fillRect/>
          </a:stretch>
        </p:blipFill>
        <p:spPr>
          <a:xfrm>
            <a:off x="0" y="-1"/>
            <a:ext cx="12192000" cy="931818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71" name="Group 4"/>
          <p:cNvGrpSpPr/>
          <p:nvPr/>
        </p:nvGrpSpPr>
        <p:grpSpPr>
          <a:xfrm>
            <a:off x="10056814" y="238125"/>
            <a:ext cx="1858965" cy="496889"/>
            <a:chOff x="0" y="0"/>
            <a:chExt cx="1858963" cy="496887"/>
          </a:xfrm>
        </p:grpSpPr>
        <p:sp>
          <p:nvSpPr>
            <p:cNvPr id="267" name="Freeform 5"/>
            <p:cNvSpPr/>
            <p:nvPr/>
          </p:nvSpPr>
          <p:spPr>
            <a:xfrm>
              <a:off x="465137" y="-1"/>
              <a:ext cx="1393827" cy="369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53" y="16982"/>
                  </a:moveTo>
                  <a:cubicBezTo>
                    <a:pt x="14753" y="18621"/>
                    <a:pt x="14439" y="19738"/>
                    <a:pt x="14008" y="19738"/>
                  </a:cubicBezTo>
                  <a:cubicBezTo>
                    <a:pt x="13596" y="19738"/>
                    <a:pt x="13596" y="19738"/>
                    <a:pt x="13596" y="19738"/>
                  </a:cubicBezTo>
                  <a:cubicBezTo>
                    <a:pt x="13596" y="14152"/>
                    <a:pt x="13596" y="14152"/>
                    <a:pt x="13596" y="14152"/>
                  </a:cubicBezTo>
                  <a:cubicBezTo>
                    <a:pt x="14008" y="14152"/>
                    <a:pt x="14008" y="14152"/>
                    <a:pt x="14008" y="14152"/>
                  </a:cubicBezTo>
                  <a:cubicBezTo>
                    <a:pt x="14439" y="14152"/>
                    <a:pt x="14753" y="15269"/>
                    <a:pt x="14753" y="16908"/>
                  </a:cubicBezTo>
                  <a:lnTo>
                    <a:pt x="14753" y="16982"/>
                  </a:lnTo>
                  <a:close/>
                  <a:moveTo>
                    <a:pt x="14008" y="12290"/>
                  </a:moveTo>
                  <a:cubicBezTo>
                    <a:pt x="13046" y="12290"/>
                    <a:pt x="13046" y="12290"/>
                    <a:pt x="13046" y="12290"/>
                  </a:cubicBezTo>
                  <a:cubicBezTo>
                    <a:pt x="13046" y="21600"/>
                    <a:pt x="13046" y="21600"/>
                    <a:pt x="13046" y="21600"/>
                  </a:cubicBezTo>
                  <a:cubicBezTo>
                    <a:pt x="14008" y="21600"/>
                    <a:pt x="14008" y="21600"/>
                    <a:pt x="14008" y="21600"/>
                  </a:cubicBezTo>
                  <a:cubicBezTo>
                    <a:pt x="14773" y="21600"/>
                    <a:pt x="15302" y="19589"/>
                    <a:pt x="15302" y="16908"/>
                  </a:cubicBezTo>
                  <a:cubicBezTo>
                    <a:pt x="15302" y="16908"/>
                    <a:pt x="15302" y="16908"/>
                    <a:pt x="15302" y="16908"/>
                  </a:cubicBezTo>
                  <a:cubicBezTo>
                    <a:pt x="15302" y="14301"/>
                    <a:pt x="14773" y="12290"/>
                    <a:pt x="14008" y="12290"/>
                  </a:cubicBezTo>
                  <a:moveTo>
                    <a:pt x="12105" y="18025"/>
                  </a:moveTo>
                  <a:cubicBezTo>
                    <a:pt x="10967" y="12290"/>
                    <a:pt x="10967" y="12290"/>
                    <a:pt x="10967" y="12290"/>
                  </a:cubicBezTo>
                  <a:cubicBezTo>
                    <a:pt x="10476" y="12290"/>
                    <a:pt x="10476" y="12290"/>
                    <a:pt x="10476" y="12290"/>
                  </a:cubicBezTo>
                  <a:cubicBezTo>
                    <a:pt x="10476" y="21600"/>
                    <a:pt x="10476" y="21600"/>
                    <a:pt x="10476" y="21600"/>
                  </a:cubicBezTo>
                  <a:cubicBezTo>
                    <a:pt x="11006" y="21600"/>
                    <a:pt x="11006" y="21600"/>
                    <a:pt x="11006" y="21600"/>
                  </a:cubicBezTo>
                  <a:cubicBezTo>
                    <a:pt x="11006" y="15716"/>
                    <a:pt x="11006" y="15716"/>
                    <a:pt x="11006" y="15716"/>
                  </a:cubicBezTo>
                  <a:cubicBezTo>
                    <a:pt x="12183" y="21600"/>
                    <a:pt x="12183" y="21600"/>
                    <a:pt x="12183" y="21600"/>
                  </a:cubicBezTo>
                  <a:cubicBezTo>
                    <a:pt x="12634" y="21600"/>
                    <a:pt x="12634" y="21600"/>
                    <a:pt x="12634" y="21600"/>
                  </a:cubicBezTo>
                  <a:cubicBezTo>
                    <a:pt x="12634" y="12290"/>
                    <a:pt x="12634" y="12290"/>
                    <a:pt x="12634" y="12290"/>
                  </a:cubicBezTo>
                  <a:cubicBezTo>
                    <a:pt x="12105" y="12290"/>
                    <a:pt x="12105" y="12290"/>
                    <a:pt x="12105" y="12290"/>
                  </a:cubicBezTo>
                  <a:lnTo>
                    <a:pt x="12105" y="18025"/>
                  </a:lnTo>
                  <a:close/>
                  <a:moveTo>
                    <a:pt x="8573" y="17727"/>
                  </a:moveTo>
                  <a:cubicBezTo>
                    <a:pt x="8907" y="14673"/>
                    <a:pt x="8907" y="14673"/>
                    <a:pt x="8907" y="14673"/>
                  </a:cubicBezTo>
                  <a:cubicBezTo>
                    <a:pt x="9221" y="17727"/>
                    <a:pt x="9221" y="17727"/>
                    <a:pt x="9221" y="17727"/>
                  </a:cubicBezTo>
                  <a:lnTo>
                    <a:pt x="8573" y="17727"/>
                  </a:lnTo>
                  <a:close/>
                  <a:moveTo>
                    <a:pt x="8671" y="12215"/>
                  </a:moveTo>
                  <a:cubicBezTo>
                    <a:pt x="7612" y="21600"/>
                    <a:pt x="7612" y="21600"/>
                    <a:pt x="7612" y="21600"/>
                  </a:cubicBezTo>
                  <a:cubicBezTo>
                    <a:pt x="8161" y="21600"/>
                    <a:pt x="8161" y="21600"/>
                    <a:pt x="8161" y="21600"/>
                  </a:cubicBezTo>
                  <a:cubicBezTo>
                    <a:pt x="8397" y="19514"/>
                    <a:pt x="8397" y="19514"/>
                    <a:pt x="8397" y="19514"/>
                  </a:cubicBezTo>
                  <a:cubicBezTo>
                    <a:pt x="9417" y="19514"/>
                    <a:pt x="9417" y="19514"/>
                    <a:pt x="9417" y="19514"/>
                  </a:cubicBezTo>
                  <a:cubicBezTo>
                    <a:pt x="9652" y="21600"/>
                    <a:pt x="9652" y="21600"/>
                    <a:pt x="9652" y="21600"/>
                  </a:cubicBezTo>
                  <a:cubicBezTo>
                    <a:pt x="10202" y="21600"/>
                    <a:pt x="10202" y="21600"/>
                    <a:pt x="10202" y="21600"/>
                  </a:cubicBezTo>
                  <a:cubicBezTo>
                    <a:pt x="9162" y="12215"/>
                    <a:pt x="9162" y="12215"/>
                    <a:pt x="9162" y="12215"/>
                  </a:cubicBezTo>
                  <a:lnTo>
                    <a:pt x="8671" y="12215"/>
                  </a:lnTo>
                  <a:close/>
                  <a:moveTo>
                    <a:pt x="6180" y="12290"/>
                  </a:moveTo>
                  <a:cubicBezTo>
                    <a:pt x="5650" y="12290"/>
                    <a:pt x="5650" y="12290"/>
                    <a:pt x="5650" y="12290"/>
                  </a:cubicBezTo>
                  <a:cubicBezTo>
                    <a:pt x="5650" y="21600"/>
                    <a:pt x="5650" y="21600"/>
                    <a:pt x="5650" y="21600"/>
                  </a:cubicBezTo>
                  <a:cubicBezTo>
                    <a:pt x="7396" y="21600"/>
                    <a:pt x="7396" y="21600"/>
                    <a:pt x="7396" y="21600"/>
                  </a:cubicBezTo>
                  <a:cubicBezTo>
                    <a:pt x="7396" y="19738"/>
                    <a:pt x="7396" y="19738"/>
                    <a:pt x="7396" y="19738"/>
                  </a:cubicBezTo>
                  <a:cubicBezTo>
                    <a:pt x="6180" y="19738"/>
                    <a:pt x="6180" y="19738"/>
                    <a:pt x="6180" y="19738"/>
                  </a:cubicBezTo>
                  <a:lnTo>
                    <a:pt x="6180" y="12290"/>
                  </a:lnTo>
                  <a:close/>
                  <a:moveTo>
                    <a:pt x="3943" y="17801"/>
                  </a:moveTo>
                  <a:cubicBezTo>
                    <a:pt x="5081" y="17801"/>
                    <a:pt x="5081" y="17801"/>
                    <a:pt x="5081" y="17801"/>
                  </a:cubicBezTo>
                  <a:cubicBezTo>
                    <a:pt x="5081" y="16014"/>
                    <a:pt x="5081" y="16014"/>
                    <a:pt x="5081" y="16014"/>
                  </a:cubicBezTo>
                  <a:cubicBezTo>
                    <a:pt x="3943" y="16014"/>
                    <a:pt x="3943" y="16014"/>
                    <a:pt x="3943" y="16014"/>
                  </a:cubicBezTo>
                  <a:cubicBezTo>
                    <a:pt x="3943" y="14152"/>
                    <a:pt x="3943" y="14152"/>
                    <a:pt x="3943" y="14152"/>
                  </a:cubicBezTo>
                  <a:cubicBezTo>
                    <a:pt x="5238" y="14152"/>
                    <a:pt x="5238" y="14152"/>
                    <a:pt x="5238" y="14152"/>
                  </a:cubicBezTo>
                  <a:cubicBezTo>
                    <a:pt x="5238" y="12290"/>
                    <a:pt x="5238" y="12290"/>
                    <a:pt x="5238" y="12290"/>
                  </a:cubicBezTo>
                  <a:cubicBezTo>
                    <a:pt x="3394" y="12290"/>
                    <a:pt x="3394" y="12290"/>
                    <a:pt x="3394" y="12290"/>
                  </a:cubicBezTo>
                  <a:cubicBezTo>
                    <a:pt x="3394" y="21600"/>
                    <a:pt x="3394" y="21600"/>
                    <a:pt x="3394" y="21600"/>
                  </a:cubicBezTo>
                  <a:cubicBezTo>
                    <a:pt x="5258" y="21600"/>
                    <a:pt x="5258" y="21600"/>
                    <a:pt x="5258" y="21600"/>
                  </a:cubicBezTo>
                  <a:cubicBezTo>
                    <a:pt x="5258" y="19738"/>
                    <a:pt x="5258" y="19738"/>
                    <a:pt x="5258" y="19738"/>
                  </a:cubicBezTo>
                  <a:cubicBezTo>
                    <a:pt x="3943" y="19738"/>
                    <a:pt x="3943" y="19738"/>
                    <a:pt x="3943" y="19738"/>
                  </a:cubicBezTo>
                  <a:lnTo>
                    <a:pt x="3943" y="17801"/>
                  </a:lnTo>
                  <a:close/>
                  <a:moveTo>
                    <a:pt x="2472" y="15492"/>
                  </a:moveTo>
                  <a:cubicBezTo>
                    <a:pt x="2472" y="16312"/>
                    <a:pt x="2315" y="16833"/>
                    <a:pt x="2060" y="16833"/>
                  </a:cubicBezTo>
                  <a:cubicBezTo>
                    <a:pt x="1511" y="16833"/>
                    <a:pt x="1511" y="16833"/>
                    <a:pt x="1511" y="16833"/>
                  </a:cubicBezTo>
                  <a:cubicBezTo>
                    <a:pt x="1511" y="14152"/>
                    <a:pt x="1511" y="14152"/>
                    <a:pt x="1511" y="14152"/>
                  </a:cubicBezTo>
                  <a:cubicBezTo>
                    <a:pt x="2040" y="14152"/>
                    <a:pt x="2040" y="14152"/>
                    <a:pt x="2040" y="14152"/>
                  </a:cubicBezTo>
                  <a:cubicBezTo>
                    <a:pt x="2295" y="14152"/>
                    <a:pt x="2472" y="14599"/>
                    <a:pt x="2472" y="15492"/>
                  </a:cubicBezTo>
                  <a:close/>
                  <a:moveTo>
                    <a:pt x="3002" y="15418"/>
                  </a:moveTo>
                  <a:cubicBezTo>
                    <a:pt x="3002" y="15343"/>
                    <a:pt x="3002" y="15343"/>
                    <a:pt x="3002" y="15343"/>
                  </a:cubicBezTo>
                  <a:cubicBezTo>
                    <a:pt x="3002" y="14524"/>
                    <a:pt x="2943" y="13779"/>
                    <a:pt x="2805" y="13258"/>
                  </a:cubicBezTo>
                  <a:cubicBezTo>
                    <a:pt x="2629" y="12662"/>
                    <a:pt x="2393" y="12290"/>
                    <a:pt x="2080" y="12290"/>
                  </a:cubicBezTo>
                  <a:cubicBezTo>
                    <a:pt x="961" y="12290"/>
                    <a:pt x="961" y="12290"/>
                    <a:pt x="961" y="12290"/>
                  </a:cubicBezTo>
                  <a:cubicBezTo>
                    <a:pt x="961" y="21600"/>
                    <a:pt x="961" y="21600"/>
                    <a:pt x="961" y="21600"/>
                  </a:cubicBezTo>
                  <a:cubicBezTo>
                    <a:pt x="1511" y="21600"/>
                    <a:pt x="1511" y="21600"/>
                    <a:pt x="1511" y="21600"/>
                  </a:cubicBezTo>
                  <a:cubicBezTo>
                    <a:pt x="1511" y="18621"/>
                    <a:pt x="1511" y="18621"/>
                    <a:pt x="1511" y="18621"/>
                  </a:cubicBezTo>
                  <a:cubicBezTo>
                    <a:pt x="1923" y="18621"/>
                    <a:pt x="1923" y="18621"/>
                    <a:pt x="1923" y="18621"/>
                  </a:cubicBezTo>
                  <a:cubicBezTo>
                    <a:pt x="2452" y="21600"/>
                    <a:pt x="2452" y="21600"/>
                    <a:pt x="2452" y="21600"/>
                  </a:cubicBezTo>
                  <a:cubicBezTo>
                    <a:pt x="3080" y="21600"/>
                    <a:pt x="3080" y="21600"/>
                    <a:pt x="3080" y="21600"/>
                  </a:cubicBezTo>
                  <a:cubicBezTo>
                    <a:pt x="2492" y="18248"/>
                    <a:pt x="2492" y="18248"/>
                    <a:pt x="2492" y="18248"/>
                  </a:cubicBezTo>
                  <a:cubicBezTo>
                    <a:pt x="2786" y="17801"/>
                    <a:pt x="3002" y="16908"/>
                    <a:pt x="3002" y="15418"/>
                  </a:cubicBezTo>
                  <a:moveTo>
                    <a:pt x="20" y="21600"/>
                  </a:moveTo>
                  <a:cubicBezTo>
                    <a:pt x="549" y="21600"/>
                    <a:pt x="549" y="21600"/>
                    <a:pt x="549" y="21600"/>
                  </a:cubicBezTo>
                  <a:cubicBezTo>
                    <a:pt x="549" y="12290"/>
                    <a:pt x="549" y="12290"/>
                    <a:pt x="549" y="12290"/>
                  </a:cubicBezTo>
                  <a:cubicBezTo>
                    <a:pt x="20" y="12290"/>
                    <a:pt x="20" y="12290"/>
                    <a:pt x="20" y="12290"/>
                  </a:cubicBezTo>
                  <a:lnTo>
                    <a:pt x="20" y="21600"/>
                  </a:lnTo>
                  <a:close/>
                  <a:moveTo>
                    <a:pt x="20266" y="7597"/>
                  </a:moveTo>
                  <a:cubicBezTo>
                    <a:pt x="20266" y="5661"/>
                    <a:pt x="20266" y="5661"/>
                    <a:pt x="20266" y="5661"/>
                  </a:cubicBezTo>
                  <a:cubicBezTo>
                    <a:pt x="21423" y="5661"/>
                    <a:pt x="21423" y="5661"/>
                    <a:pt x="21423" y="5661"/>
                  </a:cubicBezTo>
                  <a:cubicBezTo>
                    <a:pt x="21423" y="3873"/>
                    <a:pt x="21423" y="3873"/>
                    <a:pt x="21423" y="3873"/>
                  </a:cubicBezTo>
                  <a:cubicBezTo>
                    <a:pt x="20266" y="3873"/>
                    <a:pt x="20266" y="3873"/>
                    <a:pt x="20266" y="3873"/>
                  </a:cubicBezTo>
                  <a:cubicBezTo>
                    <a:pt x="20266" y="1937"/>
                    <a:pt x="20266" y="1937"/>
                    <a:pt x="20266" y="1937"/>
                  </a:cubicBezTo>
                  <a:cubicBezTo>
                    <a:pt x="21580" y="1937"/>
                    <a:pt x="21580" y="1937"/>
                    <a:pt x="21580" y="1937"/>
                  </a:cubicBezTo>
                  <a:cubicBezTo>
                    <a:pt x="21580" y="149"/>
                    <a:pt x="21580" y="149"/>
                    <a:pt x="21580" y="149"/>
                  </a:cubicBezTo>
                  <a:cubicBezTo>
                    <a:pt x="19736" y="149"/>
                    <a:pt x="19736" y="149"/>
                    <a:pt x="19736" y="149"/>
                  </a:cubicBezTo>
                  <a:cubicBezTo>
                    <a:pt x="19736" y="9385"/>
                    <a:pt x="19736" y="9385"/>
                    <a:pt x="19736" y="9385"/>
                  </a:cubicBezTo>
                  <a:cubicBezTo>
                    <a:pt x="21600" y="9385"/>
                    <a:pt x="21600" y="9385"/>
                    <a:pt x="21600" y="9385"/>
                  </a:cubicBezTo>
                  <a:cubicBezTo>
                    <a:pt x="21600" y="7597"/>
                    <a:pt x="21600" y="7597"/>
                    <a:pt x="21600" y="7597"/>
                  </a:cubicBezTo>
                  <a:lnTo>
                    <a:pt x="20266" y="7597"/>
                  </a:lnTo>
                  <a:close/>
                  <a:moveTo>
                    <a:pt x="18598" y="3873"/>
                  </a:moveTo>
                  <a:cubicBezTo>
                    <a:pt x="18186" y="3426"/>
                    <a:pt x="18069" y="3277"/>
                    <a:pt x="18069" y="2607"/>
                  </a:cubicBezTo>
                  <a:cubicBezTo>
                    <a:pt x="18069" y="2607"/>
                    <a:pt x="18069" y="2607"/>
                    <a:pt x="18069" y="2607"/>
                  </a:cubicBezTo>
                  <a:cubicBezTo>
                    <a:pt x="18069" y="2160"/>
                    <a:pt x="18186" y="1788"/>
                    <a:pt x="18383" y="1788"/>
                  </a:cubicBezTo>
                  <a:cubicBezTo>
                    <a:pt x="18598" y="1788"/>
                    <a:pt x="18814" y="2160"/>
                    <a:pt x="19030" y="2756"/>
                  </a:cubicBezTo>
                  <a:cubicBezTo>
                    <a:pt x="19305" y="1192"/>
                    <a:pt x="19305" y="1192"/>
                    <a:pt x="19305" y="1192"/>
                  </a:cubicBezTo>
                  <a:cubicBezTo>
                    <a:pt x="19050" y="447"/>
                    <a:pt x="18755" y="0"/>
                    <a:pt x="18402" y="0"/>
                  </a:cubicBezTo>
                  <a:cubicBezTo>
                    <a:pt x="17892" y="0"/>
                    <a:pt x="17539" y="1117"/>
                    <a:pt x="17539" y="2830"/>
                  </a:cubicBezTo>
                  <a:cubicBezTo>
                    <a:pt x="17539" y="2830"/>
                    <a:pt x="17539" y="2830"/>
                    <a:pt x="17539" y="2830"/>
                  </a:cubicBezTo>
                  <a:cubicBezTo>
                    <a:pt x="17539" y="4692"/>
                    <a:pt x="17853" y="5214"/>
                    <a:pt x="18343" y="5661"/>
                  </a:cubicBezTo>
                  <a:cubicBezTo>
                    <a:pt x="18755" y="6033"/>
                    <a:pt x="18834" y="6331"/>
                    <a:pt x="18834" y="6852"/>
                  </a:cubicBezTo>
                  <a:cubicBezTo>
                    <a:pt x="18834" y="6852"/>
                    <a:pt x="18834" y="6852"/>
                    <a:pt x="18834" y="6852"/>
                  </a:cubicBezTo>
                  <a:cubicBezTo>
                    <a:pt x="18834" y="7448"/>
                    <a:pt x="18716" y="7746"/>
                    <a:pt x="18481" y="7746"/>
                  </a:cubicBezTo>
                  <a:cubicBezTo>
                    <a:pt x="18206" y="7746"/>
                    <a:pt x="17990" y="7299"/>
                    <a:pt x="17755" y="6629"/>
                  </a:cubicBezTo>
                  <a:cubicBezTo>
                    <a:pt x="17441" y="8044"/>
                    <a:pt x="17441" y="8044"/>
                    <a:pt x="17441" y="8044"/>
                  </a:cubicBezTo>
                  <a:cubicBezTo>
                    <a:pt x="17735" y="9087"/>
                    <a:pt x="18108" y="9534"/>
                    <a:pt x="18481" y="9534"/>
                  </a:cubicBezTo>
                  <a:cubicBezTo>
                    <a:pt x="19010" y="9534"/>
                    <a:pt x="19383" y="8491"/>
                    <a:pt x="19383" y="6703"/>
                  </a:cubicBezTo>
                  <a:cubicBezTo>
                    <a:pt x="19383" y="6629"/>
                    <a:pt x="19383" y="6629"/>
                    <a:pt x="19383" y="6629"/>
                  </a:cubicBezTo>
                  <a:cubicBezTo>
                    <a:pt x="19383" y="5065"/>
                    <a:pt x="19089" y="4320"/>
                    <a:pt x="18598" y="3873"/>
                  </a:cubicBezTo>
                  <a:moveTo>
                    <a:pt x="16538" y="9385"/>
                  </a:moveTo>
                  <a:cubicBezTo>
                    <a:pt x="17088" y="9385"/>
                    <a:pt x="17088" y="9385"/>
                    <a:pt x="17088" y="9385"/>
                  </a:cubicBezTo>
                  <a:cubicBezTo>
                    <a:pt x="17088" y="149"/>
                    <a:pt x="17088" y="149"/>
                    <a:pt x="17088" y="149"/>
                  </a:cubicBezTo>
                  <a:cubicBezTo>
                    <a:pt x="16538" y="149"/>
                    <a:pt x="16538" y="149"/>
                    <a:pt x="16538" y="149"/>
                  </a:cubicBezTo>
                  <a:lnTo>
                    <a:pt x="16538" y="9385"/>
                  </a:lnTo>
                  <a:close/>
                  <a:moveTo>
                    <a:pt x="15557" y="3352"/>
                  </a:moveTo>
                  <a:cubicBezTo>
                    <a:pt x="15557" y="4097"/>
                    <a:pt x="15420" y="4618"/>
                    <a:pt x="15146" y="4618"/>
                  </a:cubicBezTo>
                  <a:cubicBezTo>
                    <a:pt x="14616" y="4618"/>
                    <a:pt x="14616" y="4618"/>
                    <a:pt x="14616" y="4618"/>
                  </a:cubicBezTo>
                  <a:cubicBezTo>
                    <a:pt x="14616" y="2011"/>
                    <a:pt x="14616" y="2011"/>
                    <a:pt x="14616" y="2011"/>
                  </a:cubicBezTo>
                  <a:cubicBezTo>
                    <a:pt x="15146" y="2011"/>
                    <a:pt x="15146" y="2011"/>
                    <a:pt x="15146" y="2011"/>
                  </a:cubicBezTo>
                  <a:cubicBezTo>
                    <a:pt x="15401" y="2011"/>
                    <a:pt x="15557" y="2458"/>
                    <a:pt x="15557" y="3277"/>
                  </a:cubicBezTo>
                  <a:lnTo>
                    <a:pt x="15557" y="3352"/>
                  </a:lnTo>
                  <a:close/>
                  <a:moveTo>
                    <a:pt x="16107" y="3203"/>
                  </a:moveTo>
                  <a:cubicBezTo>
                    <a:pt x="16107" y="3203"/>
                    <a:pt x="16107" y="3203"/>
                    <a:pt x="16107" y="3203"/>
                  </a:cubicBezTo>
                  <a:cubicBezTo>
                    <a:pt x="16107" y="2309"/>
                    <a:pt x="16028" y="1564"/>
                    <a:pt x="15911" y="1043"/>
                  </a:cubicBezTo>
                  <a:cubicBezTo>
                    <a:pt x="15734" y="447"/>
                    <a:pt x="15499" y="149"/>
                    <a:pt x="15185" y="149"/>
                  </a:cubicBezTo>
                  <a:cubicBezTo>
                    <a:pt x="14066" y="149"/>
                    <a:pt x="14066" y="149"/>
                    <a:pt x="14066" y="149"/>
                  </a:cubicBezTo>
                  <a:cubicBezTo>
                    <a:pt x="14066" y="9385"/>
                    <a:pt x="14066" y="9385"/>
                    <a:pt x="14066" y="9385"/>
                  </a:cubicBezTo>
                  <a:cubicBezTo>
                    <a:pt x="14616" y="9385"/>
                    <a:pt x="14616" y="9385"/>
                    <a:pt x="14616" y="9385"/>
                  </a:cubicBezTo>
                  <a:cubicBezTo>
                    <a:pt x="14616" y="6480"/>
                    <a:pt x="14616" y="6480"/>
                    <a:pt x="14616" y="6480"/>
                  </a:cubicBezTo>
                  <a:cubicBezTo>
                    <a:pt x="15028" y="6480"/>
                    <a:pt x="15028" y="6480"/>
                    <a:pt x="15028" y="6480"/>
                  </a:cubicBezTo>
                  <a:cubicBezTo>
                    <a:pt x="15557" y="9385"/>
                    <a:pt x="15557" y="9385"/>
                    <a:pt x="15557" y="9385"/>
                  </a:cubicBezTo>
                  <a:cubicBezTo>
                    <a:pt x="16185" y="9385"/>
                    <a:pt x="16185" y="9385"/>
                    <a:pt x="16185" y="9385"/>
                  </a:cubicBezTo>
                  <a:cubicBezTo>
                    <a:pt x="15597" y="6108"/>
                    <a:pt x="15597" y="6108"/>
                    <a:pt x="15597" y="6108"/>
                  </a:cubicBezTo>
                  <a:cubicBezTo>
                    <a:pt x="15891" y="5661"/>
                    <a:pt x="16107" y="4692"/>
                    <a:pt x="16107" y="3203"/>
                  </a:cubicBezTo>
                  <a:moveTo>
                    <a:pt x="13203" y="3426"/>
                  </a:moveTo>
                  <a:cubicBezTo>
                    <a:pt x="13203" y="4171"/>
                    <a:pt x="13046" y="4841"/>
                    <a:pt x="12772" y="4841"/>
                  </a:cubicBezTo>
                  <a:cubicBezTo>
                    <a:pt x="12360" y="4841"/>
                    <a:pt x="12360" y="4841"/>
                    <a:pt x="12360" y="4841"/>
                  </a:cubicBezTo>
                  <a:cubicBezTo>
                    <a:pt x="12360" y="2011"/>
                    <a:pt x="12360" y="2011"/>
                    <a:pt x="12360" y="2011"/>
                  </a:cubicBezTo>
                  <a:cubicBezTo>
                    <a:pt x="12772" y="2011"/>
                    <a:pt x="12772" y="2011"/>
                    <a:pt x="12772" y="2011"/>
                  </a:cubicBezTo>
                  <a:cubicBezTo>
                    <a:pt x="13027" y="2011"/>
                    <a:pt x="13203" y="2458"/>
                    <a:pt x="13203" y="3352"/>
                  </a:cubicBezTo>
                  <a:lnTo>
                    <a:pt x="13203" y="3426"/>
                  </a:lnTo>
                  <a:close/>
                  <a:moveTo>
                    <a:pt x="13753" y="3352"/>
                  </a:moveTo>
                  <a:cubicBezTo>
                    <a:pt x="13753" y="3352"/>
                    <a:pt x="13753" y="3352"/>
                    <a:pt x="13753" y="3352"/>
                  </a:cubicBezTo>
                  <a:cubicBezTo>
                    <a:pt x="13753" y="1415"/>
                    <a:pt x="13399" y="149"/>
                    <a:pt x="12811" y="149"/>
                  </a:cubicBezTo>
                  <a:cubicBezTo>
                    <a:pt x="11810" y="149"/>
                    <a:pt x="11810" y="149"/>
                    <a:pt x="11810" y="149"/>
                  </a:cubicBezTo>
                  <a:cubicBezTo>
                    <a:pt x="11810" y="9385"/>
                    <a:pt x="11810" y="9385"/>
                    <a:pt x="11810" y="9385"/>
                  </a:cubicBezTo>
                  <a:cubicBezTo>
                    <a:pt x="12360" y="9385"/>
                    <a:pt x="12360" y="9385"/>
                    <a:pt x="12360" y="9385"/>
                  </a:cubicBezTo>
                  <a:cubicBezTo>
                    <a:pt x="12360" y="6629"/>
                    <a:pt x="12360" y="6629"/>
                    <a:pt x="12360" y="6629"/>
                  </a:cubicBezTo>
                  <a:cubicBezTo>
                    <a:pt x="12752" y="6629"/>
                    <a:pt x="12752" y="6629"/>
                    <a:pt x="12752" y="6629"/>
                  </a:cubicBezTo>
                  <a:cubicBezTo>
                    <a:pt x="13301" y="6629"/>
                    <a:pt x="13753" y="5512"/>
                    <a:pt x="13753" y="3352"/>
                  </a:cubicBezTo>
                  <a:moveTo>
                    <a:pt x="10457" y="4618"/>
                  </a:moveTo>
                  <a:cubicBezTo>
                    <a:pt x="9907" y="4618"/>
                    <a:pt x="9907" y="4618"/>
                    <a:pt x="9907" y="4618"/>
                  </a:cubicBezTo>
                  <a:cubicBezTo>
                    <a:pt x="9907" y="2011"/>
                    <a:pt x="9907" y="2011"/>
                    <a:pt x="9907" y="2011"/>
                  </a:cubicBezTo>
                  <a:cubicBezTo>
                    <a:pt x="10457" y="2011"/>
                    <a:pt x="10457" y="2011"/>
                    <a:pt x="10457" y="2011"/>
                  </a:cubicBezTo>
                  <a:cubicBezTo>
                    <a:pt x="10712" y="2011"/>
                    <a:pt x="10869" y="2458"/>
                    <a:pt x="10869" y="3277"/>
                  </a:cubicBezTo>
                  <a:cubicBezTo>
                    <a:pt x="10869" y="3352"/>
                    <a:pt x="10869" y="3352"/>
                    <a:pt x="10869" y="3352"/>
                  </a:cubicBezTo>
                  <a:cubicBezTo>
                    <a:pt x="10869" y="4097"/>
                    <a:pt x="10712" y="4618"/>
                    <a:pt x="10457" y="4618"/>
                  </a:cubicBezTo>
                  <a:moveTo>
                    <a:pt x="11496" y="9385"/>
                  </a:moveTo>
                  <a:cubicBezTo>
                    <a:pt x="10888" y="6108"/>
                    <a:pt x="10888" y="6108"/>
                    <a:pt x="10888" y="6108"/>
                  </a:cubicBezTo>
                  <a:cubicBezTo>
                    <a:pt x="11202" y="5661"/>
                    <a:pt x="11418" y="4692"/>
                    <a:pt x="11418" y="3203"/>
                  </a:cubicBezTo>
                  <a:cubicBezTo>
                    <a:pt x="11418" y="3203"/>
                    <a:pt x="11418" y="3203"/>
                    <a:pt x="11418" y="3203"/>
                  </a:cubicBezTo>
                  <a:cubicBezTo>
                    <a:pt x="11418" y="2309"/>
                    <a:pt x="11340" y="1564"/>
                    <a:pt x="11202" y="1043"/>
                  </a:cubicBezTo>
                  <a:cubicBezTo>
                    <a:pt x="11045" y="447"/>
                    <a:pt x="10810" y="149"/>
                    <a:pt x="10496" y="149"/>
                  </a:cubicBezTo>
                  <a:cubicBezTo>
                    <a:pt x="9378" y="149"/>
                    <a:pt x="9378" y="149"/>
                    <a:pt x="9378" y="149"/>
                  </a:cubicBezTo>
                  <a:cubicBezTo>
                    <a:pt x="9378" y="9385"/>
                    <a:pt x="9378" y="9385"/>
                    <a:pt x="9378" y="9385"/>
                  </a:cubicBezTo>
                  <a:cubicBezTo>
                    <a:pt x="9907" y="9385"/>
                    <a:pt x="9907" y="9385"/>
                    <a:pt x="9907" y="9385"/>
                  </a:cubicBezTo>
                  <a:cubicBezTo>
                    <a:pt x="9907" y="6480"/>
                    <a:pt x="9907" y="6480"/>
                    <a:pt x="9907" y="6480"/>
                  </a:cubicBezTo>
                  <a:cubicBezTo>
                    <a:pt x="10339" y="6480"/>
                    <a:pt x="10339" y="6480"/>
                    <a:pt x="10339" y="6480"/>
                  </a:cubicBezTo>
                  <a:cubicBezTo>
                    <a:pt x="10869" y="9385"/>
                    <a:pt x="10869" y="9385"/>
                    <a:pt x="10869" y="9385"/>
                  </a:cubicBezTo>
                  <a:lnTo>
                    <a:pt x="11496" y="9385"/>
                  </a:lnTo>
                  <a:close/>
                  <a:moveTo>
                    <a:pt x="9025" y="7597"/>
                  </a:moveTo>
                  <a:cubicBezTo>
                    <a:pt x="7690" y="7597"/>
                    <a:pt x="7690" y="7597"/>
                    <a:pt x="7690" y="7597"/>
                  </a:cubicBezTo>
                  <a:cubicBezTo>
                    <a:pt x="7690" y="5661"/>
                    <a:pt x="7690" y="5661"/>
                    <a:pt x="7690" y="5661"/>
                  </a:cubicBezTo>
                  <a:cubicBezTo>
                    <a:pt x="8848" y="5661"/>
                    <a:pt x="8848" y="5661"/>
                    <a:pt x="8848" y="5661"/>
                  </a:cubicBezTo>
                  <a:cubicBezTo>
                    <a:pt x="8848" y="3873"/>
                    <a:pt x="8848" y="3873"/>
                    <a:pt x="8848" y="3873"/>
                  </a:cubicBezTo>
                  <a:cubicBezTo>
                    <a:pt x="7690" y="3873"/>
                    <a:pt x="7690" y="3873"/>
                    <a:pt x="7690" y="3873"/>
                  </a:cubicBezTo>
                  <a:cubicBezTo>
                    <a:pt x="7690" y="1937"/>
                    <a:pt x="7690" y="1937"/>
                    <a:pt x="7690" y="1937"/>
                  </a:cubicBezTo>
                  <a:cubicBezTo>
                    <a:pt x="9005" y="1937"/>
                    <a:pt x="9005" y="1937"/>
                    <a:pt x="9005" y="1937"/>
                  </a:cubicBezTo>
                  <a:cubicBezTo>
                    <a:pt x="9005" y="149"/>
                    <a:pt x="9005" y="149"/>
                    <a:pt x="9005" y="149"/>
                  </a:cubicBezTo>
                  <a:cubicBezTo>
                    <a:pt x="7161" y="149"/>
                    <a:pt x="7161" y="149"/>
                    <a:pt x="7161" y="149"/>
                  </a:cubicBezTo>
                  <a:cubicBezTo>
                    <a:pt x="7161" y="9385"/>
                    <a:pt x="7161" y="9385"/>
                    <a:pt x="7161" y="9385"/>
                  </a:cubicBezTo>
                  <a:cubicBezTo>
                    <a:pt x="9025" y="9385"/>
                    <a:pt x="9025" y="9385"/>
                    <a:pt x="9025" y="9385"/>
                  </a:cubicBezTo>
                  <a:lnTo>
                    <a:pt x="9025" y="7597"/>
                  </a:lnTo>
                  <a:close/>
                  <a:moveTo>
                    <a:pt x="6043" y="9385"/>
                  </a:moveTo>
                  <a:cubicBezTo>
                    <a:pt x="6043" y="2011"/>
                    <a:pt x="6043" y="2011"/>
                    <a:pt x="6043" y="2011"/>
                  </a:cubicBezTo>
                  <a:cubicBezTo>
                    <a:pt x="6788" y="2011"/>
                    <a:pt x="6788" y="2011"/>
                    <a:pt x="6788" y="2011"/>
                  </a:cubicBezTo>
                  <a:cubicBezTo>
                    <a:pt x="6788" y="149"/>
                    <a:pt x="6788" y="149"/>
                    <a:pt x="6788" y="149"/>
                  </a:cubicBezTo>
                  <a:cubicBezTo>
                    <a:pt x="4767" y="149"/>
                    <a:pt x="4767" y="149"/>
                    <a:pt x="4767" y="149"/>
                  </a:cubicBezTo>
                  <a:cubicBezTo>
                    <a:pt x="4767" y="2011"/>
                    <a:pt x="4767" y="2011"/>
                    <a:pt x="4767" y="2011"/>
                  </a:cubicBezTo>
                  <a:cubicBezTo>
                    <a:pt x="5513" y="2011"/>
                    <a:pt x="5513" y="2011"/>
                    <a:pt x="5513" y="2011"/>
                  </a:cubicBezTo>
                  <a:cubicBezTo>
                    <a:pt x="5513" y="9385"/>
                    <a:pt x="5513" y="9385"/>
                    <a:pt x="5513" y="9385"/>
                  </a:cubicBezTo>
                  <a:lnTo>
                    <a:pt x="6043" y="9385"/>
                  </a:lnTo>
                  <a:close/>
                  <a:moveTo>
                    <a:pt x="2766" y="3501"/>
                  </a:moveTo>
                  <a:cubicBezTo>
                    <a:pt x="3943" y="9385"/>
                    <a:pt x="3943" y="9385"/>
                    <a:pt x="3943" y="9385"/>
                  </a:cubicBezTo>
                  <a:cubicBezTo>
                    <a:pt x="4414" y="9385"/>
                    <a:pt x="4414" y="9385"/>
                    <a:pt x="4414" y="9385"/>
                  </a:cubicBezTo>
                  <a:cubicBezTo>
                    <a:pt x="4414" y="149"/>
                    <a:pt x="4414" y="149"/>
                    <a:pt x="4414" y="149"/>
                  </a:cubicBezTo>
                  <a:cubicBezTo>
                    <a:pt x="3865" y="149"/>
                    <a:pt x="3865" y="149"/>
                    <a:pt x="3865" y="149"/>
                  </a:cubicBezTo>
                  <a:cubicBezTo>
                    <a:pt x="3865" y="5884"/>
                    <a:pt x="3865" y="5884"/>
                    <a:pt x="3865" y="5884"/>
                  </a:cubicBezTo>
                  <a:cubicBezTo>
                    <a:pt x="2727" y="149"/>
                    <a:pt x="2727" y="149"/>
                    <a:pt x="2727" y="149"/>
                  </a:cubicBezTo>
                  <a:cubicBezTo>
                    <a:pt x="2237" y="149"/>
                    <a:pt x="2237" y="149"/>
                    <a:pt x="2237" y="149"/>
                  </a:cubicBezTo>
                  <a:cubicBezTo>
                    <a:pt x="2237" y="9385"/>
                    <a:pt x="2237" y="9385"/>
                    <a:pt x="2237" y="9385"/>
                  </a:cubicBezTo>
                  <a:cubicBezTo>
                    <a:pt x="2766" y="9385"/>
                    <a:pt x="2766" y="9385"/>
                    <a:pt x="2766" y="9385"/>
                  </a:cubicBezTo>
                  <a:lnTo>
                    <a:pt x="2766" y="3501"/>
                  </a:lnTo>
                  <a:close/>
                  <a:moveTo>
                    <a:pt x="1864" y="7597"/>
                  </a:moveTo>
                  <a:cubicBezTo>
                    <a:pt x="530" y="7597"/>
                    <a:pt x="530" y="7597"/>
                    <a:pt x="530" y="7597"/>
                  </a:cubicBezTo>
                  <a:cubicBezTo>
                    <a:pt x="530" y="5661"/>
                    <a:pt x="530" y="5661"/>
                    <a:pt x="530" y="5661"/>
                  </a:cubicBezTo>
                  <a:cubicBezTo>
                    <a:pt x="1687" y="5661"/>
                    <a:pt x="1687" y="5661"/>
                    <a:pt x="1687" y="5661"/>
                  </a:cubicBezTo>
                  <a:cubicBezTo>
                    <a:pt x="1687" y="3873"/>
                    <a:pt x="1687" y="3873"/>
                    <a:pt x="1687" y="3873"/>
                  </a:cubicBezTo>
                  <a:cubicBezTo>
                    <a:pt x="530" y="3873"/>
                    <a:pt x="530" y="3873"/>
                    <a:pt x="530" y="3873"/>
                  </a:cubicBezTo>
                  <a:cubicBezTo>
                    <a:pt x="530" y="1937"/>
                    <a:pt x="530" y="1937"/>
                    <a:pt x="530" y="1937"/>
                  </a:cubicBezTo>
                  <a:cubicBezTo>
                    <a:pt x="1844" y="1937"/>
                    <a:pt x="1844" y="1937"/>
                    <a:pt x="1844" y="1937"/>
                  </a:cubicBezTo>
                  <a:cubicBezTo>
                    <a:pt x="1844" y="149"/>
                    <a:pt x="1844" y="149"/>
                    <a:pt x="1844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9385"/>
                    <a:pt x="0" y="9385"/>
                    <a:pt x="0" y="9385"/>
                  </a:cubicBezTo>
                  <a:cubicBezTo>
                    <a:pt x="1864" y="9385"/>
                    <a:pt x="1864" y="9385"/>
                    <a:pt x="1864" y="9385"/>
                  </a:cubicBezTo>
                  <a:lnTo>
                    <a:pt x="1864" y="7597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  <p:sp>
          <p:nvSpPr>
            <p:cNvPr id="268" name="Freeform 6"/>
            <p:cNvSpPr/>
            <p:nvPr/>
          </p:nvSpPr>
          <p:spPr>
            <a:xfrm>
              <a:off x="466725" y="427037"/>
              <a:ext cx="1368426" cy="698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60" y="9818"/>
                  </a:moveTo>
                  <a:cubicBezTo>
                    <a:pt x="21160" y="8640"/>
                    <a:pt x="21200" y="7855"/>
                    <a:pt x="21280" y="7855"/>
                  </a:cubicBezTo>
                  <a:cubicBezTo>
                    <a:pt x="21380" y="7855"/>
                    <a:pt x="21420" y="8247"/>
                    <a:pt x="21480" y="9818"/>
                  </a:cubicBezTo>
                  <a:cubicBezTo>
                    <a:pt x="21560" y="8640"/>
                    <a:pt x="21560" y="8640"/>
                    <a:pt x="21560" y="8640"/>
                  </a:cubicBezTo>
                  <a:cubicBezTo>
                    <a:pt x="21500" y="7069"/>
                    <a:pt x="21400" y="5891"/>
                    <a:pt x="21300" y="5891"/>
                  </a:cubicBezTo>
                  <a:cubicBezTo>
                    <a:pt x="21160" y="5891"/>
                    <a:pt x="21041" y="7462"/>
                    <a:pt x="21041" y="9818"/>
                  </a:cubicBezTo>
                  <a:cubicBezTo>
                    <a:pt x="21041" y="15316"/>
                    <a:pt x="21500" y="13353"/>
                    <a:pt x="21500" y="17280"/>
                  </a:cubicBezTo>
                  <a:cubicBezTo>
                    <a:pt x="21500" y="18458"/>
                    <a:pt x="21440" y="19636"/>
                    <a:pt x="21320" y="19636"/>
                  </a:cubicBezTo>
                  <a:cubicBezTo>
                    <a:pt x="21220" y="19636"/>
                    <a:pt x="21160" y="18851"/>
                    <a:pt x="21100" y="17673"/>
                  </a:cubicBezTo>
                  <a:cubicBezTo>
                    <a:pt x="21021" y="18851"/>
                    <a:pt x="21021" y="18851"/>
                    <a:pt x="21021" y="18851"/>
                  </a:cubicBezTo>
                  <a:cubicBezTo>
                    <a:pt x="21100" y="20422"/>
                    <a:pt x="21200" y="21600"/>
                    <a:pt x="21320" y="21600"/>
                  </a:cubicBezTo>
                  <a:cubicBezTo>
                    <a:pt x="21460" y="21600"/>
                    <a:pt x="21600" y="20029"/>
                    <a:pt x="21600" y="17280"/>
                  </a:cubicBezTo>
                  <a:cubicBezTo>
                    <a:pt x="21600" y="11389"/>
                    <a:pt x="21160" y="13353"/>
                    <a:pt x="21160" y="9818"/>
                  </a:cubicBezTo>
                  <a:moveTo>
                    <a:pt x="20481" y="9818"/>
                  </a:moveTo>
                  <a:cubicBezTo>
                    <a:pt x="20481" y="8640"/>
                    <a:pt x="20541" y="7855"/>
                    <a:pt x="20621" y="7855"/>
                  </a:cubicBezTo>
                  <a:cubicBezTo>
                    <a:pt x="20721" y="7855"/>
                    <a:pt x="20761" y="8247"/>
                    <a:pt x="20821" y="9818"/>
                  </a:cubicBezTo>
                  <a:cubicBezTo>
                    <a:pt x="20901" y="8640"/>
                    <a:pt x="20901" y="8640"/>
                    <a:pt x="20901" y="8640"/>
                  </a:cubicBezTo>
                  <a:cubicBezTo>
                    <a:pt x="20841" y="7069"/>
                    <a:pt x="20741" y="5891"/>
                    <a:pt x="20641" y="5891"/>
                  </a:cubicBezTo>
                  <a:cubicBezTo>
                    <a:pt x="20481" y="5891"/>
                    <a:pt x="20381" y="7462"/>
                    <a:pt x="20381" y="9818"/>
                  </a:cubicBezTo>
                  <a:cubicBezTo>
                    <a:pt x="20381" y="15316"/>
                    <a:pt x="20821" y="13353"/>
                    <a:pt x="20821" y="17280"/>
                  </a:cubicBezTo>
                  <a:cubicBezTo>
                    <a:pt x="20821" y="18458"/>
                    <a:pt x="20781" y="19636"/>
                    <a:pt x="20661" y="19636"/>
                  </a:cubicBezTo>
                  <a:cubicBezTo>
                    <a:pt x="20561" y="19636"/>
                    <a:pt x="20501" y="18851"/>
                    <a:pt x="20441" y="17673"/>
                  </a:cubicBezTo>
                  <a:cubicBezTo>
                    <a:pt x="20361" y="18851"/>
                    <a:pt x="20361" y="18851"/>
                    <a:pt x="20361" y="18851"/>
                  </a:cubicBezTo>
                  <a:cubicBezTo>
                    <a:pt x="20441" y="20422"/>
                    <a:pt x="20541" y="21600"/>
                    <a:pt x="20661" y="21600"/>
                  </a:cubicBezTo>
                  <a:cubicBezTo>
                    <a:pt x="20801" y="21600"/>
                    <a:pt x="20941" y="20029"/>
                    <a:pt x="20941" y="17280"/>
                  </a:cubicBezTo>
                  <a:cubicBezTo>
                    <a:pt x="20941" y="11389"/>
                    <a:pt x="20481" y="13353"/>
                    <a:pt x="20481" y="9818"/>
                  </a:cubicBezTo>
                  <a:moveTo>
                    <a:pt x="19962" y="7855"/>
                  </a:moveTo>
                  <a:cubicBezTo>
                    <a:pt x="20081" y="7855"/>
                    <a:pt x="20141" y="9425"/>
                    <a:pt x="20141" y="12567"/>
                  </a:cubicBezTo>
                  <a:cubicBezTo>
                    <a:pt x="19742" y="12567"/>
                    <a:pt x="19742" y="12567"/>
                    <a:pt x="19742" y="12567"/>
                  </a:cubicBezTo>
                  <a:cubicBezTo>
                    <a:pt x="19762" y="9425"/>
                    <a:pt x="19822" y="7855"/>
                    <a:pt x="19962" y="7855"/>
                  </a:cubicBezTo>
                  <a:moveTo>
                    <a:pt x="19981" y="19636"/>
                  </a:moveTo>
                  <a:cubicBezTo>
                    <a:pt x="19842" y="19636"/>
                    <a:pt x="19742" y="17673"/>
                    <a:pt x="19742" y="14138"/>
                  </a:cubicBezTo>
                  <a:cubicBezTo>
                    <a:pt x="20241" y="14138"/>
                    <a:pt x="20241" y="14138"/>
                    <a:pt x="20241" y="14138"/>
                  </a:cubicBezTo>
                  <a:cubicBezTo>
                    <a:pt x="20241" y="12960"/>
                    <a:pt x="20241" y="12960"/>
                    <a:pt x="20241" y="12960"/>
                  </a:cubicBezTo>
                  <a:cubicBezTo>
                    <a:pt x="20241" y="7855"/>
                    <a:pt x="20121" y="5891"/>
                    <a:pt x="19962" y="5891"/>
                  </a:cubicBezTo>
                  <a:cubicBezTo>
                    <a:pt x="19762" y="5891"/>
                    <a:pt x="19642" y="9033"/>
                    <a:pt x="19642" y="13745"/>
                  </a:cubicBezTo>
                  <a:cubicBezTo>
                    <a:pt x="19642" y="19244"/>
                    <a:pt x="19802" y="21600"/>
                    <a:pt x="19981" y="21600"/>
                  </a:cubicBezTo>
                  <a:cubicBezTo>
                    <a:pt x="20141" y="21600"/>
                    <a:pt x="20221" y="19636"/>
                    <a:pt x="20261" y="18065"/>
                  </a:cubicBezTo>
                  <a:cubicBezTo>
                    <a:pt x="20181" y="17280"/>
                    <a:pt x="20181" y="17280"/>
                    <a:pt x="20181" y="17280"/>
                  </a:cubicBezTo>
                  <a:cubicBezTo>
                    <a:pt x="20141" y="18851"/>
                    <a:pt x="20061" y="19636"/>
                    <a:pt x="19981" y="19636"/>
                  </a:cubicBezTo>
                  <a:moveTo>
                    <a:pt x="19222" y="5891"/>
                  </a:moveTo>
                  <a:cubicBezTo>
                    <a:pt x="19142" y="5891"/>
                    <a:pt x="19062" y="7069"/>
                    <a:pt x="19002" y="8247"/>
                  </a:cubicBezTo>
                  <a:cubicBezTo>
                    <a:pt x="19002" y="8247"/>
                    <a:pt x="19002" y="8247"/>
                    <a:pt x="19002" y="8247"/>
                  </a:cubicBezTo>
                  <a:cubicBezTo>
                    <a:pt x="19002" y="6284"/>
                    <a:pt x="19002" y="6284"/>
                    <a:pt x="19002" y="6284"/>
                  </a:cubicBezTo>
                  <a:cubicBezTo>
                    <a:pt x="18883" y="6284"/>
                    <a:pt x="18883" y="6284"/>
                    <a:pt x="18883" y="6284"/>
                  </a:cubicBezTo>
                  <a:cubicBezTo>
                    <a:pt x="18883" y="21207"/>
                    <a:pt x="18883" y="21207"/>
                    <a:pt x="18883" y="21207"/>
                  </a:cubicBezTo>
                  <a:cubicBezTo>
                    <a:pt x="19002" y="21207"/>
                    <a:pt x="19002" y="21207"/>
                    <a:pt x="19002" y="21207"/>
                  </a:cubicBezTo>
                  <a:cubicBezTo>
                    <a:pt x="19002" y="10211"/>
                    <a:pt x="19002" y="10211"/>
                    <a:pt x="19002" y="10211"/>
                  </a:cubicBezTo>
                  <a:cubicBezTo>
                    <a:pt x="19042" y="9033"/>
                    <a:pt x="19142" y="7855"/>
                    <a:pt x="19222" y="7855"/>
                  </a:cubicBezTo>
                  <a:cubicBezTo>
                    <a:pt x="19282" y="7855"/>
                    <a:pt x="19342" y="8247"/>
                    <a:pt x="19342" y="10211"/>
                  </a:cubicBezTo>
                  <a:cubicBezTo>
                    <a:pt x="19342" y="21207"/>
                    <a:pt x="19342" y="21207"/>
                    <a:pt x="19342" y="21207"/>
                  </a:cubicBezTo>
                  <a:cubicBezTo>
                    <a:pt x="19442" y="21207"/>
                    <a:pt x="19442" y="21207"/>
                    <a:pt x="19442" y="21207"/>
                  </a:cubicBezTo>
                  <a:cubicBezTo>
                    <a:pt x="19442" y="10211"/>
                    <a:pt x="19442" y="10211"/>
                    <a:pt x="19442" y="10211"/>
                  </a:cubicBezTo>
                  <a:cubicBezTo>
                    <a:pt x="19442" y="7069"/>
                    <a:pt x="19342" y="5891"/>
                    <a:pt x="19222" y="5891"/>
                  </a:cubicBezTo>
                  <a:moveTo>
                    <a:pt x="18503" y="21207"/>
                  </a:moveTo>
                  <a:cubicBezTo>
                    <a:pt x="18603" y="21207"/>
                    <a:pt x="18603" y="21207"/>
                    <a:pt x="18603" y="21207"/>
                  </a:cubicBezTo>
                  <a:cubicBezTo>
                    <a:pt x="18603" y="6284"/>
                    <a:pt x="18603" y="6284"/>
                    <a:pt x="18603" y="6284"/>
                  </a:cubicBezTo>
                  <a:cubicBezTo>
                    <a:pt x="18503" y="6284"/>
                    <a:pt x="18503" y="6284"/>
                    <a:pt x="18503" y="6284"/>
                  </a:cubicBezTo>
                  <a:lnTo>
                    <a:pt x="18503" y="21207"/>
                  </a:lnTo>
                  <a:close/>
                  <a:moveTo>
                    <a:pt x="18503" y="2749"/>
                  </a:moveTo>
                  <a:cubicBezTo>
                    <a:pt x="18603" y="2749"/>
                    <a:pt x="18603" y="2749"/>
                    <a:pt x="18603" y="2749"/>
                  </a:cubicBezTo>
                  <a:cubicBezTo>
                    <a:pt x="18603" y="0"/>
                    <a:pt x="18603" y="0"/>
                    <a:pt x="18603" y="0"/>
                  </a:cubicBezTo>
                  <a:cubicBezTo>
                    <a:pt x="18503" y="0"/>
                    <a:pt x="18503" y="0"/>
                    <a:pt x="18503" y="0"/>
                  </a:cubicBezTo>
                  <a:lnTo>
                    <a:pt x="18503" y="2749"/>
                  </a:lnTo>
                  <a:close/>
                  <a:moveTo>
                    <a:pt x="17843" y="9818"/>
                  </a:moveTo>
                  <a:cubicBezTo>
                    <a:pt x="17843" y="8640"/>
                    <a:pt x="17903" y="7855"/>
                    <a:pt x="17983" y="7855"/>
                  </a:cubicBezTo>
                  <a:cubicBezTo>
                    <a:pt x="18063" y="7855"/>
                    <a:pt x="18123" y="8247"/>
                    <a:pt x="18183" y="9818"/>
                  </a:cubicBezTo>
                  <a:cubicBezTo>
                    <a:pt x="18263" y="8640"/>
                    <a:pt x="18263" y="8640"/>
                    <a:pt x="18263" y="8640"/>
                  </a:cubicBezTo>
                  <a:cubicBezTo>
                    <a:pt x="18203" y="7069"/>
                    <a:pt x="18103" y="5891"/>
                    <a:pt x="18003" y="5891"/>
                  </a:cubicBezTo>
                  <a:cubicBezTo>
                    <a:pt x="17843" y="5891"/>
                    <a:pt x="17744" y="7462"/>
                    <a:pt x="17744" y="9818"/>
                  </a:cubicBezTo>
                  <a:cubicBezTo>
                    <a:pt x="17724" y="15316"/>
                    <a:pt x="18183" y="13353"/>
                    <a:pt x="18183" y="17280"/>
                  </a:cubicBezTo>
                  <a:cubicBezTo>
                    <a:pt x="18183" y="18458"/>
                    <a:pt x="18143" y="19636"/>
                    <a:pt x="18023" y="19636"/>
                  </a:cubicBezTo>
                  <a:cubicBezTo>
                    <a:pt x="17923" y="19636"/>
                    <a:pt x="17843" y="18851"/>
                    <a:pt x="17804" y="17673"/>
                  </a:cubicBezTo>
                  <a:cubicBezTo>
                    <a:pt x="17724" y="18851"/>
                    <a:pt x="17724" y="18851"/>
                    <a:pt x="17724" y="18851"/>
                  </a:cubicBezTo>
                  <a:cubicBezTo>
                    <a:pt x="17784" y="20422"/>
                    <a:pt x="17903" y="21600"/>
                    <a:pt x="18023" y="21600"/>
                  </a:cubicBezTo>
                  <a:cubicBezTo>
                    <a:pt x="18163" y="21600"/>
                    <a:pt x="18283" y="20029"/>
                    <a:pt x="18283" y="17280"/>
                  </a:cubicBezTo>
                  <a:cubicBezTo>
                    <a:pt x="18283" y="11389"/>
                    <a:pt x="17843" y="13353"/>
                    <a:pt x="17843" y="9818"/>
                  </a:cubicBezTo>
                  <a:moveTo>
                    <a:pt x="17444" y="17673"/>
                  </a:moveTo>
                  <a:cubicBezTo>
                    <a:pt x="17384" y="18458"/>
                    <a:pt x="17304" y="19636"/>
                    <a:pt x="17224" y="19636"/>
                  </a:cubicBezTo>
                  <a:cubicBezTo>
                    <a:pt x="17144" y="19636"/>
                    <a:pt x="17104" y="19244"/>
                    <a:pt x="17104" y="17280"/>
                  </a:cubicBezTo>
                  <a:cubicBezTo>
                    <a:pt x="17104" y="6284"/>
                    <a:pt x="17104" y="6284"/>
                    <a:pt x="17104" y="6284"/>
                  </a:cubicBezTo>
                  <a:cubicBezTo>
                    <a:pt x="16984" y="6284"/>
                    <a:pt x="16984" y="6284"/>
                    <a:pt x="16984" y="6284"/>
                  </a:cubicBezTo>
                  <a:cubicBezTo>
                    <a:pt x="16984" y="17280"/>
                    <a:pt x="16984" y="17280"/>
                    <a:pt x="16984" y="17280"/>
                  </a:cubicBezTo>
                  <a:cubicBezTo>
                    <a:pt x="16984" y="20422"/>
                    <a:pt x="17104" y="21600"/>
                    <a:pt x="17204" y="21600"/>
                  </a:cubicBezTo>
                  <a:cubicBezTo>
                    <a:pt x="17304" y="21600"/>
                    <a:pt x="17384" y="20422"/>
                    <a:pt x="17444" y="19244"/>
                  </a:cubicBezTo>
                  <a:cubicBezTo>
                    <a:pt x="17444" y="19244"/>
                    <a:pt x="17444" y="19244"/>
                    <a:pt x="17444" y="19244"/>
                  </a:cubicBezTo>
                  <a:cubicBezTo>
                    <a:pt x="17444" y="21207"/>
                    <a:pt x="17444" y="21207"/>
                    <a:pt x="17444" y="21207"/>
                  </a:cubicBezTo>
                  <a:cubicBezTo>
                    <a:pt x="17544" y="21207"/>
                    <a:pt x="17544" y="21207"/>
                    <a:pt x="17544" y="21207"/>
                  </a:cubicBezTo>
                  <a:cubicBezTo>
                    <a:pt x="17544" y="6284"/>
                    <a:pt x="17544" y="6284"/>
                    <a:pt x="17544" y="6284"/>
                  </a:cubicBezTo>
                  <a:cubicBezTo>
                    <a:pt x="17444" y="6284"/>
                    <a:pt x="17444" y="6284"/>
                    <a:pt x="17444" y="6284"/>
                  </a:cubicBezTo>
                  <a:lnTo>
                    <a:pt x="17444" y="17673"/>
                  </a:lnTo>
                  <a:close/>
                  <a:moveTo>
                    <a:pt x="16465" y="19636"/>
                  </a:moveTo>
                  <a:cubicBezTo>
                    <a:pt x="16385" y="19636"/>
                    <a:pt x="16345" y="19244"/>
                    <a:pt x="16265" y="17673"/>
                  </a:cubicBezTo>
                  <a:cubicBezTo>
                    <a:pt x="16265" y="9818"/>
                    <a:pt x="16265" y="9818"/>
                    <a:pt x="16265" y="9818"/>
                  </a:cubicBezTo>
                  <a:cubicBezTo>
                    <a:pt x="16325" y="8640"/>
                    <a:pt x="16405" y="7855"/>
                    <a:pt x="16465" y="7855"/>
                  </a:cubicBezTo>
                  <a:cubicBezTo>
                    <a:pt x="16585" y="7855"/>
                    <a:pt x="16685" y="9425"/>
                    <a:pt x="16685" y="13745"/>
                  </a:cubicBezTo>
                  <a:cubicBezTo>
                    <a:pt x="16685" y="17673"/>
                    <a:pt x="16585" y="19636"/>
                    <a:pt x="16465" y="19636"/>
                  </a:cubicBezTo>
                  <a:moveTo>
                    <a:pt x="16485" y="5891"/>
                  </a:moveTo>
                  <a:cubicBezTo>
                    <a:pt x="16405" y="5891"/>
                    <a:pt x="16325" y="6676"/>
                    <a:pt x="16265" y="7462"/>
                  </a:cubicBezTo>
                  <a:cubicBezTo>
                    <a:pt x="16265" y="7855"/>
                    <a:pt x="16265" y="7855"/>
                    <a:pt x="16265" y="7855"/>
                  </a:cubicBezTo>
                  <a:cubicBezTo>
                    <a:pt x="16265" y="393"/>
                    <a:pt x="16265" y="393"/>
                    <a:pt x="16265" y="393"/>
                  </a:cubicBezTo>
                  <a:cubicBezTo>
                    <a:pt x="16165" y="393"/>
                    <a:pt x="16165" y="393"/>
                    <a:pt x="16165" y="393"/>
                  </a:cubicBezTo>
                  <a:cubicBezTo>
                    <a:pt x="16165" y="18065"/>
                    <a:pt x="16165" y="18065"/>
                    <a:pt x="16165" y="18065"/>
                  </a:cubicBezTo>
                  <a:cubicBezTo>
                    <a:pt x="16165" y="19244"/>
                    <a:pt x="16165" y="20029"/>
                    <a:pt x="16145" y="21207"/>
                  </a:cubicBezTo>
                  <a:cubicBezTo>
                    <a:pt x="16225" y="21207"/>
                    <a:pt x="16225" y="21207"/>
                    <a:pt x="16225" y="21207"/>
                  </a:cubicBezTo>
                  <a:cubicBezTo>
                    <a:pt x="16245" y="19636"/>
                    <a:pt x="16245" y="19636"/>
                    <a:pt x="16245" y="19636"/>
                  </a:cubicBezTo>
                  <a:cubicBezTo>
                    <a:pt x="16305" y="20815"/>
                    <a:pt x="16385" y="21600"/>
                    <a:pt x="16465" y="21600"/>
                  </a:cubicBezTo>
                  <a:cubicBezTo>
                    <a:pt x="16605" y="21600"/>
                    <a:pt x="16784" y="19636"/>
                    <a:pt x="16784" y="13745"/>
                  </a:cubicBezTo>
                  <a:cubicBezTo>
                    <a:pt x="16784" y="7855"/>
                    <a:pt x="16605" y="5891"/>
                    <a:pt x="16485" y="5891"/>
                  </a:cubicBezTo>
                  <a:moveTo>
                    <a:pt x="15086" y="9818"/>
                  </a:moveTo>
                  <a:cubicBezTo>
                    <a:pt x="15086" y="8640"/>
                    <a:pt x="15126" y="7855"/>
                    <a:pt x="15226" y="7855"/>
                  </a:cubicBezTo>
                  <a:cubicBezTo>
                    <a:pt x="15306" y="7855"/>
                    <a:pt x="15366" y="8247"/>
                    <a:pt x="15426" y="9818"/>
                  </a:cubicBezTo>
                  <a:cubicBezTo>
                    <a:pt x="15486" y="8640"/>
                    <a:pt x="15486" y="8640"/>
                    <a:pt x="15486" y="8640"/>
                  </a:cubicBezTo>
                  <a:cubicBezTo>
                    <a:pt x="15446" y="7069"/>
                    <a:pt x="15326" y="5891"/>
                    <a:pt x="15226" y="5891"/>
                  </a:cubicBezTo>
                  <a:cubicBezTo>
                    <a:pt x="15086" y="5891"/>
                    <a:pt x="14986" y="7462"/>
                    <a:pt x="14966" y="9818"/>
                  </a:cubicBezTo>
                  <a:cubicBezTo>
                    <a:pt x="14966" y="15316"/>
                    <a:pt x="15426" y="13353"/>
                    <a:pt x="15426" y="17280"/>
                  </a:cubicBezTo>
                  <a:cubicBezTo>
                    <a:pt x="15426" y="18458"/>
                    <a:pt x="15366" y="19636"/>
                    <a:pt x="15246" y="19636"/>
                  </a:cubicBezTo>
                  <a:cubicBezTo>
                    <a:pt x="15166" y="19636"/>
                    <a:pt x="15086" y="18851"/>
                    <a:pt x="15026" y="17673"/>
                  </a:cubicBezTo>
                  <a:cubicBezTo>
                    <a:pt x="14946" y="18851"/>
                    <a:pt x="14946" y="18851"/>
                    <a:pt x="14946" y="18851"/>
                  </a:cubicBezTo>
                  <a:cubicBezTo>
                    <a:pt x="15026" y="20422"/>
                    <a:pt x="15146" y="21600"/>
                    <a:pt x="15266" y="21600"/>
                  </a:cubicBezTo>
                  <a:cubicBezTo>
                    <a:pt x="15406" y="21600"/>
                    <a:pt x="15526" y="20029"/>
                    <a:pt x="15526" y="17280"/>
                  </a:cubicBezTo>
                  <a:cubicBezTo>
                    <a:pt x="15526" y="11389"/>
                    <a:pt x="15086" y="13353"/>
                    <a:pt x="15086" y="9818"/>
                  </a:cubicBezTo>
                  <a:moveTo>
                    <a:pt x="14567" y="5891"/>
                  </a:moveTo>
                  <a:cubicBezTo>
                    <a:pt x="14467" y="5891"/>
                    <a:pt x="14387" y="7069"/>
                    <a:pt x="14327" y="8247"/>
                  </a:cubicBezTo>
                  <a:cubicBezTo>
                    <a:pt x="14327" y="8247"/>
                    <a:pt x="14327" y="8247"/>
                    <a:pt x="14327" y="8247"/>
                  </a:cubicBezTo>
                  <a:cubicBezTo>
                    <a:pt x="14327" y="6284"/>
                    <a:pt x="14327" y="6284"/>
                    <a:pt x="14327" y="6284"/>
                  </a:cubicBezTo>
                  <a:cubicBezTo>
                    <a:pt x="14227" y="6284"/>
                    <a:pt x="14227" y="6284"/>
                    <a:pt x="14227" y="6284"/>
                  </a:cubicBezTo>
                  <a:cubicBezTo>
                    <a:pt x="14227" y="21207"/>
                    <a:pt x="14227" y="21207"/>
                    <a:pt x="14227" y="21207"/>
                  </a:cubicBezTo>
                  <a:cubicBezTo>
                    <a:pt x="14327" y="21207"/>
                    <a:pt x="14327" y="21207"/>
                    <a:pt x="14327" y="21207"/>
                  </a:cubicBezTo>
                  <a:cubicBezTo>
                    <a:pt x="14327" y="10211"/>
                    <a:pt x="14327" y="10211"/>
                    <a:pt x="14327" y="10211"/>
                  </a:cubicBezTo>
                  <a:cubicBezTo>
                    <a:pt x="14367" y="9033"/>
                    <a:pt x="14467" y="7855"/>
                    <a:pt x="14547" y="7855"/>
                  </a:cubicBezTo>
                  <a:cubicBezTo>
                    <a:pt x="14626" y="7855"/>
                    <a:pt x="14666" y="8247"/>
                    <a:pt x="14666" y="10211"/>
                  </a:cubicBezTo>
                  <a:cubicBezTo>
                    <a:pt x="14666" y="21207"/>
                    <a:pt x="14666" y="21207"/>
                    <a:pt x="14666" y="21207"/>
                  </a:cubicBezTo>
                  <a:cubicBezTo>
                    <a:pt x="14786" y="21207"/>
                    <a:pt x="14786" y="21207"/>
                    <a:pt x="14786" y="21207"/>
                  </a:cubicBezTo>
                  <a:cubicBezTo>
                    <a:pt x="14786" y="10211"/>
                    <a:pt x="14786" y="10211"/>
                    <a:pt x="14786" y="10211"/>
                  </a:cubicBezTo>
                  <a:cubicBezTo>
                    <a:pt x="14786" y="7069"/>
                    <a:pt x="14666" y="5891"/>
                    <a:pt x="14567" y="5891"/>
                  </a:cubicBezTo>
                  <a:moveTo>
                    <a:pt x="13887" y="17280"/>
                  </a:moveTo>
                  <a:cubicBezTo>
                    <a:pt x="13807" y="18851"/>
                    <a:pt x="13727" y="19636"/>
                    <a:pt x="13647" y="19636"/>
                  </a:cubicBezTo>
                  <a:cubicBezTo>
                    <a:pt x="13587" y="19636"/>
                    <a:pt x="13507" y="18851"/>
                    <a:pt x="13507" y="17673"/>
                  </a:cubicBezTo>
                  <a:cubicBezTo>
                    <a:pt x="13507" y="15316"/>
                    <a:pt x="13627" y="14138"/>
                    <a:pt x="13887" y="13353"/>
                  </a:cubicBezTo>
                  <a:lnTo>
                    <a:pt x="13887" y="17280"/>
                  </a:lnTo>
                  <a:close/>
                  <a:moveTo>
                    <a:pt x="13987" y="10604"/>
                  </a:moveTo>
                  <a:cubicBezTo>
                    <a:pt x="13987" y="7069"/>
                    <a:pt x="13847" y="5891"/>
                    <a:pt x="13727" y="5891"/>
                  </a:cubicBezTo>
                  <a:cubicBezTo>
                    <a:pt x="13567" y="5891"/>
                    <a:pt x="13488" y="7462"/>
                    <a:pt x="13428" y="9033"/>
                  </a:cubicBezTo>
                  <a:cubicBezTo>
                    <a:pt x="13527" y="10211"/>
                    <a:pt x="13527" y="10211"/>
                    <a:pt x="13527" y="10211"/>
                  </a:cubicBezTo>
                  <a:cubicBezTo>
                    <a:pt x="13547" y="9033"/>
                    <a:pt x="13607" y="7855"/>
                    <a:pt x="13727" y="7855"/>
                  </a:cubicBezTo>
                  <a:cubicBezTo>
                    <a:pt x="13807" y="7855"/>
                    <a:pt x="13887" y="8640"/>
                    <a:pt x="13887" y="10604"/>
                  </a:cubicBezTo>
                  <a:cubicBezTo>
                    <a:pt x="13887" y="11389"/>
                    <a:pt x="13887" y="11389"/>
                    <a:pt x="13887" y="11389"/>
                  </a:cubicBezTo>
                  <a:cubicBezTo>
                    <a:pt x="13547" y="12567"/>
                    <a:pt x="13408" y="14138"/>
                    <a:pt x="13408" y="17280"/>
                  </a:cubicBezTo>
                  <a:cubicBezTo>
                    <a:pt x="13408" y="20029"/>
                    <a:pt x="13507" y="21600"/>
                    <a:pt x="13627" y="21600"/>
                  </a:cubicBezTo>
                  <a:cubicBezTo>
                    <a:pt x="13747" y="21600"/>
                    <a:pt x="13827" y="20422"/>
                    <a:pt x="13887" y="19244"/>
                  </a:cubicBezTo>
                  <a:cubicBezTo>
                    <a:pt x="13887" y="21207"/>
                    <a:pt x="13887" y="21207"/>
                    <a:pt x="13887" y="21207"/>
                  </a:cubicBezTo>
                  <a:cubicBezTo>
                    <a:pt x="14007" y="21207"/>
                    <a:pt x="14007" y="21207"/>
                    <a:pt x="14007" y="21207"/>
                  </a:cubicBezTo>
                  <a:cubicBezTo>
                    <a:pt x="13987" y="20422"/>
                    <a:pt x="13987" y="19636"/>
                    <a:pt x="13987" y="18065"/>
                  </a:cubicBezTo>
                  <a:lnTo>
                    <a:pt x="13987" y="10604"/>
                  </a:lnTo>
                  <a:close/>
                  <a:moveTo>
                    <a:pt x="12988" y="7855"/>
                  </a:moveTo>
                  <a:cubicBezTo>
                    <a:pt x="13088" y="7855"/>
                    <a:pt x="13168" y="9425"/>
                    <a:pt x="13168" y="12567"/>
                  </a:cubicBezTo>
                  <a:cubicBezTo>
                    <a:pt x="12768" y="12567"/>
                    <a:pt x="12768" y="12567"/>
                    <a:pt x="12768" y="12567"/>
                  </a:cubicBezTo>
                  <a:cubicBezTo>
                    <a:pt x="12788" y="9425"/>
                    <a:pt x="12848" y="7855"/>
                    <a:pt x="12988" y="7855"/>
                  </a:cubicBezTo>
                  <a:moveTo>
                    <a:pt x="12988" y="19636"/>
                  </a:moveTo>
                  <a:cubicBezTo>
                    <a:pt x="12868" y="19636"/>
                    <a:pt x="12768" y="17673"/>
                    <a:pt x="12768" y="14138"/>
                  </a:cubicBezTo>
                  <a:cubicBezTo>
                    <a:pt x="13268" y="14138"/>
                    <a:pt x="13268" y="14138"/>
                    <a:pt x="13268" y="14138"/>
                  </a:cubicBezTo>
                  <a:cubicBezTo>
                    <a:pt x="13268" y="12960"/>
                    <a:pt x="13268" y="12960"/>
                    <a:pt x="13268" y="12960"/>
                  </a:cubicBezTo>
                  <a:cubicBezTo>
                    <a:pt x="13268" y="7855"/>
                    <a:pt x="13128" y="5891"/>
                    <a:pt x="12968" y="5891"/>
                  </a:cubicBezTo>
                  <a:cubicBezTo>
                    <a:pt x="12788" y="5891"/>
                    <a:pt x="12668" y="9033"/>
                    <a:pt x="12668" y="13745"/>
                  </a:cubicBezTo>
                  <a:cubicBezTo>
                    <a:pt x="12668" y="19244"/>
                    <a:pt x="12828" y="21600"/>
                    <a:pt x="12988" y="21600"/>
                  </a:cubicBezTo>
                  <a:cubicBezTo>
                    <a:pt x="13168" y="21600"/>
                    <a:pt x="13248" y="19636"/>
                    <a:pt x="13288" y="18065"/>
                  </a:cubicBezTo>
                  <a:cubicBezTo>
                    <a:pt x="13208" y="17280"/>
                    <a:pt x="13208" y="17280"/>
                    <a:pt x="13208" y="17280"/>
                  </a:cubicBezTo>
                  <a:cubicBezTo>
                    <a:pt x="13168" y="18851"/>
                    <a:pt x="13088" y="19636"/>
                    <a:pt x="12988" y="19636"/>
                  </a:cubicBezTo>
                  <a:moveTo>
                    <a:pt x="12269" y="5891"/>
                  </a:moveTo>
                  <a:cubicBezTo>
                    <a:pt x="12169" y="5891"/>
                    <a:pt x="12089" y="7069"/>
                    <a:pt x="12029" y="8247"/>
                  </a:cubicBezTo>
                  <a:cubicBezTo>
                    <a:pt x="11989" y="7069"/>
                    <a:pt x="11929" y="5891"/>
                    <a:pt x="11829" y="5891"/>
                  </a:cubicBezTo>
                  <a:cubicBezTo>
                    <a:pt x="11749" y="5891"/>
                    <a:pt x="11669" y="6676"/>
                    <a:pt x="11609" y="8247"/>
                  </a:cubicBezTo>
                  <a:cubicBezTo>
                    <a:pt x="11589" y="8247"/>
                    <a:pt x="11589" y="8247"/>
                    <a:pt x="11589" y="8247"/>
                  </a:cubicBezTo>
                  <a:cubicBezTo>
                    <a:pt x="11589" y="6284"/>
                    <a:pt x="11589" y="6284"/>
                    <a:pt x="11589" y="6284"/>
                  </a:cubicBezTo>
                  <a:cubicBezTo>
                    <a:pt x="11489" y="6284"/>
                    <a:pt x="11489" y="6284"/>
                    <a:pt x="11489" y="6284"/>
                  </a:cubicBezTo>
                  <a:cubicBezTo>
                    <a:pt x="11489" y="21207"/>
                    <a:pt x="11489" y="21207"/>
                    <a:pt x="11489" y="21207"/>
                  </a:cubicBezTo>
                  <a:cubicBezTo>
                    <a:pt x="11589" y="21207"/>
                    <a:pt x="11589" y="21207"/>
                    <a:pt x="11589" y="21207"/>
                  </a:cubicBezTo>
                  <a:cubicBezTo>
                    <a:pt x="11589" y="10211"/>
                    <a:pt x="11589" y="10211"/>
                    <a:pt x="11589" y="10211"/>
                  </a:cubicBezTo>
                  <a:cubicBezTo>
                    <a:pt x="11649" y="9033"/>
                    <a:pt x="11709" y="7855"/>
                    <a:pt x="11809" y="7855"/>
                  </a:cubicBezTo>
                  <a:cubicBezTo>
                    <a:pt x="11889" y="7855"/>
                    <a:pt x="11929" y="8640"/>
                    <a:pt x="11929" y="10604"/>
                  </a:cubicBezTo>
                  <a:cubicBezTo>
                    <a:pt x="11929" y="21207"/>
                    <a:pt x="11929" y="21207"/>
                    <a:pt x="11929" y="21207"/>
                  </a:cubicBezTo>
                  <a:cubicBezTo>
                    <a:pt x="12029" y="21207"/>
                    <a:pt x="12029" y="21207"/>
                    <a:pt x="12029" y="21207"/>
                  </a:cubicBezTo>
                  <a:cubicBezTo>
                    <a:pt x="12029" y="10211"/>
                    <a:pt x="12029" y="10211"/>
                    <a:pt x="12029" y="10211"/>
                  </a:cubicBezTo>
                  <a:cubicBezTo>
                    <a:pt x="12089" y="9033"/>
                    <a:pt x="12149" y="7855"/>
                    <a:pt x="12249" y="7855"/>
                  </a:cubicBezTo>
                  <a:cubicBezTo>
                    <a:pt x="12329" y="7855"/>
                    <a:pt x="12369" y="8640"/>
                    <a:pt x="12369" y="10604"/>
                  </a:cubicBezTo>
                  <a:cubicBezTo>
                    <a:pt x="12369" y="21207"/>
                    <a:pt x="12369" y="21207"/>
                    <a:pt x="12369" y="21207"/>
                  </a:cubicBezTo>
                  <a:cubicBezTo>
                    <a:pt x="12468" y="21207"/>
                    <a:pt x="12468" y="21207"/>
                    <a:pt x="12468" y="21207"/>
                  </a:cubicBezTo>
                  <a:cubicBezTo>
                    <a:pt x="12468" y="10604"/>
                    <a:pt x="12468" y="10604"/>
                    <a:pt x="12468" y="10604"/>
                  </a:cubicBezTo>
                  <a:cubicBezTo>
                    <a:pt x="12468" y="6676"/>
                    <a:pt x="12369" y="5891"/>
                    <a:pt x="12269" y="5891"/>
                  </a:cubicBezTo>
                  <a:moveTo>
                    <a:pt x="10550" y="5891"/>
                  </a:moveTo>
                  <a:cubicBezTo>
                    <a:pt x="10470" y="5891"/>
                    <a:pt x="10390" y="7069"/>
                    <a:pt x="10330" y="8247"/>
                  </a:cubicBezTo>
                  <a:cubicBezTo>
                    <a:pt x="10330" y="8247"/>
                    <a:pt x="10330" y="8247"/>
                    <a:pt x="10330" y="8247"/>
                  </a:cubicBezTo>
                  <a:cubicBezTo>
                    <a:pt x="10330" y="6284"/>
                    <a:pt x="10330" y="6284"/>
                    <a:pt x="10330" y="6284"/>
                  </a:cubicBezTo>
                  <a:cubicBezTo>
                    <a:pt x="10231" y="6284"/>
                    <a:pt x="10231" y="6284"/>
                    <a:pt x="10231" y="6284"/>
                  </a:cubicBezTo>
                  <a:cubicBezTo>
                    <a:pt x="10231" y="21207"/>
                    <a:pt x="10231" y="21207"/>
                    <a:pt x="10231" y="21207"/>
                  </a:cubicBezTo>
                  <a:cubicBezTo>
                    <a:pt x="10330" y="21207"/>
                    <a:pt x="10330" y="21207"/>
                    <a:pt x="10330" y="21207"/>
                  </a:cubicBezTo>
                  <a:cubicBezTo>
                    <a:pt x="10330" y="10211"/>
                    <a:pt x="10330" y="10211"/>
                    <a:pt x="10330" y="10211"/>
                  </a:cubicBezTo>
                  <a:cubicBezTo>
                    <a:pt x="10370" y="9033"/>
                    <a:pt x="10470" y="7855"/>
                    <a:pt x="10550" y="7855"/>
                  </a:cubicBezTo>
                  <a:cubicBezTo>
                    <a:pt x="10630" y="7855"/>
                    <a:pt x="10670" y="8247"/>
                    <a:pt x="10670" y="10211"/>
                  </a:cubicBezTo>
                  <a:cubicBezTo>
                    <a:pt x="10670" y="21207"/>
                    <a:pt x="10670" y="21207"/>
                    <a:pt x="10670" y="21207"/>
                  </a:cubicBezTo>
                  <a:cubicBezTo>
                    <a:pt x="10770" y="21207"/>
                    <a:pt x="10770" y="21207"/>
                    <a:pt x="10770" y="21207"/>
                  </a:cubicBezTo>
                  <a:cubicBezTo>
                    <a:pt x="10770" y="10211"/>
                    <a:pt x="10770" y="10211"/>
                    <a:pt x="10770" y="10211"/>
                  </a:cubicBezTo>
                  <a:cubicBezTo>
                    <a:pt x="10770" y="7069"/>
                    <a:pt x="10670" y="5891"/>
                    <a:pt x="10550" y="5891"/>
                  </a:cubicBezTo>
                  <a:moveTo>
                    <a:pt x="9711" y="19636"/>
                  </a:moveTo>
                  <a:cubicBezTo>
                    <a:pt x="9591" y="19636"/>
                    <a:pt x="9511" y="17673"/>
                    <a:pt x="9511" y="13745"/>
                  </a:cubicBezTo>
                  <a:cubicBezTo>
                    <a:pt x="9511" y="9818"/>
                    <a:pt x="9591" y="7855"/>
                    <a:pt x="9711" y="7855"/>
                  </a:cubicBezTo>
                  <a:cubicBezTo>
                    <a:pt x="9851" y="7855"/>
                    <a:pt x="9931" y="9818"/>
                    <a:pt x="9931" y="13745"/>
                  </a:cubicBezTo>
                  <a:cubicBezTo>
                    <a:pt x="9931" y="17673"/>
                    <a:pt x="9851" y="19636"/>
                    <a:pt x="9711" y="19636"/>
                  </a:cubicBezTo>
                  <a:moveTo>
                    <a:pt x="9711" y="5891"/>
                  </a:moveTo>
                  <a:cubicBezTo>
                    <a:pt x="9511" y="5891"/>
                    <a:pt x="9411" y="9425"/>
                    <a:pt x="9411" y="13745"/>
                  </a:cubicBezTo>
                  <a:cubicBezTo>
                    <a:pt x="9411" y="18065"/>
                    <a:pt x="9511" y="21600"/>
                    <a:pt x="9711" y="21600"/>
                  </a:cubicBezTo>
                  <a:cubicBezTo>
                    <a:pt x="9931" y="21600"/>
                    <a:pt x="10031" y="18065"/>
                    <a:pt x="10031" y="13745"/>
                  </a:cubicBezTo>
                  <a:cubicBezTo>
                    <a:pt x="10031" y="9425"/>
                    <a:pt x="9931" y="5891"/>
                    <a:pt x="9711" y="5891"/>
                  </a:cubicBezTo>
                  <a:moveTo>
                    <a:pt x="9092" y="21207"/>
                  </a:moveTo>
                  <a:cubicBezTo>
                    <a:pt x="9191" y="21207"/>
                    <a:pt x="9191" y="21207"/>
                    <a:pt x="9191" y="21207"/>
                  </a:cubicBezTo>
                  <a:cubicBezTo>
                    <a:pt x="9191" y="6284"/>
                    <a:pt x="9191" y="6284"/>
                    <a:pt x="9191" y="6284"/>
                  </a:cubicBezTo>
                  <a:cubicBezTo>
                    <a:pt x="9092" y="6284"/>
                    <a:pt x="9092" y="6284"/>
                    <a:pt x="9092" y="6284"/>
                  </a:cubicBezTo>
                  <a:lnTo>
                    <a:pt x="9092" y="21207"/>
                  </a:lnTo>
                  <a:close/>
                  <a:moveTo>
                    <a:pt x="9092" y="2749"/>
                  </a:moveTo>
                  <a:cubicBezTo>
                    <a:pt x="9191" y="2749"/>
                    <a:pt x="9191" y="2749"/>
                    <a:pt x="9191" y="2749"/>
                  </a:cubicBezTo>
                  <a:cubicBezTo>
                    <a:pt x="9191" y="0"/>
                    <a:pt x="9191" y="0"/>
                    <a:pt x="9191" y="0"/>
                  </a:cubicBezTo>
                  <a:cubicBezTo>
                    <a:pt x="9092" y="0"/>
                    <a:pt x="9092" y="0"/>
                    <a:pt x="9092" y="0"/>
                  </a:cubicBezTo>
                  <a:lnTo>
                    <a:pt x="9092" y="2749"/>
                  </a:lnTo>
                  <a:close/>
                  <a:moveTo>
                    <a:pt x="8692" y="18851"/>
                  </a:moveTo>
                  <a:cubicBezTo>
                    <a:pt x="8692" y="7855"/>
                    <a:pt x="8692" y="7855"/>
                    <a:pt x="8692" y="7855"/>
                  </a:cubicBezTo>
                  <a:cubicBezTo>
                    <a:pt x="8872" y="7855"/>
                    <a:pt x="8872" y="7855"/>
                    <a:pt x="8872" y="7855"/>
                  </a:cubicBezTo>
                  <a:cubicBezTo>
                    <a:pt x="8872" y="6284"/>
                    <a:pt x="8872" y="6284"/>
                    <a:pt x="8872" y="6284"/>
                  </a:cubicBezTo>
                  <a:cubicBezTo>
                    <a:pt x="8692" y="6284"/>
                    <a:pt x="8692" y="6284"/>
                    <a:pt x="8692" y="6284"/>
                  </a:cubicBezTo>
                  <a:cubicBezTo>
                    <a:pt x="8692" y="1178"/>
                    <a:pt x="8692" y="1178"/>
                    <a:pt x="8692" y="1178"/>
                  </a:cubicBezTo>
                  <a:cubicBezTo>
                    <a:pt x="8592" y="1178"/>
                    <a:pt x="8592" y="1178"/>
                    <a:pt x="8592" y="1178"/>
                  </a:cubicBezTo>
                  <a:cubicBezTo>
                    <a:pt x="8592" y="6284"/>
                    <a:pt x="8592" y="6284"/>
                    <a:pt x="8592" y="6284"/>
                  </a:cubicBezTo>
                  <a:cubicBezTo>
                    <a:pt x="8452" y="6284"/>
                    <a:pt x="8452" y="6284"/>
                    <a:pt x="8452" y="6284"/>
                  </a:cubicBezTo>
                  <a:cubicBezTo>
                    <a:pt x="8452" y="7855"/>
                    <a:pt x="8452" y="7855"/>
                    <a:pt x="8452" y="7855"/>
                  </a:cubicBezTo>
                  <a:cubicBezTo>
                    <a:pt x="8592" y="7855"/>
                    <a:pt x="8592" y="7855"/>
                    <a:pt x="8592" y="7855"/>
                  </a:cubicBezTo>
                  <a:cubicBezTo>
                    <a:pt x="8592" y="19244"/>
                    <a:pt x="8592" y="19244"/>
                    <a:pt x="8592" y="19244"/>
                  </a:cubicBezTo>
                  <a:cubicBezTo>
                    <a:pt x="8592" y="21207"/>
                    <a:pt x="8632" y="21600"/>
                    <a:pt x="8752" y="21600"/>
                  </a:cubicBezTo>
                  <a:cubicBezTo>
                    <a:pt x="8812" y="21600"/>
                    <a:pt x="8852" y="21600"/>
                    <a:pt x="8872" y="21207"/>
                  </a:cubicBezTo>
                  <a:cubicBezTo>
                    <a:pt x="8872" y="19636"/>
                    <a:pt x="8872" y="19636"/>
                    <a:pt x="8872" y="19636"/>
                  </a:cubicBezTo>
                  <a:cubicBezTo>
                    <a:pt x="8852" y="19636"/>
                    <a:pt x="8812" y="19636"/>
                    <a:pt x="8772" y="19636"/>
                  </a:cubicBezTo>
                  <a:cubicBezTo>
                    <a:pt x="8712" y="19636"/>
                    <a:pt x="8692" y="19636"/>
                    <a:pt x="8692" y="18851"/>
                  </a:cubicBezTo>
                  <a:moveTo>
                    <a:pt x="8232" y="17280"/>
                  </a:moveTo>
                  <a:cubicBezTo>
                    <a:pt x="8152" y="18851"/>
                    <a:pt x="8073" y="19636"/>
                    <a:pt x="7993" y="19636"/>
                  </a:cubicBezTo>
                  <a:cubicBezTo>
                    <a:pt x="7933" y="19636"/>
                    <a:pt x="7853" y="18851"/>
                    <a:pt x="7853" y="17673"/>
                  </a:cubicBezTo>
                  <a:cubicBezTo>
                    <a:pt x="7853" y="15316"/>
                    <a:pt x="7973" y="14138"/>
                    <a:pt x="8232" y="13353"/>
                  </a:cubicBezTo>
                  <a:lnTo>
                    <a:pt x="8232" y="17280"/>
                  </a:lnTo>
                  <a:close/>
                  <a:moveTo>
                    <a:pt x="8332" y="10604"/>
                  </a:moveTo>
                  <a:cubicBezTo>
                    <a:pt x="8332" y="7069"/>
                    <a:pt x="8192" y="5891"/>
                    <a:pt x="8073" y="5891"/>
                  </a:cubicBezTo>
                  <a:cubicBezTo>
                    <a:pt x="7913" y="5891"/>
                    <a:pt x="7833" y="7462"/>
                    <a:pt x="7773" y="9033"/>
                  </a:cubicBezTo>
                  <a:cubicBezTo>
                    <a:pt x="7873" y="10211"/>
                    <a:pt x="7873" y="10211"/>
                    <a:pt x="7873" y="10211"/>
                  </a:cubicBezTo>
                  <a:cubicBezTo>
                    <a:pt x="7893" y="9033"/>
                    <a:pt x="7953" y="7855"/>
                    <a:pt x="8073" y="7855"/>
                  </a:cubicBezTo>
                  <a:cubicBezTo>
                    <a:pt x="8152" y="7855"/>
                    <a:pt x="8232" y="8640"/>
                    <a:pt x="8232" y="10604"/>
                  </a:cubicBezTo>
                  <a:cubicBezTo>
                    <a:pt x="8232" y="11389"/>
                    <a:pt x="8232" y="11389"/>
                    <a:pt x="8232" y="11389"/>
                  </a:cubicBezTo>
                  <a:cubicBezTo>
                    <a:pt x="7893" y="12567"/>
                    <a:pt x="7753" y="14138"/>
                    <a:pt x="7753" y="17280"/>
                  </a:cubicBezTo>
                  <a:cubicBezTo>
                    <a:pt x="7753" y="20029"/>
                    <a:pt x="7853" y="21600"/>
                    <a:pt x="7973" y="21600"/>
                  </a:cubicBezTo>
                  <a:cubicBezTo>
                    <a:pt x="8093" y="21600"/>
                    <a:pt x="8172" y="20422"/>
                    <a:pt x="8232" y="19244"/>
                  </a:cubicBezTo>
                  <a:cubicBezTo>
                    <a:pt x="8232" y="21207"/>
                    <a:pt x="8232" y="21207"/>
                    <a:pt x="8232" y="21207"/>
                  </a:cubicBezTo>
                  <a:cubicBezTo>
                    <a:pt x="8352" y="21207"/>
                    <a:pt x="8352" y="21207"/>
                    <a:pt x="8352" y="21207"/>
                  </a:cubicBezTo>
                  <a:cubicBezTo>
                    <a:pt x="8332" y="20422"/>
                    <a:pt x="8332" y="19636"/>
                    <a:pt x="8332" y="18065"/>
                  </a:cubicBezTo>
                  <a:lnTo>
                    <a:pt x="8332" y="10604"/>
                  </a:lnTo>
                  <a:close/>
                  <a:moveTo>
                    <a:pt x="7353" y="18851"/>
                  </a:moveTo>
                  <a:cubicBezTo>
                    <a:pt x="7353" y="18851"/>
                    <a:pt x="7353" y="18851"/>
                    <a:pt x="7353" y="18851"/>
                  </a:cubicBezTo>
                  <a:cubicBezTo>
                    <a:pt x="7173" y="6284"/>
                    <a:pt x="7173" y="6284"/>
                    <a:pt x="7173" y="6284"/>
                  </a:cubicBezTo>
                  <a:cubicBezTo>
                    <a:pt x="7053" y="6284"/>
                    <a:pt x="7053" y="6284"/>
                    <a:pt x="7053" y="6284"/>
                  </a:cubicBezTo>
                  <a:cubicBezTo>
                    <a:pt x="7293" y="21207"/>
                    <a:pt x="7293" y="21207"/>
                    <a:pt x="7293" y="21207"/>
                  </a:cubicBezTo>
                  <a:cubicBezTo>
                    <a:pt x="7433" y="21207"/>
                    <a:pt x="7433" y="21207"/>
                    <a:pt x="7433" y="21207"/>
                  </a:cubicBezTo>
                  <a:cubicBezTo>
                    <a:pt x="7673" y="6284"/>
                    <a:pt x="7673" y="6284"/>
                    <a:pt x="7673" y="6284"/>
                  </a:cubicBezTo>
                  <a:cubicBezTo>
                    <a:pt x="7553" y="6284"/>
                    <a:pt x="7553" y="6284"/>
                    <a:pt x="7553" y="6284"/>
                  </a:cubicBezTo>
                  <a:lnTo>
                    <a:pt x="7353" y="18851"/>
                  </a:lnTo>
                  <a:close/>
                  <a:moveTo>
                    <a:pt x="6654" y="19636"/>
                  </a:moveTo>
                  <a:cubicBezTo>
                    <a:pt x="6534" y="19636"/>
                    <a:pt x="6454" y="17673"/>
                    <a:pt x="6454" y="13745"/>
                  </a:cubicBezTo>
                  <a:cubicBezTo>
                    <a:pt x="6454" y="9818"/>
                    <a:pt x="6534" y="7855"/>
                    <a:pt x="6654" y="7855"/>
                  </a:cubicBezTo>
                  <a:cubicBezTo>
                    <a:pt x="6794" y="7855"/>
                    <a:pt x="6874" y="9818"/>
                    <a:pt x="6874" y="13745"/>
                  </a:cubicBezTo>
                  <a:cubicBezTo>
                    <a:pt x="6874" y="17673"/>
                    <a:pt x="6794" y="19636"/>
                    <a:pt x="6654" y="19636"/>
                  </a:cubicBezTo>
                  <a:moveTo>
                    <a:pt x="6654" y="5891"/>
                  </a:moveTo>
                  <a:cubicBezTo>
                    <a:pt x="6454" y="5891"/>
                    <a:pt x="6354" y="9425"/>
                    <a:pt x="6354" y="13745"/>
                  </a:cubicBezTo>
                  <a:cubicBezTo>
                    <a:pt x="6354" y="18065"/>
                    <a:pt x="6454" y="21600"/>
                    <a:pt x="6654" y="21600"/>
                  </a:cubicBezTo>
                  <a:cubicBezTo>
                    <a:pt x="6874" y="21600"/>
                    <a:pt x="6974" y="18065"/>
                    <a:pt x="6974" y="13745"/>
                  </a:cubicBezTo>
                  <a:cubicBezTo>
                    <a:pt x="6974" y="9425"/>
                    <a:pt x="6874" y="5891"/>
                    <a:pt x="6654" y="5891"/>
                  </a:cubicBezTo>
                  <a:moveTo>
                    <a:pt x="5935" y="5891"/>
                  </a:moveTo>
                  <a:cubicBezTo>
                    <a:pt x="5855" y="5891"/>
                    <a:pt x="5775" y="7069"/>
                    <a:pt x="5715" y="8247"/>
                  </a:cubicBezTo>
                  <a:cubicBezTo>
                    <a:pt x="5695" y="8247"/>
                    <a:pt x="5695" y="8247"/>
                    <a:pt x="5695" y="8247"/>
                  </a:cubicBezTo>
                  <a:cubicBezTo>
                    <a:pt x="5695" y="6284"/>
                    <a:pt x="5695" y="6284"/>
                    <a:pt x="5695" y="6284"/>
                  </a:cubicBezTo>
                  <a:cubicBezTo>
                    <a:pt x="5595" y="6284"/>
                    <a:pt x="5595" y="6284"/>
                    <a:pt x="5595" y="6284"/>
                  </a:cubicBezTo>
                  <a:cubicBezTo>
                    <a:pt x="5595" y="21207"/>
                    <a:pt x="5595" y="21207"/>
                    <a:pt x="5595" y="21207"/>
                  </a:cubicBezTo>
                  <a:cubicBezTo>
                    <a:pt x="5695" y="21207"/>
                    <a:pt x="5695" y="21207"/>
                    <a:pt x="5695" y="21207"/>
                  </a:cubicBezTo>
                  <a:cubicBezTo>
                    <a:pt x="5695" y="10211"/>
                    <a:pt x="5695" y="10211"/>
                    <a:pt x="5695" y="10211"/>
                  </a:cubicBezTo>
                  <a:cubicBezTo>
                    <a:pt x="5755" y="9033"/>
                    <a:pt x="5835" y="7855"/>
                    <a:pt x="5915" y="7855"/>
                  </a:cubicBezTo>
                  <a:cubicBezTo>
                    <a:pt x="5994" y="7855"/>
                    <a:pt x="6054" y="8247"/>
                    <a:pt x="6054" y="10211"/>
                  </a:cubicBezTo>
                  <a:cubicBezTo>
                    <a:pt x="6054" y="21207"/>
                    <a:pt x="6054" y="21207"/>
                    <a:pt x="6054" y="21207"/>
                  </a:cubicBezTo>
                  <a:cubicBezTo>
                    <a:pt x="6154" y="21207"/>
                    <a:pt x="6154" y="21207"/>
                    <a:pt x="6154" y="21207"/>
                  </a:cubicBezTo>
                  <a:cubicBezTo>
                    <a:pt x="6154" y="10211"/>
                    <a:pt x="6154" y="10211"/>
                    <a:pt x="6154" y="10211"/>
                  </a:cubicBezTo>
                  <a:cubicBezTo>
                    <a:pt x="6154" y="7069"/>
                    <a:pt x="6054" y="5891"/>
                    <a:pt x="5935" y="5891"/>
                  </a:cubicBezTo>
                  <a:moveTo>
                    <a:pt x="5115" y="5891"/>
                  </a:moveTo>
                  <a:cubicBezTo>
                    <a:pt x="5015" y="5891"/>
                    <a:pt x="4935" y="7069"/>
                    <a:pt x="4875" y="8247"/>
                  </a:cubicBezTo>
                  <a:cubicBezTo>
                    <a:pt x="4875" y="8247"/>
                    <a:pt x="4875" y="8247"/>
                    <a:pt x="4875" y="8247"/>
                  </a:cubicBezTo>
                  <a:cubicBezTo>
                    <a:pt x="4875" y="6284"/>
                    <a:pt x="4875" y="6284"/>
                    <a:pt x="4875" y="6284"/>
                  </a:cubicBezTo>
                  <a:cubicBezTo>
                    <a:pt x="4776" y="6284"/>
                    <a:pt x="4776" y="6284"/>
                    <a:pt x="4776" y="6284"/>
                  </a:cubicBezTo>
                  <a:cubicBezTo>
                    <a:pt x="4776" y="21207"/>
                    <a:pt x="4776" y="21207"/>
                    <a:pt x="4776" y="21207"/>
                  </a:cubicBezTo>
                  <a:cubicBezTo>
                    <a:pt x="4875" y="21207"/>
                    <a:pt x="4875" y="21207"/>
                    <a:pt x="4875" y="21207"/>
                  </a:cubicBezTo>
                  <a:cubicBezTo>
                    <a:pt x="4875" y="10211"/>
                    <a:pt x="4875" y="10211"/>
                    <a:pt x="4875" y="10211"/>
                  </a:cubicBezTo>
                  <a:cubicBezTo>
                    <a:pt x="4915" y="9033"/>
                    <a:pt x="5015" y="7855"/>
                    <a:pt x="5095" y="7855"/>
                  </a:cubicBezTo>
                  <a:cubicBezTo>
                    <a:pt x="5175" y="7855"/>
                    <a:pt x="5215" y="8247"/>
                    <a:pt x="5215" y="10211"/>
                  </a:cubicBezTo>
                  <a:cubicBezTo>
                    <a:pt x="5215" y="21207"/>
                    <a:pt x="5215" y="21207"/>
                    <a:pt x="5215" y="21207"/>
                  </a:cubicBezTo>
                  <a:cubicBezTo>
                    <a:pt x="5335" y="21207"/>
                    <a:pt x="5335" y="21207"/>
                    <a:pt x="5335" y="21207"/>
                  </a:cubicBezTo>
                  <a:cubicBezTo>
                    <a:pt x="5335" y="10211"/>
                    <a:pt x="5335" y="10211"/>
                    <a:pt x="5335" y="10211"/>
                  </a:cubicBezTo>
                  <a:cubicBezTo>
                    <a:pt x="5335" y="7069"/>
                    <a:pt x="5215" y="5891"/>
                    <a:pt x="5115" y="5891"/>
                  </a:cubicBezTo>
                  <a:moveTo>
                    <a:pt x="4376" y="2749"/>
                  </a:moveTo>
                  <a:cubicBezTo>
                    <a:pt x="4476" y="2749"/>
                    <a:pt x="4476" y="2749"/>
                    <a:pt x="4476" y="2749"/>
                  </a:cubicBezTo>
                  <a:cubicBezTo>
                    <a:pt x="4476" y="0"/>
                    <a:pt x="4476" y="0"/>
                    <a:pt x="4476" y="0"/>
                  </a:cubicBezTo>
                  <a:cubicBezTo>
                    <a:pt x="4376" y="0"/>
                    <a:pt x="4376" y="0"/>
                    <a:pt x="4376" y="0"/>
                  </a:cubicBezTo>
                  <a:lnTo>
                    <a:pt x="4376" y="2749"/>
                  </a:lnTo>
                  <a:close/>
                  <a:moveTo>
                    <a:pt x="4376" y="21207"/>
                  </a:moveTo>
                  <a:cubicBezTo>
                    <a:pt x="4476" y="21207"/>
                    <a:pt x="4476" y="21207"/>
                    <a:pt x="4476" y="21207"/>
                  </a:cubicBezTo>
                  <a:cubicBezTo>
                    <a:pt x="4476" y="6284"/>
                    <a:pt x="4476" y="6284"/>
                    <a:pt x="4476" y="6284"/>
                  </a:cubicBezTo>
                  <a:cubicBezTo>
                    <a:pt x="4376" y="6284"/>
                    <a:pt x="4376" y="6284"/>
                    <a:pt x="4376" y="6284"/>
                  </a:cubicBezTo>
                  <a:lnTo>
                    <a:pt x="4376" y="21207"/>
                  </a:lnTo>
                  <a:close/>
                  <a:moveTo>
                    <a:pt x="3397" y="7855"/>
                  </a:moveTo>
                  <a:cubicBezTo>
                    <a:pt x="3517" y="7855"/>
                    <a:pt x="3577" y="9425"/>
                    <a:pt x="3577" y="12567"/>
                  </a:cubicBezTo>
                  <a:cubicBezTo>
                    <a:pt x="3197" y="12567"/>
                    <a:pt x="3197" y="12567"/>
                    <a:pt x="3197" y="12567"/>
                  </a:cubicBezTo>
                  <a:cubicBezTo>
                    <a:pt x="3197" y="9425"/>
                    <a:pt x="3277" y="7855"/>
                    <a:pt x="3397" y="7855"/>
                  </a:cubicBezTo>
                  <a:moveTo>
                    <a:pt x="3417" y="19636"/>
                  </a:moveTo>
                  <a:cubicBezTo>
                    <a:pt x="3297" y="19636"/>
                    <a:pt x="3197" y="17673"/>
                    <a:pt x="3197" y="14138"/>
                  </a:cubicBezTo>
                  <a:cubicBezTo>
                    <a:pt x="3697" y="14138"/>
                    <a:pt x="3697" y="14138"/>
                    <a:pt x="3697" y="14138"/>
                  </a:cubicBezTo>
                  <a:cubicBezTo>
                    <a:pt x="3697" y="12960"/>
                    <a:pt x="3697" y="12960"/>
                    <a:pt x="3697" y="12960"/>
                  </a:cubicBezTo>
                  <a:cubicBezTo>
                    <a:pt x="3697" y="7855"/>
                    <a:pt x="3557" y="5891"/>
                    <a:pt x="3397" y="5891"/>
                  </a:cubicBezTo>
                  <a:cubicBezTo>
                    <a:pt x="3217" y="5891"/>
                    <a:pt x="3077" y="9033"/>
                    <a:pt x="3077" y="13745"/>
                  </a:cubicBezTo>
                  <a:cubicBezTo>
                    <a:pt x="3077" y="19244"/>
                    <a:pt x="3257" y="21600"/>
                    <a:pt x="3417" y="21600"/>
                  </a:cubicBezTo>
                  <a:cubicBezTo>
                    <a:pt x="3597" y="21600"/>
                    <a:pt x="3657" y="19636"/>
                    <a:pt x="3717" y="18065"/>
                  </a:cubicBezTo>
                  <a:cubicBezTo>
                    <a:pt x="3637" y="17280"/>
                    <a:pt x="3637" y="17280"/>
                    <a:pt x="3637" y="17280"/>
                  </a:cubicBezTo>
                  <a:cubicBezTo>
                    <a:pt x="3597" y="18851"/>
                    <a:pt x="3517" y="19636"/>
                    <a:pt x="3417" y="19636"/>
                  </a:cubicBezTo>
                  <a:moveTo>
                    <a:pt x="2737" y="9033"/>
                  </a:moveTo>
                  <a:cubicBezTo>
                    <a:pt x="2737" y="9033"/>
                    <a:pt x="2737" y="9033"/>
                    <a:pt x="2737" y="9033"/>
                  </a:cubicBezTo>
                  <a:cubicBezTo>
                    <a:pt x="2737" y="6284"/>
                    <a:pt x="2737" y="6284"/>
                    <a:pt x="2737" y="6284"/>
                  </a:cubicBezTo>
                  <a:cubicBezTo>
                    <a:pt x="2638" y="6284"/>
                    <a:pt x="2638" y="6284"/>
                    <a:pt x="2638" y="6284"/>
                  </a:cubicBezTo>
                  <a:cubicBezTo>
                    <a:pt x="2638" y="21207"/>
                    <a:pt x="2638" y="21207"/>
                    <a:pt x="2638" y="21207"/>
                  </a:cubicBezTo>
                  <a:cubicBezTo>
                    <a:pt x="2737" y="21207"/>
                    <a:pt x="2737" y="21207"/>
                    <a:pt x="2737" y="21207"/>
                  </a:cubicBezTo>
                  <a:cubicBezTo>
                    <a:pt x="2737" y="12960"/>
                    <a:pt x="2737" y="12960"/>
                    <a:pt x="2737" y="12960"/>
                  </a:cubicBezTo>
                  <a:cubicBezTo>
                    <a:pt x="2797" y="9818"/>
                    <a:pt x="2857" y="8247"/>
                    <a:pt x="2997" y="8247"/>
                  </a:cubicBezTo>
                  <a:cubicBezTo>
                    <a:pt x="2997" y="5891"/>
                    <a:pt x="2997" y="5891"/>
                    <a:pt x="2997" y="5891"/>
                  </a:cubicBezTo>
                  <a:cubicBezTo>
                    <a:pt x="2857" y="5891"/>
                    <a:pt x="2797" y="7069"/>
                    <a:pt x="2737" y="9033"/>
                  </a:cubicBezTo>
                  <a:moveTo>
                    <a:pt x="2158" y="7855"/>
                  </a:moveTo>
                  <a:cubicBezTo>
                    <a:pt x="2278" y="7855"/>
                    <a:pt x="2338" y="9425"/>
                    <a:pt x="2338" y="12567"/>
                  </a:cubicBezTo>
                  <a:cubicBezTo>
                    <a:pt x="1958" y="12567"/>
                    <a:pt x="1958" y="12567"/>
                    <a:pt x="1958" y="12567"/>
                  </a:cubicBezTo>
                  <a:cubicBezTo>
                    <a:pt x="1958" y="9425"/>
                    <a:pt x="2038" y="7855"/>
                    <a:pt x="2158" y="7855"/>
                  </a:cubicBezTo>
                  <a:moveTo>
                    <a:pt x="2178" y="19636"/>
                  </a:moveTo>
                  <a:cubicBezTo>
                    <a:pt x="2058" y="19636"/>
                    <a:pt x="1958" y="17673"/>
                    <a:pt x="1958" y="14138"/>
                  </a:cubicBezTo>
                  <a:cubicBezTo>
                    <a:pt x="2458" y="14138"/>
                    <a:pt x="2458" y="14138"/>
                    <a:pt x="2458" y="14138"/>
                  </a:cubicBezTo>
                  <a:cubicBezTo>
                    <a:pt x="2458" y="12960"/>
                    <a:pt x="2458" y="12960"/>
                    <a:pt x="2458" y="12960"/>
                  </a:cubicBezTo>
                  <a:cubicBezTo>
                    <a:pt x="2458" y="7855"/>
                    <a:pt x="2318" y="5891"/>
                    <a:pt x="2158" y="5891"/>
                  </a:cubicBezTo>
                  <a:cubicBezTo>
                    <a:pt x="1978" y="5891"/>
                    <a:pt x="1838" y="9033"/>
                    <a:pt x="1838" y="13745"/>
                  </a:cubicBezTo>
                  <a:cubicBezTo>
                    <a:pt x="1838" y="19244"/>
                    <a:pt x="2018" y="21600"/>
                    <a:pt x="2178" y="21600"/>
                  </a:cubicBezTo>
                  <a:cubicBezTo>
                    <a:pt x="2358" y="21600"/>
                    <a:pt x="2418" y="19636"/>
                    <a:pt x="2478" y="18065"/>
                  </a:cubicBezTo>
                  <a:cubicBezTo>
                    <a:pt x="2398" y="17280"/>
                    <a:pt x="2398" y="17280"/>
                    <a:pt x="2398" y="17280"/>
                  </a:cubicBezTo>
                  <a:cubicBezTo>
                    <a:pt x="2358" y="18851"/>
                    <a:pt x="2278" y="19636"/>
                    <a:pt x="2178" y="19636"/>
                  </a:cubicBezTo>
                  <a:moveTo>
                    <a:pt x="1439" y="5891"/>
                  </a:moveTo>
                  <a:cubicBezTo>
                    <a:pt x="1339" y="5891"/>
                    <a:pt x="1259" y="7069"/>
                    <a:pt x="1199" y="8247"/>
                  </a:cubicBezTo>
                  <a:cubicBezTo>
                    <a:pt x="1199" y="8247"/>
                    <a:pt x="1199" y="8247"/>
                    <a:pt x="1199" y="8247"/>
                  </a:cubicBezTo>
                  <a:cubicBezTo>
                    <a:pt x="1199" y="393"/>
                    <a:pt x="1199" y="393"/>
                    <a:pt x="1199" y="393"/>
                  </a:cubicBezTo>
                  <a:cubicBezTo>
                    <a:pt x="1099" y="393"/>
                    <a:pt x="1099" y="393"/>
                    <a:pt x="1099" y="393"/>
                  </a:cubicBezTo>
                  <a:cubicBezTo>
                    <a:pt x="1099" y="21207"/>
                    <a:pt x="1099" y="21207"/>
                    <a:pt x="1099" y="21207"/>
                  </a:cubicBezTo>
                  <a:cubicBezTo>
                    <a:pt x="1199" y="21207"/>
                    <a:pt x="1199" y="21207"/>
                    <a:pt x="1199" y="21207"/>
                  </a:cubicBezTo>
                  <a:cubicBezTo>
                    <a:pt x="1199" y="10211"/>
                    <a:pt x="1199" y="10211"/>
                    <a:pt x="1199" y="10211"/>
                  </a:cubicBezTo>
                  <a:cubicBezTo>
                    <a:pt x="1239" y="9033"/>
                    <a:pt x="1339" y="7855"/>
                    <a:pt x="1419" y="7855"/>
                  </a:cubicBezTo>
                  <a:cubicBezTo>
                    <a:pt x="1499" y="7855"/>
                    <a:pt x="1539" y="8247"/>
                    <a:pt x="1539" y="10211"/>
                  </a:cubicBezTo>
                  <a:cubicBezTo>
                    <a:pt x="1539" y="21207"/>
                    <a:pt x="1539" y="21207"/>
                    <a:pt x="1539" y="21207"/>
                  </a:cubicBezTo>
                  <a:cubicBezTo>
                    <a:pt x="1658" y="21207"/>
                    <a:pt x="1658" y="21207"/>
                    <a:pt x="1658" y="21207"/>
                  </a:cubicBezTo>
                  <a:cubicBezTo>
                    <a:pt x="1658" y="10211"/>
                    <a:pt x="1658" y="10211"/>
                    <a:pt x="1658" y="10211"/>
                  </a:cubicBezTo>
                  <a:cubicBezTo>
                    <a:pt x="1658" y="7069"/>
                    <a:pt x="1539" y="5891"/>
                    <a:pt x="1439" y="5891"/>
                  </a:cubicBezTo>
                  <a:moveTo>
                    <a:pt x="679" y="18065"/>
                  </a:moveTo>
                  <a:cubicBezTo>
                    <a:pt x="679" y="18065"/>
                    <a:pt x="679" y="18065"/>
                    <a:pt x="679" y="18065"/>
                  </a:cubicBezTo>
                  <a:cubicBezTo>
                    <a:pt x="520" y="6284"/>
                    <a:pt x="520" y="6284"/>
                    <a:pt x="520" y="6284"/>
                  </a:cubicBezTo>
                  <a:cubicBezTo>
                    <a:pt x="420" y="6284"/>
                    <a:pt x="420" y="6284"/>
                    <a:pt x="420" y="6284"/>
                  </a:cubicBezTo>
                  <a:cubicBezTo>
                    <a:pt x="260" y="17673"/>
                    <a:pt x="260" y="17673"/>
                    <a:pt x="260" y="17673"/>
                  </a:cubicBezTo>
                  <a:cubicBezTo>
                    <a:pt x="260" y="17673"/>
                    <a:pt x="260" y="17673"/>
                    <a:pt x="260" y="17673"/>
                  </a:cubicBezTo>
                  <a:cubicBezTo>
                    <a:pt x="100" y="6284"/>
                    <a:pt x="100" y="6284"/>
                    <a:pt x="100" y="6284"/>
                  </a:cubicBezTo>
                  <a:cubicBezTo>
                    <a:pt x="0" y="6284"/>
                    <a:pt x="0" y="6284"/>
                    <a:pt x="0" y="6284"/>
                  </a:cubicBezTo>
                  <a:cubicBezTo>
                    <a:pt x="200" y="21207"/>
                    <a:pt x="200" y="21207"/>
                    <a:pt x="200" y="21207"/>
                  </a:cubicBezTo>
                  <a:cubicBezTo>
                    <a:pt x="320" y="21207"/>
                    <a:pt x="320" y="21207"/>
                    <a:pt x="320" y="21207"/>
                  </a:cubicBezTo>
                  <a:cubicBezTo>
                    <a:pt x="460" y="9818"/>
                    <a:pt x="460" y="9818"/>
                    <a:pt x="460" y="9818"/>
                  </a:cubicBezTo>
                  <a:cubicBezTo>
                    <a:pt x="460" y="9818"/>
                    <a:pt x="460" y="9818"/>
                    <a:pt x="460" y="9818"/>
                  </a:cubicBezTo>
                  <a:cubicBezTo>
                    <a:pt x="619" y="21207"/>
                    <a:pt x="619" y="21207"/>
                    <a:pt x="619" y="21207"/>
                  </a:cubicBezTo>
                  <a:cubicBezTo>
                    <a:pt x="719" y="21207"/>
                    <a:pt x="719" y="21207"/>
                    <a:pt x="719" y="21207"/>
                  </a:cubicBezTo>
                  <a:cubicBezTo>
                    <a:pt x="939" y="6284"/>
                    <a:pt x="939" y="6284"/>
                    <a:pt x="939" y="6284"/>
                  </a:cubicBezTo>
                  <a:cubicBezTo>
                    <a:pt x="819" y="6284"/>
                    <a:pt x="819" y="6284"/>
                    <a:pt x="819" y="6284"/>
                  </a:cubicBezTo>
                  <a:lnTo>
                    <a:pt x="679" y="18065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  <p:sp>
          <p:nvSpPr>
            <p:cNvPr id="269" name="Freeform 7"/>
            <p:cNvSpPr/>
            <p:nvPr/>
          </p:nvSpPr>
          <p:spPr>
            <a:xfrm>
              <a:off x="-1" y="82549"/>
              <a:ext cx="363539" cy="3032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095" y="5445"/>
                  </a:moveTo>
                  <a:cubicBezTo>
                    <a:pt x="20020" y="5445"/>
                    <a:pt x="20020" y="5445"/>
                    <a:pt x="20020" y="5445"/>
                  </a:cubicBezTo>
                  <a:cubicBezTo>
                    <a:pt x="19192" y="5445"/>
                    <a:pt x="18514" y="6353"/>
                    <a:pt x="18514" y="7351"/>
                  </a:cubicBezTo>
                  <a:cubicBezTo>
                    <a:pt x="18514" y="13160"/>
                    <a:pt x="14601" y="17879"/>
                    <a:pt x="9784" y="17879"/>
                  </a:cubicBezTo>
                  <a:cubicBezTo>
                    <a:pt x="6096" y="17879"/>
                    <a:pt x="3086" y="14249"/>
                    <a:pt x="3086" y="9802"/>
                  </a:cubicBezTo>
                  <a:cubicBezTo>
                    <a:pt x="3086" y="6444"/>
                    <a:pt x="5344" y="3721"/>
                    <a:pt x="8128" y="3721"/>
                  </a:cubicBezTo>
                  <a:cubicBezTo>
                    <a:pt x="10236" y="3721"/>
                    <a:pt x="11891" y="5718"/>
                    <a:pt x="11891" y="8168"/>
                  </a:cubicBezTo>
                  <a:cubicBezTo>
                    <a:pt x="11891" y="8440"/>
                    <a:pt x="11816" y="8531"/>
                    <a:pt x="11816" y="8622"/>
                  </a:cubicBezTo>
                  <a:cubicBezTo>
                    <a:pt x="11666" y="8713"/>
                    <a:pt x="11214" y="8713"/>
                    <a:pt x="10762" y="8713"/>
                  </a:cubicBezTo>
                  <a:cubicBezTo>
                    <a:pt x="10537" y="8713"/>
                    <a:pt x="10311" y="8713"/>
                    <a:pt x="10085" y="8713"/>
                  </a:cubicBezTo>
                  <a:cubicBezTo>
                    <a:pt x="9784" y="8713"/>
                    <a:pt x="9483" y="8713"/>
                    <a:pt x="9182" y="8713"/>
                  </a:cubicBezTo>
                  <a:cubicBezTo>
                    <a:pt x="8354" y="8713"/>
                    <a:pt x="7677" y="9529"/>
                    <a:pt x="7677" y="10528"/>
                  </a:cubicBezTo>
                  <a:cubicBezTo>
                    <a:pt x="7677" y="10528"/>
                    <a:pt x="7677" y="10528"/>
                    <a:pt x="7677" y="10528"/>
                  </a:cubicBezTo>
                  <a:cubicBezTo>
                    <a:pt x="7677" y="11526"/>
                    <a:pt x="8354" y="12434"/>
                    <a:pt x="9182" y="12434"/>
                  </a:cubicBezTo>
                  <a:cubicBezTo>
                    <a:pt x="9483" y="12434"/>
                    <a:pt x="9784" y="12434"/>
                    <a:pt x="10010" y="12434"/>
                  </a:cubicBezTo>
                  <a:cubicBezTo>
                    <a:pt x="10311" y="12434"/>
                    <a:pt x="10537" y="12434"/>
                    <a:pt x="10838" y="12434"/>
                  </a:cubicBezTo>
                  <a:cubicBezTo>
                    <a:pt x="12042" y="12434"/>
                    <a:pt x="13171" y="12252"/>
                    <a:pt x="13999" y="11254"/>
                  </a:cubicBezTo>
                  <a:cubicBezTo>
                    <a:pt x="14601" y="10528"/>
                    <a:pt x="14977" y="9529"/>
                    <a:pt x="14977" y="8168"/>
                  </a:cubicBezTo>
                  <a:cubicBezTo>
                    <a:pt x="14977" y="3721"/>
                    <a:pt x="11891" y="0"/>
                    <a:pt x="8128" y="0"/>
                  </a:cubicBezTo>
                  <a:cubicBezTo>
                    <a:pt x="3688" y="0"/>
                    <a:pt x="0" y="4447"/>
                    <a:pt x="0" y="9802"/>
                  </a:cubicBezTo>
                  <a:cubicBezTo>
                    <a:pt x="0" y="16245"/>
                    <a:pt x="4440" y="21600"/>
                    <a:pt x="9784" y="21600"/>
                  </a:cubicBezTo>
                  <a:cubicBezTo>
                    <a:pt x="16256" y="21600"/>
                    <a:pt x="21600" y="15156"/>
                    <a:pt x="21600" y="7351"/>
                  </a:cubicBezTo>
                  <a:cubicBezTo>
                    <a:pt x="21600" y="6353"/>
                    <a:pt x="20923" y="5445"/>
                    <a:pt x="20095" y="5445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  <p:sp>
          <p:nvSpPr>
            <p:cNvPr id="270" name="Freeform 8"/>
            <p:cNvSpPr/>
            <p:nvPr/>
          </p:nvSpPr>
          <p:spPr>
            <a:xfrm>
              <a:off x="295275" y="-1"/>
              <a:ext cx="85726" cy="873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5247"/>
                  </a:moveTo>
                  <a:cubicBezTo>
                    <a:pt x="8259" y="15247"/>
                    <a:pt x="6353" y="13341"/>
                    <a:pt x="6353" y="10800"/>
                  </a:cubicBezTo>
                  <a:cubicBezTo>
                    <a:pt x="6353" y="8576"/>
                    <a:pt x="8259" y="6671"/>
                    <a:pt x="10800" y="6671"/>
                  </a:cubicBezTo>
                  <a:cubicBezTo>
                    <a:pt x="13024" y="6671"/>
                    <a:pt x="14929" y="8576"/>
                    <a:pt x="14929" y="10800"/>
                  </a:cubicBezTo>
                  <a:cubicBezTo>
                    <a:pt x="14929" y="13341"/>
                    <a:pt x="13024" y="15247"/>
                    <a:pt x="10800" y="15247"/>
                  </a:cubicBezTo>
                  <a:moveTo>
                    <a:pt x="10800" y="0"/>
                  </a:moveTo>
                  <a:cubicBezTo>
                    <a:pt x="10800" y="0"/>
                    <a:pt x="10800" y="0"/>
                    <a:pt x="10800" y="0"/>
                  </a:cubicBezTo>
                  <a:cubicBezTo>
                    <a:pt x="4765" y="0"/>
                    <a:pt x="0" y="4765"/>
                    <a:pt x="0" y="10800"/>
                  </a:cubicBezTo>
                  <a:cubicBezTo>
                    <a:pt x="0" y="16835"/>
                    <a:pt x="4765" y="21600"/>
                    <a:pt x="10800" y="21600"/>
                  </a:cubicBezTo>
                  <a:cubicBezTo>
                    <a:pt x="16835" y="21600"/>
                    <a:pt x="21600" y="16835"/>
                    <a:pt x="21600" y="10800"/>
                  </a:cubicBezTo>
                  <a:cubicBezTo>
                    <a:pt x="21600" y="4765"/>
                    <a:pt x="16835" y="0"/>
                    <a:pt x="10800" y="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</p:grpSp>
      <p:sp>
        <p:nvSpPr>
          <p:cNvPr id="272" name="Title Text"/>
          <p:cNvSpPr txBox="1">
            <a:spLocks noGrp="1"/>
          </p:cNvSpPr>
          <p:nvPr>
            <p:ph type="title"/>
          </p:nvPr>
        </p:nvSpPr>
        <p:spPr>
          <a:xfrm>
            <a:off x="853773" y="8356"/>
            <a:ext cx="10426701" cy="1933006"/>
          </a:xfrm>
          <a:prstGeom prst="rect">
            <a:avLst/>
          </a:prstGeom>
        </p:spPr>
        <p:txBody>
          <a:bodyPr/>
          <a:lstStyle>
            <a:lvl1pPr>
              <a:defRPr sz="3200" b="0" i="0">
                <a:solidFill>
                  <a:srgbClr val="FFFFFF"/>
                </a:solidFill>
                <a:latin typeface="Arial Regular"/>
                <a:ea typeface="+mj-ea"/>
                <a:cs typeface="+mj-cs"/>
                <a:sym typeface="Calibri"/>
              </a:defRPr>
            </a:lvl1pPr>
          </a:lstStyle>
          <a:p>
            <a:r>
              <a:rPr dirty="0"/>
              <a:t>Title Text</a:t>
            </a:r>
          </a:p>
        </p:txBody>
      </p:sp>
      <p:sp>
        <p:nvSpPr>
          <p:cNvPr id="273" name="Body Level One…"/>
          <p:cNvSpPr txBox="1">
            <a:spLocks noGrp="1"/>
          </p:cNvSpPr>
          <p:nvPr>
            <p:ph type="body" idx="1"/>
          </p:nvPr>
        </p:nvSpPr>
        <p:spPr>
          <a:xfrm>
            <a:off x="857250" y="1941360"/>
            <a:ext cx="10426700" cy="4024465"/>
          </a:xfrm>
          <a:prstGeom prst="rect">
            <a:avLst/>
          </a:prstGeom>
        </p:spPr>
        <p:txBody>
          <a:bodyPr/>
          <a:lstStyle>
            <a:lvl1pPr>
              <a:defRPr sz="2600" b="0" i="0"/>
            </a:lvl1pPr>
            <a:lvl2pPr marL="727363" indent="-270163">
              <a:defRPr sz="2600" b="0" i="0"/>
            </a:lvl2pPr>
            <a:lvl3pPr marL="1244600" indent="-330200">
              <a:defRPr sz="2600" b="0" i="0"/>
            </a:lvl3pPr>
            <a:lvl4pPr marL="1743075" indent="-371475">
              <a:defRPr sz="2600" b="0" i="0"/>
            </a:lvl4pPr>
            <a:lvl5pPr marL="2253342" indent="-424542">
              <a:defRPr sz="2600" b="0" i="0"/>
            </a:lvl5pPr>
          </a:lstStyle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27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and Content">
    <p:bg>
      <p:bgPr>
        <a:gradFill flip="none" rotWithShape="1">
          <a:gsLst>
            <a:gs pos="50000">
              <a:srgbClr val="E5E5E2"/>
            </a:gs>
            <a:gs pos="100000">
              <a:srgbClr val="CECEC7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1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rcRect b="9396"/>
          <a:stretch>
            <a:fillRect/>
          </a:stretch>
        </p:blipFill>
        <p:spPr>
          <a:xfrm>
            <a:off x="0" y="-1"/>
            <a:ext cx="12192000" cy="6858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82" name="Picture 6" descr="Picture 6"/>
          <p:cNvPicPr>
            <a:picLocks noChangeAspect="1"/>
          </p:cNvPicPr>
          <p:nvPr/>
        </p:nvPicPr>
        <p:blipFill>
          <a:blip r:embed="rId3">
            <a:extLst/>
          </a:blip>
          <a:srcRect b="87606"/>
          <a:stretch>
            <a:fillRect/>
          </a:stretch>
        </p:blipFill>
        <p:spPr>
          <a:xfrm>
            <a:off x="0" y="-1"/>
            <a:ext cx="12192000" cy="931818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87" name="Group 4"/>
          <p:cNvGrpSpPr/>
          <p:nvPr/>
        </p:nvGrpSpPr>
        <p:grpSpPr>
          <a:xfrm>
            <a:off x="10056814" y="238125"/>
            <a:ext cx="1858965" cy="496888"/>
            <a:chOff x="0" y="0"/>
            <a:chExt cx="1858963" cy="496887"/>
          </a:xfrm>
        </p:grpSpPr>
        <p:sp>
          <p:nvSpPr>
            <p:cNvPr id="283" name="Freeform 5"/>
            <p:cNvSpPr/>
            <p:nvPr/>
          </p:nvSpPr>
          <p:spPr>
            <a:xfrm>
              <a:off x="465137" y="-1"/>
              <a:ext cx="1393827" cy="369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53" y="16982"/>
                  </a:moveTo>
                  <a:cubicBezTo>
                    <a:pt x="14753" y="18621"/>
                    <a:pt x="14439" y="19738"/>
                    <a:pt x="14008" y="19738"/>
                  </a:cubicBezTo>
                  <a:cubicBezTo>
                    <a:pt x="13596" y="19738"/>
                    <a:pt x="13596" y="19738"/>
                    <a:pt x="13596" y="19738"/>
                  </a:cubicBezTo>
                  <a:cubicBezTo>
                    <a:pt x="13596" y="14152"/>
                    <a:pt x="13596" y="14152"/>
                    <a:pt x="13596" y="14152"/>
                  </a:cubicBezTo>
                  <a:cubicBezTo>
                    <a:pt x="14008" y="14152"/>
                    <a:pt x="14008" y="14152"/>
                    <a:pt x="14008" y="14152"/>
                  </a:cubicBezTo>
                  <a:cubicBezTo>
                    <a:pt x="14439" y="14152"/>
                    <a:pt x="14753" y="15269"/>
                    <a:pt x="14753" y="16908"/>
                  </a:cubicBezTo>
                  <a:lnTo>
                    <a:pt x="14753" y="16982"/>
                  </a:lnTo>
                  <a:close/>
                  <a:moveTo>
                    <a:pt x="14008" y="12290"/>
                  </a:moveTo>
                  <a:cubicBezTo>
                    <a:pt x="13046" y="12290"/>
                    <a:pt x="13046" y="12290"/>
                    <a:pt x="13046" y="12290"/>
                  </a:cubicBezTo>
                  <a:cubicBezTo>
                    <a:pt x="13046" y="21600"/>
                    <a:pt x="13046" y="21600"/>
                    <a:pt x="13046" y="21600"/>
                  </a:cubicBezTo>
                  <a:cubicBezTo>
                    <a:pt x="14008" y="21600"/>
                    <a:pt x="14008" y="21600"/>
                    <a:pt x="14008" y="21600"/>
                  </a:cubicBezTo>
                  <a:cubicBezTo>
                    <a:pt x="14773" y="21600"/>
                    <a:pt x="15302" y="19589"/>
                    <a:pt x="15302" y="16908"/>
                  </a:cubicBezTo>
                  <a:cubicBezTo>
                    <a:pt x="15302" y="16908"/>
                    <a:pt x="15302" y="16908"/>
                    <a:pt x="15302" y="16908"/>
                  </a:cubicBezTo>
                  <a:cubicBezTo>
                    <a:pt x="15302" y="14301"/>
                    <a:pt x="14773" y="12290"/>
                    <a:pt x="14008" y="12290"/>
                  </a:cubicBezTo>
                  <a:moveTo>
                    <a:pt x="12105" y="18025"/>
                  </a:moveTo>
                  <a:cubicBezTo>
                    <a:pt x="10967" y="12290"/>
                    <a:pt x="10967" y="12290"/>
                    <a:pt x="10967" y="12290"/>
                  </a:cubicBezTo>
                  <a:cubicBezTo>
                    <a:pt x="10476" y="12290"/>
                    <a:pt x="10476" y="12290"/>
                    <a:pt x="10476" y="12290"/>
                  </a:cubicBezTo>
                  <a:cubicBezTo>
                    <a:pt x="10476" y="21600"/>
                    <a:pt x="10476" y="21600"/>
                    <a:pt x="10476" y="21600"/>
                  </a:cubicBezTo>
                  <a:cubicBezTo>
                    <a:pt x="11006" y="21600"/>
                    <a:pt x="11006" y="21600"/>
                    <a:pt x="11006" y="21600"/>
                  </a:cubicBezTo>
                  <a:cubicBezTo>
                    <a:pt x="11006" y="15716"/>
                    <a:pt x="11006" y="15716"/>
                    <a:pt x="11006" y="15716"/>
                  </a:cubicBezTo>
                  <a:cubicBezTo>
                    <a:pt x="12183" y="21600"/>
                    <a:pt x="12183" y="21600"/>
                    <a:pt x="12183" y="21600"/>
                  </a:cubicBezTo>
                  <a:cubicBezTo>
                    <a:pt x="12634" y="21600"/>
                    <a:pt x="12634" y="21600"/>
                    <a:pt x="12634" y="21600"/>
                  </a:cubicBezTo>
                  <a:cubicBezTo>
                    <a:pt x="12634" y="12290"/>
                    <a:pt x="12634" y="12290"/>
                    <a:pt x="12634" y="12290"/>
                  </a:cubicBezTo>
                  <a:cubicBezTo>
                    <a:pt x="12105" y="12290"/>
                    <a:pt x="12105" y="12290"/>
                    <a:pt x="12105" y="12290"/>
                  </a:cubicBezTo>
                  <a:lnTo>
                    <a:pt x="12105" y="18025"/>
                  </a:lnTo>
                  <a:close/>
                  <a:moveTo>
                    <a:pt x="8573" y="17727"/>
                  </a:moveTo>
                  <a:cubicBezTo>
                    <a:pt x="8907" y="14673"/>
                    <a:pt x="8907" y="14673"/>
                    <a:pt x="8907" y="14673"/>
                  </a:cubicBezTo>
                  <a:cubicBezTo>
                    <a:pt x="9221" y="17727"/>
                    <a:pt x="9221" y="17727"/>
                    <a:pt x="9221" y="17727"/>
                  </a:cubicBezTo>
                  <a:lnTo>
                    <a:pt x="8573" y="17727"/>
                  </a:lnTo>
                  <a:close/>
                  <a:moveTo>
                    <a:pt x="8671" y="12215"/>
                  </a:moveTo>
                  <a:cubicBezTo>
                    <a:pt x="7612" y="21600"/>
                    <a:pt x="7612" y="21600"/>
                    <a:pt x="7612" y="21600"/>
                  </a:cubicBezTo>
                  <a:cubicBezTo>
                    <a:pt x="8161" y="21600"/>
                    <a:pt x="8161" y="21600"/>
                    <a:pt x="8161" y="21600"/>
                  </a:cubicBezTo>
                  <a:cubicBezTo>
                    <a:pt x="8397" y="19514"/>
                    <a:pt x="8397" y="19514"/>
                    <a:pt x="8397" y="19514"/>
                  </a:cubicBezTo>
                  <a:cubicBezTo>
                    <a:pt x="9417" y="19514"/>
                    <a:pt x="9417" y="19514"/>
                    <a:pt x="9417" y="19514"/>
                  </a:cubicBezTo>
                  <a:cubicBezTo>
                    <a:pt x="9652" y="21600"/>
                    <a:pt x="9652" y="21600"/>
                    <a:pt x="9652" y="21600"/>
                  </a:cubicBezTo>
                  <a:cubicBezTo>
                    <a:pt x="10202" y="21600"/>
                    <a:pt x="10202" y="21600"/>
                    <a:pt x="10202" y="21600"/>
                  </a:cubicBezTo>
                  <a:cubicBezTo>
                    <a:pt x="9162" y="12215"/>
                    <a:pt x="9162" y="12215"/>
                    <a:pt x="9162" y="12215"/>
                  </a:cubicBezTo>
                  <a:lnTo>
                    <a:pt x="8671" y="12215"/>
                  </a:lnTo>
                  <a:close/>
                  <a:moveTo>
                    <a:pt x="6180" y="12290"/>
                  </a:moveTo>
                  <a:cubicBezTo>
                    <a:pt x="5650" y="12290"/>
                    <a:pt x="5650" y="12290"/>
                    <a:pt x="5650" y="12290"/>
                  </a:cubicBezTo>
                  <a:cubicBezTo>
                    <a:pt x="5650" y="21600"/>
                    <a:pt x="5650" y="21600"/>
                    <a:pt x="5650" y="21600"/>
                  </a:cubicBezTo>
                  <a:cubicBezTo>
                    <a:pt x="7396" y="21600"/>
                    <a:pt x="7396" y="21600"/>
                    <a:pt x="7396" y="21600"/>
                  </a:cubicBezTo>
                  <a:cubicBezTo>
                    <a:pt x="7396" y="19738"/>
                    <a:pt x="7396" y="19738"/>
                    <a:pt x="7396" y="19738"/>
                  </a:cubicBezTo>
                  <a:cubicBezTo>
                    <a:pt x="6180" y="19738"/>
                    <a:pt x="6180" y="19738"/>
                    <a:pt x="6180" y="19738"/>
                  </a:cubicBezTo>
                  <a:lnTo>
                    <a:pt x="6180" y="12290"/>
                  </a:lnTo>
                  <a:close/>
                  <a:moveTo>
                    <a:pt x="3943" y="17801"/>
                  </a:moveTo>
                  <a:cubicBezTo>
                    <a:pt x="5081" y="17801"/>
                    <a:pt x="5081" y="17801"/>
                    <a:pt x="5081" y="17801"/>
                  </a:cubicBezTo>
                  <a:cubicBezTo>
                    <a:pt x="5081" y="16014"/>
                    <a:pt x="5081" y="16014"/>
                    <a:pt x="5081" y="16014"/>
                  </a:cubicBezTo>
                  <a:cubicBezTo>
                    <a:pt x="3943" y="16014"/>
                    <a:pt x="3943" y="16014"/>
                    <a:pt x="3943" y="16014"/>
                  </a:cubicBezTo>
                  <a:cubicBezTo>
                    <a:pt x="3943" y="14152"/>
                    <a:pt x="3943" y="14152"/>
                    <a:pt x="3943" y="14152"/>
                  </a:cubicBezTo>
                  <a:cubicBezTo>
                    <a:pt x="5238" y="14152"/>
                    <a:pt x="5238" y="14152"/>
                    <a:pt x="5238" y="14152"/>
                  </a:cubicBezTo>
                  <a:cubicBezTo>
                    <a:pt x="5238" y="12290"/>
                    <a:pt x="5238" y="12290"/>
                    <a:pt x="5238" y="12290"/>
                  </a:cubicBezTo>
                  <a:cubicBezTo>
                    <a:pt x="3394" y="12290"/>
                    <a:pt x="3394" y="12290"/>
                    <a:pt x="3394" y="12290"/>
                  </a:cubicBezTo>
                  <a:cubicBezTo>
                    <a:pt x="3394" y="21600"/>
                    <a:pt x="3394" y="21600"/>
                    <a:pt x="3394" y="21600"/>
                  </a:cubicBezTo>
                  <a:cubicBezTo>
                    <a:pt x="5258" y="21600"/>
                    <a:pt x="5258" y="21600"/>
                    <a:pt x="5258" y="21600"/>
                  </a:cubicBezTo>
                  <a:cubicBezTo>
                    <a:pt x="5258" y="19738"/>
                    <a:pt x="5258" y="19738"/>
                    <a:pt x="5258" y="19738"/>
                  </a:cubicBezTo>
                  <a:cubicBezTo>
                    <a:pt x="3943" y="19738"/>
                    <a:pt x="3943" y="19738"/>
                    <a:pt x="3943" y="19738"/>
                  </a:cubicBezTo>
                  <a:lnTo>
                    <a:pt x="3943" y="17801"/>
                  </a:lnTo>
                  <a:close/>
                  <a:moveTo>
                    <a:pt x="2472" y="15492"/>
                  </a:moveTo>
                  <a:cubicBezTo>
                    <a:pt x="2472" y="16312"/>
                    <a:pt x="2315" y="16833"/>
                    <a:pt x="2060" y="16833"/>
                  </a:cubicBezTo>
                  <a:cubicBezTo>
                    <a:pt x="1511" y="16833"/>
                    <a:pt x="1511" y="16833"/>
                    <a:pt x="1511" y="16833"/>
                  </a:cubicBezTo>
                  <a:cubicBezTo>
                    <a:pt x="1511" y="14152"/>
                    <a:pt x="1511" y="14152"/>
                    <a:pt x="1511" y="14152"/>
                  </a:cubicBezTo>
                  <a:cubicBezTo>
                    <a:pt x="2040" y="14152"/>
                    <a:pt x="2040" y="14152"/>
                    <a:pt x="2040" y="14152"/>
                  </a:cubicBezTo>
                  <a:cubicBezTo>
                    <a:pt x="2295" y="14152"/>
                    <a:pt x="2472" y="14599"/>
                    <a:pt x="2472" y="15492"/>
                  </a:cubicBezTo>
                  <a:close/>
                  <a:moveTo>
                    <a:pt x="3002" y="15418"/>
                  </a:moveTo>
                  <a:cubicBezTo>
                    <a:pt x="3002" y="15343"/>
                    <a:pt x="3002" y="15343"/>
                    <a:pt x="3002" y="15343"/>
                  </a:cubicBezTo>
                  <a:cubicBezTo>
                    <a:pt x="3002" y="14524"/>
                    <a:pt x="2943" y="13779"/>
                    <a:pt x="2805" y="13258"/>
                  </a:cubicBezTo>
                  <a:cubicBezTo>
                    <a:pt x="2629" y="12662"/>
                    <a:pt x="2393" y="12290"/>
                    <a:pt x="2080" y="12290"/>
                  </a:cubicBezTo>
                  <a:cubicBezTo>
                    <a:pt x="961" y="12290"/>
                    <a:pt x="961" y="12290"/>
                    <a:pt x="961" y="12290"/>
                  </a:cubicBezTo>
                  <a:cubicBezTo>
                    <a:pt x="961" y="21600"/>
                    <a:pt x="961" y="21600"/>
                    <a:pt x="961" y="21600"/>
                  </a:cubicBezTo>
                  <a:cubicBezTo>
                    <a:pt x="1511" y="21600"/>
                    <a:pt x="1511" y="21600"/>
                    <a:pt x="1511" y="21600"/>
                  </a:cubicBezTo>
                  <a:cubicBezTo>
                    <a:pt x="1511" y="18621"/>
                    <a:pt x="1511" y="18621"/>
                    <a:pt x="1511" y="18621"/>
                  </a:cubicBezTo>
                  <a:cubicBezTo>
                    <a:pt x="1923" y="18621"/>
                    <a:pt x="1923" y="18621"/>
                    <a:pt x="1923" y="18621"/>
                  </a:cubicBezTo>
                  <a:cubicBezTo>
                    <a:pt x="2452" y="21600"/>
                    <a:pt x="2452" y="21600"/>
                    <a:pt x="2452" y="21600"/>
                  </a:cubicBezTo>
                  <a:cubicBezTo>
                    <a:pt x="3080" y="21600"/>
                    <a:pt x="3080" y="21600"/>
                    <a:pt x="3080" y="21600"/>
                  </a:cubicBezTo>
                  <a:cubicBezTo>
                    <a:pt x="2492" y="18248"/>
                    <a:pt x="2492" y="18248"/>
                    <a:pt x="2492" y="18248"/>
                  </a:cubicBezTo>
                  <a:cubicBezTo>
                    <a:pt x="2786" y="17801"/>
                    <a:pt x="3002" y="16908"/>
                    <a:pt x="3002" y="15418"/>
                  </a:cubicBezTo>
                  <a:moveTo>
                    <a:pt x="20" y="21600"/>
                  </a:moveTo>
                  <a:cubicBezTo>
                    <a:pt x="549" y="21600"/>
                    <a:pt x="549" y="21600"/>
                    <a:pt x="549" y="21600"/>
                  </a:cubicBezTo>
                  <a:cubicBezTo>
                    <a:pt x="549" y="12290"/>
                    <a:pt x="549" y="12290"/>
                    <a:pt x="549" y="12290"/>
                  </a:cubicBezTo>
                  <a:cubicBezTo>
                    <a:pt x="20" y="12290"/>
                    <a:pt x="20" y="12290"/>
                    <a:pt x="20" y="12290"/>
                  </a:cubicBezTo>
                  <a:lnTo>
                    <a:pt x="20" y="21600"/>
                  </a:lnTo>
                  <a:close/>
                  <a:moveTo>
                    <a:pt x="20266" y="7597"/>
                  </a:moveTo>
                  <a:cubicBezTo>
                    <a:pt x="20266" y="5661"/>
                    <a:pt x="20266" y="5661"/>
                    <a:pt x="20266" y="5661"/>
                  </a:cubicBezTo>
                  <a:cubicBezTo>
                    <a:pt x="21423" y="5661"/>
                    <a:pt x="21423" y="5661"/>
                    <a:pt x="21423" y="5661"/>
                  </a:cubicBezTo>
                  <a:cubicBezTo>
                    <a:pt x="21423" y="3873"/>
                    <a:pt x="21423" y="3873"/>
                    <a:pt x="21423" y="3873"/>
                  </a:cubicBezTo>
                  <a:cubicBezTo>
                    <a:pt x="20266" y="3873"/>
                    <a:pt x="20266" y="3873"/>
                    <a:pt x="20266" y="3873"/>
                  </a:cubicBezTo>
                  <a:cubicBezTo>
                    <a:pt x="20266" y="1937"/>
                    <a:pt x="20266" y="1937"/>
                    <a:pt x="20266" y="1937"/>
                  </a:cubicBezTo>
                  <a:cubicBezTo>
                    <a:pt x="21580" y="1937"/>
                    <a:pt x="21580" y="1937"/>
                    <a:pt x="21580" y="1937"/>
                  </a:cubicBezTo>
                  <a:cubicBezTo>
                    <a:pt x="21580" y="149"/>
                    <a:pt x="21580" y="149"/>
                    <a:pt x="21580" y="149"/>
                  </a:cubicBezTo>
                  <a:cubicBezTo>
                    <a:pt x="19736" y="149"/>
                    <a:pt x="19736" y="149"/>
                    <a:pt x="19736" y="149"/>
                  </a:cubicBezTo>
                  <a:cubicBezTo>
                    <a:pt x="19736" y="9385"/>
                    <a:pt x="19736" y="9385"/>
                    <a:pt x="19736" y="9385"/>
                  </a:cubicBezTo>
                  <a:cubicBezTo>
                    <a:pt x="21600" y="9385"/>
                    <a:pt x="21600" y="9385"/>
                    <a:pt x="21600" y="9385"/>
                  </a:cubicBezTo>
                  <a:cubicBezTo>
                    <a:pt x="21600" y="7597"/>
                    <a:pt x="21600" y="7597"/>
                    <a:pt x="21600" y="7597"/>
                  </a:cubicBezTo>
                  <a:lnTo>
                    <a:pt x="20266" y="7597"/>
                  </a:lnTo>
                  <a:close/>
                  <a:moveTo>
                    <a:pt x="18598" y="3873"/>
                  </a:moveTo>
                  <a:cubicBezTo>
                    <a:pt x="18186" y="3426"/>
                    <a:pt x="18069" y="3277"/>
                    <a:pt x="18069" y="2607"/>
                  </a:cubicBezTo>
                  <a:cubicBezTo>
                    <a:pt x="18069" y="2607"/>
                    <a:pt x="18069" y="2607"/>
                    <a:pt x="18069" y="2607"/>
                  </a:cubicBezTo>
                  <a:cubicBezTo>
                    <a:pt x="18069" y="2160"/>
                    <a:pt x="18186" y="1788"/>
                    <a:pt x="18383" y="1788"/>
                  </a:cubicBezTo>
                  <a:cubicBezTo>
                    <a:pt x="18598" y="1788"/>
                    <a:pt x="18814" y="2160"/>
                    <a:pt x="19030" y="2756"/>
                  </a:cubicBezTo>
                  <a:cubicBezTo>
                    <a:pt x="19305" y="1192"/>
                    <a:pt x="19305" y="1192"/>
                    <a:pt x="19305" y="1192"/>
                  </a:cubicBezTo>
                  <a:cubicBezTo>
                    <a:pt x="19050" y="447"/>
                    <a:pt x="18755" y="0"/>
                    <a:pt x="18402" y="0"/>
                  </a:cubicBezTo>
                  <a:cubicBezTo>
                    <a:pt x="17892" y="0"/>
                    <a:pt x="17539" y="1117"/>
                    <a:pt x="17539" y="2830"/>
                  </a:cubicBezTo>
                  <a:cubicBezTo>
                    <a:pt x="17539" y="2830"/>
                    <a:pt x="17539" y="2830"/>
                    <a:pt x="17539" y="2830"/>
                  </a:cubicBezTo>
                  <a:cubicBezTo>
                    <a:pt x="17539" y="4692"/>
                    <a:pt x="17853" y="5214"/>
                    <a:pt x="18343" y="5661"/>
                  </a:cubicBezTo>
                  <a:cubicBezTo>
                    <a:pt x="18755" y="6033"/>
                    <a:pt x="18834" y="6331"/>
                    <a:pt x="18834" y="6852"/>
                  </a:cubicBezTo>
                  <a:cubicBezTo>
                    <a:pt x="18834" y="6852"/>
                    <a:pt x="18834" y="6852"/>
                    <a:pt x="18834" y="6852"/>
                  </a:cubicBezTo>
                  <a:cubicBezTo>
                    <a:pt x="18834" y="7448"/>
                    <a:pt x="18716" y="7746"/>
                    <a:pt x="18481" y="7746"/>
                  </a:cubicBezTo>
                  <a:cubicBezTo>
                    <a:pt x="18206" y="7746"/>
                    <a:pt x="17990" y="7299"/>
                    <a:pt x="17755" y="6629"/>
                  </a:cubicBezTo>
                  <a:cubicBezTo>
                    <a:pt x="17441" y="8044"/>
                    <a:pt x="17441" y="8044"/>
                    <a:pt x="17441" y="8044"/>
                  </a:cubicBezTo>
                  <a:cubicBezTo>
                    <a:pt x="17735" y="9087"/>
                    <a:pt x="18108" y="9534"/>
                    <a:pt x="18481" y="9534"/>
                  </a:cubicBezTo>
                  <a:cubicBezTo>
                    <a:pt x="19010" y="9534"/>
                    <a:pt x="19383" y="8491"/>
                    <a:pt x="19383" y="6703"/>
                  </a:cubicBezTo>
                  <a:cubicBezTo>
                    <a:pt x="19383" y="6629"/>
                    <a:pt x="19383" y="6629"/>
                    <a:pt x="19383" y="6629"/>
                  </a:cubicBezTo>
                  <a:cubicBezTo>
                    <a:pt x="19383" y="5065"/>
                    <a:pt x="19089" y="4320"/>
                    <a:pt x="18598" y="3873"/>
                  </a:cubicBezTo>
                  <a:moveTo>
                    <a:pt x="16538" y="9385"/>
                  </a:moveTo>
                  <a:cubicBezTo>
                    <a:pt x="17088" y="9385"/>
                    <a:pt x="17088" y="9385"/>
                    <a:pt x="17088" y="9385"/>
                  </a:cubicBezTo>
                  <a:cubicBezTo>
                    <a:pt x="17088" y="149"/>
                    <a:pt x="17088" y="149"/>
                    <a:pt x="17088" y="149"/>
                  </a:cubicBezTo>
                  <a:cubicBezTo>
                    <a:pt x="16538" y="149"/>
                    <a:pt x="16538" y="149"/>
                    <a:pt x="16538" y="149"/>
                  </a:cubicBezTo>
                  <a:lnTo>
                    <a:pt x="16538" y="9385"/>
                  </a:lnTo>
                  <a:close/>
                  <a:moveTo>
                    <a:pt x="15557" y="3352"/>
                  </a:moveTo>
                  <a:cubicBezTo>
                    <a:pt x="15557" y="4097"/>
                    <a:pt x="15420" y="4618"/>
                    <a:pt x="15146" y="4618"/>
                  </a:cubicBezTo>
                  <a:cubicBezTo>
                    <a:pt x="14616" y="4618"/>
                    <a:pt x="14616" y="4618"/>
                    <a:pt x="14616" y="4618"/>
                  </a:cubicBezTo>
                  <a:cubicBezTo>
                    <a:pt x="14616" y="2011"/>
                    <a:pt x="14616" y="2011"/>
                    <a:pt x="14616" y="2011"/>
                  </a:cubicBezTo>
                  <a:cubicBezTo>
                    <a:pt x="15146" y="2011"/>
                    <a:pt x="15146" y="2011"/>
                    <a:pt x="15146" y="2011"/>
                  </a:cubicBezTo>
                  <a:cubicBezTo>
                    <a:pt x="15401" y="2011"/>
                    <a:pt x="15557" y="2458"/>
                    <a:pt x="15557" y="3277"/>
                  </a:cubicBezTo>
                  <a:lnTo>
                    <a:pt x="15557" y="3352"/>
                  </a:lnTo>
                  <a:close/>
                  <a:moveTo>
                    <a:pt x="16107" y="3203"/>
                  </a:moveTo>
                  <a:cubicBezTo>
                    <a:pt x="16107" y="3203"/>
                    <a:pt x="16107" y="3203"/>
                    <a:pt x="16107" y="3203"/>
                  </a:cubicBezTo>
                  <a:cubicBezTo>
                    <a:pt x="16107" y="2309"/>
                    <a:pt x="16028" y="1564"/>
                    <a:pt x="15911" y="1043"/>
                  </a:cubicBezTo>
                  <a:cubicBezTo>
                    <a:pt x="15734" y="447"/>
                    <a:pt x="15499" y="149"/>
                    <a:pt x="15185" y="149"/>
                  </a:cubicBezTo>
                  <a:cubicBezTo>
                    <a:pt x="14066" y="149"/>
                    <a:pt x="14066" y="149"/>
                    <a:pt x="14066" y="149"/>
                  </a:cubicBezTo>
                  <a:cubicBezTo>
                    <a:pt x="14066" y="9385"/>
                    <a:pt x="14066" y="9385"/>
                    <a:pt x="14066" y="9385"/>
                  </a:cubicBezTo>
                  <a:cubicBezTo>
                    <a:pt x="14616" y="9385"/>
                    <a:pt x="14616" y="9385"/>
                    <a:pt x="14616" y="9385"/>
                  </a:cubicBezTo>
                  <a:cubicBezTo>
                    <a:pt x="14616" y="6480"/>
                    <a:pt x="14616" y="6480"/>
                    <a:pt x="14616" y="6480"/>
                  </a:cubicBezTo>
                  <a:cubicBezTo>
                    <a:pt x="15028" y="6480"/>
                    <a:pt x="15028" y="6480"/>
                    <a:pt x="15028" y="6480"/>
                  </a:cubicBezTo>
                  <a:cubicBezTo>
                    <a:pt x="15557" y="9385"/>
                    <a:pt x="15557" y="9385"/>
                    <a:pt x="15557" y="9385"/>
                  </a:cubicBezTo>
                  <a:cubicBezTo>
                    <a:pt x="16185" y="9385"/>
                    <a:pt x="16185" y="9385"/>
                    <a:pt x="16185" y="9385"/>
                  </a:cubicBezTo>
                  <a:cubicBezTo>
                    <a:pt x="15597" y="6108"/>
                    <a:pt x="15597" y="6108"/>
                    <a:pt x="15597" y="6108"/>
                  </a:cubicBezTo>
                  <a:cubicBezTo>
                    <a:pt x="15891" y="5661"/>
                    <a:pt x="16107" y="4692"/>
                    <a:pt x="16107" y="3203"/>
                  </a:cubicBezTo>
                  <a:moveTo>
                    <a:pt x="13203" y="3426"/>
                  </a:moveTo>
                  <a:cubicBezTo>
                    <a:pt x="13203" y="4171"/>
                    <a:pt x="13046" y="4841"/>
                    <a:pt x="12772" y="4841"/>
                  </a:cubicBezTo>
                  <a:cubicBezTo>
                    <a:pt x="12360" y="4841"/>
                    <a:pt x="12360" y="4841"/>
                    <a:pt x="12360" y="4841"/>
                  </a:cubicBezTo>
                  <a:cubicBezTo>
                    <a:pt x="12360" y="2011"/>
                    <a:pt x="12360" y="2011"/>
                    <a:pt x="12360" y="2011"/>
                  </a:cubicBezTo>
                  <a:cubicBezTo>
                    <a:pt x="12772" y="2011"/>
                    <a:pt x="12772" y="2011"/>
                    <a:pt x="12772" y="2011"/>
                  </a:cubicBezTo>
                  <a:cubicBezTo>
                    <a:pt x="13027" y="2011"/>
                    <a:pt x="13203" y="2458"/>
                    <a:pt x="13203" y="3352"/>
                  </a:cubicBezTo>
                  <a:lnTo>
                    <a:pt x="13203" y="3426"/>
                  </a:lnTo>
                  <a:close/>
                  <a:moveTo>
                    <a:pt x="13753" y="3352"/>
                  </a:moveTo>
                  <a:cubicBezTo>
                    <a:pt x="13753" y="3352"/>
                    <a:pt x="13753" y="3352"/>
                    <a:pt x="13753" y="3352"/>
                  </a:cubicBezTo>
                  <a:cubicBezTo>
                    <a:pt x="13753" y="1415"/>
                    <a:pt x="13399" y="149"/>
                    <a:pt x="12811" y="149"/>
                  </a:cubicBezTo>
                  <a:cubicBezTo>
                    <a:pt x="11810" y="149"/>
                    <a:pt x="11810" y="149"/>
                    <a:pt x="11810" y="149"/>
                  </a:cubicBezTo>
                  <a:cubicBezTo>
                    <a:pt x="11810" y="9385"/>
                    <a:pt x="11810" y="9385"/>
                    <a:pt x="11810" y="9385"/>
                  </a:cubicBezTo>
                  <a:cubicBezTo>
                    <a:pt x="12360" y="9385"/>
                    <a:pt x="12360" y="9385"/>
                    <a:pt x="12360" y="9385"/>
                  </a:cubicBezTo>
                  <a:cubicBezTo>
                    <a:pt x="12360" y="6629"/>
                    <a:pt x="12360" y="6629"/>
                    <a:pt x="12360" y="6629"/>
                  </a:cubicBezTo>
                  <a:cubicBezTo>
                    <a:pt x="12752" y="6629"/>
                    <a:pt x="12752" y="6629"/>
                    <a:pt x="12752" y="6629"/>
                  </a:cubicBezTo>
                  <a:cubicBezTo>
                    <a:pt x="13301" y="6629"/>
                    <a:pt x="13753" y="5512"/>
                    <a:pt x="13753" y="3352"/>
                  </a:cubicBezTo>
                  <a:moveTo>
                    <a:pt x="10457" y="4618"/>
                  </a:moveTo>
                  <a:cubicBezTo>
                    <a:pt x="9907" y="4618"/>
                    <a:pt x="9907" y="4618"/>
                    <a:pt x="9907" y="4618"/>
                  </a:cubicBezTo>
                  <a:cubicBezTo>
                    <a:pt x="9907" y="2011"/>
                    <a:pt x="9907" y="2011"/>
                    <a:pt x="9907" y="2011"/>
                  </a:cubicBezTo>
                  <a:cubicBezTo>
                    <a:pt x="10457" y="2011"/>
                    <a:pt x="10457" y="2011"/>
                    <a:pt x="10457" y="2011"/>
                  </a:cubicBezTo>
                  <a:cubicBezTo>
                    <a:pt x="10712" y="2011"/>
                    <a:pt x="10869" y="2458"/>
                    <a:pt x="10869" y="3277"/>
                  </a:cubicBezTo>
                  <a:cubicBezTo>
                    <a:pt x="10869" y="3352"/>
                    <a:pt x="10869" y="3352"/>
                    <a:pt x="10869" y="3352"/>
                  </a:cubicBezTo>
                  <a:cubicBezTo>
                    <a:pt x="10869" y="4097"/>
                    <a:pt x="10712" y="4618"/>
                    <a:pt x="10457" y="4618"/>
                  </a:cubicBezTo>
                  <a:moveTo>
                    <a:pt x="11496" y="9385"/>
                  </a:moveTo>
                  <a:cubicBezTo>
                    <a:pt x="10888" y="6108"/>
                    <a:pt x="10888" y="6108"/>
                    <a:pt x="10888" y="6108"/>
                  </a:cubicBezTo>
                  <a:cubicBezTo>
                    <a:pt x="11202" y="5661"/>
                    <a:pt x="11418" y="4692"/>
                    <a:pt x="11418" y="3203"/>
                  </a:cubicBezTo>
                  <a:cubicBezTo>
                    <a:pt x="11418" y="3203"/>
                    <a:pt x="11418" y="3203"/>
                    <a:pt x="11418" y="3203"/>
                  </a:cubicBezTo>
                  <a:cubicBezTo>
                    <a:pt x="11418" y="2309"/>
                    <a:pt x="11340" y="1564"/>
                    <a:pt x="11202" y="1043"/>
                  </a:cubicBezTo>
                  <a:cubicBezTo>
                    <a:pt x="11045" y="447"/>
                    <a:pt x="10810" y="149"/>
                    <a:pt x="10496" y="149"/>
                  </a:cubicBezTo>
                  <a:cubicBezTo>
                    <a:pt x="9378" y="149"/>
                    <a:pt x="9378" y="149"/>
                    <a:pt x="9378" y="149"/>
                  </a:cubicBezTo>
                  <a:cubicBezTo>
                    <a:pt x="9378" y="9385"/>
                    <a:pt x="9378" y="9385"/>
                    <a:pt x="9378" y="9385"/>
                  </a:cubicBezTo>
                  <a:cubicBezTo>
                    <a:pt x="9907" y="9385"/>
                    <a:pt x="9907" y="9385"/>
                    <a:pt x="9907" y="9385"/>
                  </a:cubicBezTo>
                  <a:cubicBezTo>
                    <a:pt x="9907" y="6480"/>
                    <a:pt x="9907" y="6480"/>
                    <a:pt x="9907" y="6480"/>
                  </a:cubicBezTo>
                  <a:cubicBezTo>
                    <a:pt x="10339" y="6480"/>
                    <a:pt x="10339" y="6480"/>
                    <a:pt x="10339" y="6480"/>
                  </a:cubicBezTo>
                  <a:cubicBezTo>
                    <a:pt x="10869" y="9385"/>
                    <a:pt x="10869" y="9385"/>
                    <a:pt x="10869" y="9385"/>
                  </a:cubicBezTo>
                  <a:lnTo>
                    <a:pt x="11496" y="9385"/>
                  </a:lnTo>
                  <a:close/>
                  <a:moveTo>
                    <a:pt x="9025" y="7597"/>
                  </a:moveTo>
                  <a:cubicBezTo>
                    <a:pt x="7690" y="7597"/>
                    <a:pt x="7690" y="7597"/>
                    <a:pt x="7690" y="7597"/>
                  </a:cubicBezTo>
                  <a:cubicBezTo>
                    <a:pt x="7690" y="5661"/>
                    <a:pt x="7690" y="5661"/>
                    <a:pt x="7690" y="5661"/>
                  </a:cubicBezTo>
                  <a:cubicBezTo>
                    <a:pt x="8848" y="5661"/>
                    <a:pt x="8848" y="5661"/>
                    <a:pt x="8848" y="5661"/>
                  </a:cubicBezTo>
                  <a:cubicBezTo>
                    <a:pt x="8848" y="3873"/>
                    <a:pt x="8848" y="3873"/>
                    <a:pt x="8848" y="3873"/>
                  </a:cubicBezTo>
                  <a:cubicBezTo>
                    <a:pt x="7690" y="3873"/>
                    <a:pt x="7690" y="3873"/>
                    <a:pt x="7690" y="3873"/>
                  </a:cubicBezTo>
                  <a:cubicBezTo>
                    <a:pt x="7690" y="1937"/>
                    <a:pt x="7690" y="1937"/>
                    <a:pt x="7690" y="1937"/>
                  </a:cubicBezTo>
                  <a:cubicBezTo>
                    <a:pt x="9005" y="1937"/>
                    <a:pt x="9005" y="1937"/>
                    <a:pt x="9005" y="1937"/>
                  </a:cubicBezTo>
                  <a:cubicBezTo>
                    <a:pt x="9005" y="149"/>
                    <a:pt x="9005" y="149"/>
                    <a:pt x="9005" y="149"/>
                  </a:cubicBezTo>
                  <a:cubicBezTo>
                    <a:pt x="7161" y="149"/>
                    <a:pt x="7161" y="149"/>
                    <a:pt x="7161" y="149"/>
                  </a:cubicBezTo>
                  <a:cubicBezTo>
                    <a:pt x="7161" y="9385"/>
                    <a:pt x="7161" y="9385"/>
                    <a:pt x="7161" y="9385"/>
                  </a:cubicBezTo>
                  <a:cubicBezTo>
                    <a:pt x="9025" y="9385"/>
                    <a:pt x="9025" y="9385"/>
                    <a:pt x="9025" y="9385"/>
                  </a:cubicBezTo>
                  <a:lnTo>
                    <a:pt x="9025" y="7597"/>
                  </a:lnTo>
                  <a:close/>
                  <a:moveTo>
                    <a:pt x="6043" y="9385"/>
                  </a:moveTo>
                  <a:cubicBezTo>
                    <a:pt x="6043" y="2011"/>
                    <a:pt x="6043" y="2011"/>
                    <a:pt x="6043" y="2011"/>
                  </a:cubicBezTo>
                  <a:cubicBezTo>
                    <a:pt x="6788" y="2011"/>
                    <a:pt x="6788" y="2011"/>
                    <a:pt x="6788" y="2011"/>
                  </a:cubicBezTo>
                  <a:cubicBezTo>
                    <a:pt x="6788" y="149"/>
                    <a:pt x="6788" y="149"/>
                    <a:pt x="6788" y="149"/>
                  </a:cubicBezTo>
                  <a:cubicBezTo>
                    <a:pt x="4767" y="149"/>
                    <a:pt x="4767" y="149"/>
                    <a:pt x="4767" y="149"/>
                  </a:cubicBezTo>
                  <a:cubicBezTo>
                    <a:pt x="4767" y="2011"/>
                    <a:pt x="4767" y="2011"/>
                    <a:pt x="4767" y="2011"/>
                  </a:cubicBezTo>
                  <a:cubicBezTo>
                    <a:pt x="5513" y="2011"/>
                    <a:pt x="5513" y="2011"/>
                    <a:pt x="5513" y="2011"/>
                  </a:cubicBezTo>
                  <a:cubicBezTo>
                    <a:pt x="5513" y="9385"/>
                    <a:pt x="5513" y="9385"/>
                    <a:pt x="5513" y="9385"/>
                  </a:cubicBezTo>
                  <a:lnTo>
                    <a:pt x="6043" y="9385"/>
                  </a:lnTo>
                  <a:close/>
                  <a:moveTo>
                    <a:pt x="2766" y="3501"/>
                  </a:moveTo>
                  <a:cubicBezTo>
                    <a:pt x="3943" y="9385"/>
                    <a:pt x="3943" y="9385"/>
                    <a:pt x="3943" y="9385"/>
                  </a:cubicBezTo>
                  <a:cubicBezTo>
                    <a:pt x="4414" y="9385"/>
                    <a:pt x="4414" y="9385"/>
                    <a:pt x="4414" y="9385"/>
                  </a:cubicBezTo>
                  <a:cubicBezTo>
                    <a:pt x="4414" y="149"/>
                    <a:pt x="4414" y="149"/>
                    <a:pt x="4414" y="149"/>
                  </a:cubicBezTo>
                  <a:cubicBezTo>
                    <a:pt x="3865" y="149"/>
                    <a:pt x="3865" y="149"/>
                    <a:pt x="3865" y="149"/>
                  </a:cubicBezTo>
                  <a:cubicBezTo>
                    <a:pt x="3865" y="5884"/>
                    <a:pt x="3865" y="5884"/>
                    <a:pt x="3865" y="5884"/>
                  </a:cubicBezTo>
                  <a:cubicBezTo>
                    <a:pt x="2727" y="149"/>
                    <a:pt x="2727" y="149"/>
                    <a:pt x="2727" y="149"/>
                  </a:cubicBezTo>
                  <a:cubicBezTo>
                    <a:pt x="2237" y="149"/>
                    <a:pt x="2237" y="149"/>
                    <a:pt x="2237" y="149"/>
                  </a:cubicBezTo>
                  <a:cubicBezTo>
                    <a:pt x="2237" y="9385"/>
                    <a:pt x="2237" y="9385"/>
                    <a:pt x="2237" y="9385"/>
                  </a:cubicBezTo>
                  <a:cubicBezTo>
                    <a:pt x="2766" y="9385"/>
                    <a:pt x="2766" y="9385"/>
                    <a:pt x="2766" y="9385"/>
                  </a:cubicBezTo>
                  <a:lnTo>
                    <a:pt x="2766" y="3501"/>
                  </a:lnTo>
                  <a:close/>
                  <a:moveTo>
                    <a:pt x="1864" y="7597"/>
                  </a:moveTo>
                  <a:cubicBezTo>
                    <a:pt x="530" y="7597"/>
                    <a:pt x="530" y="7597"/>
                    <a:pt x="530" y="7597"/>
                  </a:cubicBezTo>
                  <a:cubicBezTo>
                    <a:pt x="530" y="5661"/>
                    <a:pt x="530" y="5661"/>
                    <a:pt x="530" y="5661"/>
                  </a:cubicBezTo>
                  <a:cubicBezTo>
                    <a:pt x="1687" y="5661"/>
                    <a:pt x="1687" y="5661"/>
                    <a:pt x="1687" y="5661"/>
                  </a:cubicBezTo>
                  <a:cubicBezTo>
                    <a:pt x="1687" y="3873"/>
                    <a:pt x="1687" y="3873"/>
                    <a:pt x="1687" y="3873"/>
                  </a:cubicBezTo>
                  <a:cubicBezTo>
                    <a:pt x="530" y="3873"/>
                    <a:pt x="530" y="3873"/>
                    <a:pt x="530" y="3873"/>
                  </a:cubicBezTo>
                  <a:cubicBezTo>
                    <a:pt x="530" y="1937"/>
                    <a:pt x="530" y="1937"/>
                    <a:pt x="530" y="1937"/>
                  </a:cubicBezTo>
                  <a:cubicBezTo>
                    <a:pt x="1844" y="1937"/>
                    <a:pt x="1844" y="1937"/>
                    <a:pt x="1844" y="1937"/>
                  </a:cubicBezTo>
                  <a:cubicBezTo>
                    <a:pt x="1844" y="149"/>
                    <a:pt x="1844" y="149"/>
                    <a:pt x="1844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9385"/>
                    <a:pt x="0" y="9385"/>
                    <a:pt x="0" y="9385"/>
                  </a:cubicBezTo>
                  <a:cubicBezTo>
                    <a:pt x="1864" y="9385"/>
                    <a:pt x="1864" y="9385"/>
                    <a:pt x="1864" y="9385"/>
                  </a:cubicBezTo>
                  <a:lnTo>
                    <a:pt x="1864" y="7597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  <p:sp>
          <p:nvSpPr>
            <p:cNvPr id="284" name="Freeform 6"/>
            <p:cNvSpPr/>
            <p:nvPr/>
          </p:nvSpPr>
          <p:spPr>
            <a:xfrm>
              <a:off x="466725" y="427037"/>
              <a:ext cx="1368426" cy="6985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60" y="9818"/>
                  </a:moveTo>
                  <a:cubicBezTo>
                    <a:pt x="21160" y="8640"/>
                    <a:pt x="21200" y="7855"/>
                    <a:pt x="21280" y="7855"/>
                  </a:cubicBezTo>
                  <a:cubicBezTo>
                    <a:pt x="21380" y="7855"/>
                    <a:pt x="21420" y="8247"/>
                    <a:pt x="21480" y="9818"/>
                  </a:cubicBezTo>
                  <a:cubicBezTo>
                    <a:pt x="21560" y="8640"/>
                    <a:pt x="21560" y="8640"/>
                    <a:pt x="21560" y="8640"/>
                  </a:cubicBezTo>
                  <a:cubicBezTo>
                    <a:pt x="21500" y="7069"/>
                    <a:pt x="21400" y="5891"/>
                    <a:pt x="21300" y="5891"/>
                  </a:cubicBezTo>
                  <a:cubicBezTo>
                    <a:pt x="21160" y="5891"/>
                    <a:pt x="21041" y="7462"/>
                    <a:pt x="21041" y="9818"/>
                  </a:cubicBezTo>
                  <a:cubicBezTo>
                    <a:pt x="21041" y="15316"/>
                    <a:pt x="21500" y="13353"/>
                    <a:pt x="21500" y="17280"/>
                  </a:cubicBezTo>
                  <a:cubicBezTo>
                    <a:pt x="21500" y="18458"/>
                    <a:pt x="21440" y="19636"/>
                    <a:pt x="21320" y="19636"/>
                  </a:cubicBezTo>
                  <a:cubicBezTo>
                    <a:pt x="21220" y="19636"/>
                    <a:pt x="21160" y="18851"/>
                    <a:pt x="21100" y="17673"/>
                  </a:cubicBezTo>
                  <a:cubicBezTo>
                    <a:pt x="21021" y="18851"/>
                    <a:pt x="21021" y="18851"/>
                    <a:pt x="21021" y="18851"/>
                  </a:cubicBezTo>
                  <a:cubicBezTo>
                    <a:pt x="21100" y="20422"/>
                    <a:pt x="21200" y="21600"/>
                    <a:pt x="21320" y="21600"/>
                  </a:cubicBezTo>
                  <a:cubicBezTo>
                    <a:pt x="21460" y="21600"/>
                    <a:pt x="21600" y="20029"/>
                    <a:pt x="21600" y="17280"/>
                  </a:cubicBezTo>
                  <a:cubicBezTo>
                    <a:pt x="21600" y="11389"/>
                    <a:pt x="21160" y="13353"/>
                    <a:pt x="21160" y="9818"/>
                  </a:cubicBezTo>
                  <a:moveTo>
                    <a:pt x="20481" y="9818"/>
                  </a:moveTo>
                  <a:cubicBezTo>
                    <a:pt x="20481" y="8640"/>
                    <a:pt x="20541" y="7855"/>
                    <a:pt x="20621" y="7855"/>
                  </a:cubicBezTo>
                  <a:cubicBezTo>
                    <a:pt x="20721" y="7855"/>
                    <a:pt x="20761" y="8247"/>
                    <a:pt x="20821" y="9818"/>
                  </a:cubicBezTo>
                  <a:cubicBezTo>
                    <a:pt x="20901" y="8640"/>
                    <a:pt x="20901" y="8640"/>
                    <a:pt x="20901" y="8640"/>
                  </a:cubicBezTo>
                  <a:cubicBezTo>
                    <a:pt x="20841" y="7069"/>
                    <a:pt x="20741" y="5891"/>
                    <a:pt x="20641" y="5891"/>
                  </a:cubicBezTo>
                  <a:cubicBezTo>
                    <a:pt x="20481" y="5891"/>
                    <a:pt x="20381" y="7462"/>
                    <a:pt x="20381" y="9818"/>
                  </a:cubicBezTo>
                  <a:cubicBezTo>
                    <a:pt x="20381" y="15316"/>
                    <a:pt x="20821" y="13353"/>
                    <a:pt x="20821" y="17280"/>
                  </a:cubicBezTo>
                  <a:cubicBezTo>
                    <a:pt x="20821" y="18458"/>
                    <a:pt x="20781" y="19636"/>
                    <a:pt x="20661" y="19636"/>
                  </a:cubicBezTo>
                  <a:cubicBezTo>
                    <a:pt x="20561" y="19636"/>
                    <a:pt x="20501" y="18851"/>
                    <a:pt x="20441" y="17673"/>
                  </a:cubicBezTo>
                  <a:cubicBezTo>
                    <a:pt x="20361" y="18851"/>
                    <a:pt x="20361" y="18851"/>
                    <a:pt x="20361" y="18851"/>
                  </a:cubicBezTo>
                  <a:cubicBezTo>
                    <a:pt x="20441" y="20422"/>
                    <a:pt x="20541" y="21600"/>
                    <a:pt x="20661" y="21600"/>
                  </a:cubicBezTo>
                  <a:cubicBezTo>
                    <a:pt x="20801" y="21600"/>
                    <a:pt x="20941" y="20029"/>
                    <a:pt x="20941" y="17280"/>
                  </a:cubicBezTo>
                  <a:cubicBezTo>
                    <a:pt x="20941" y="11389"/>
                    <a:pt x="20481" y="13353"/>
                    <a:pt x="20481" y="9818"/>
                  </a:cubicBezTo>
                  <a:moveTo>
                    <a:pt x="19962" y="7855"/>
                  </a:moveTo>
                  <a:cubicBezTo>
                    <a:pt x="20081" y="7855"/>
                    <a:pt x="20141" y="9425"/>
                    <a:pt x="20141" y="12567"/>
                  </a:cubicBezTo>
                  <a:cubicBezTo>
                    <a:pt x="19742" y="12567"/>
                    <a:pt x="19742" y="12567"/>
                    <a:pt x="19742" y="12567"/>
                  </a:cubicBezTo>
                  <a:cubicBezTo>
                    <a:pt x="19762" y="9425"/>
                    <a:pt x="19822" y="7855"/>
                    <a:pt x="19962" y="7855"/>
                  </a:cubicBezTo>
                  <a:moveTo>
                    <a:pt x="19981" y="19636"/>
                  </a:moveTo>
                  <a:cubicBezTo>
                    <a:pt x="19842" y="19636"/>
                    <a:pt x="19742" y="17673"/>
                    <a:pt x="19742" y="14138"/>
                  </a:cubicBezTo>
                  <a:cubicBezTo>
                    <a:pt x="20241" y="14138"/>
                    <a:pt x="20241" y="14138"/>
                    <a:pt x="20241" y="14138"/>
                  </a:cubicBezTo>
                  <a:cubicBezTo>
                    <a:pt x="20241" y="12960"/>
                    <a:pt x="20241" y="12960"/>
                    <a:pt x="20241" y="12960"/>
                  </a:cubicBezTo>
                  <a:cubicBezTo>
                    <a:pt x="20241" y="7855"/>
                    <a:pt x="20121" y="5891"/>
                    <a:pt x="19962" y="5891"/>
                  </a:cubicBezTo>
                  <a:cubicBezTo>
                    <a:pt x="19762" y="5891"/>
                    <a:pt x="19642" y="9033"/>
                    <a:pt x="19642" y="13745"/>
                  </a:cubicBezTo>
                  <a:cubicBezTo>
                    <a:pt x="19642" y="19244"/>
                    <a:pt x="19802" y="21600"/>
                    <a:pt x="19981" y="21600"/>
                  </a:cubicBezTo>
                  <a:cubicBezTo>
                    <a:pt x="20141" y="21600"/>
                    <a:pt x="20221" y="19636"/>
                    <a:pt x="20261" y="18065"/>
                  </a:cubicBezTo>
                  <a:cubicBezTo>
                    <a:pt x="20181" y="17280"/>
                    <a:pt x="20181" y="17280"/>
                    <a:pt x="20181" y="17280"/>
                  </a:cubicBezTo>
                  <a:cubicBezTo>
                    <a:pt x="20141" y="18851"/>
                    <a:pt x="20061" y="19636"/>
                    <a:pt x="19981" y="19636"/>
                  </a:cubicBezTo>
                  <a:moveTo>
                    <a:pt x="19222" y="5891"/>
                  </a:moveTo>
                  <a:cubicBezTo>
                    <a:pt x="19142" y="5891"/>
                    <a:pt x="19062" y="7069"/>
                    <a:pt x="19002" y="8247"/>
                  </a:cubicBezTo>
                  <a:cubicBezTo>
                    <a:pt x="19002" y="8247"/>
                    <a:pt x="19002" y="8247"/>
                    <a:pt x="19002" y="8247"/>
                  </a:cubicBezTo>
                  <a:cubicBezTo>
                    <a:pt x="19002" y="6284"/>
                    <a:pt x="19002" y="6284"/>
                    <a:pt x="19002" y="6284"/>
                  </a:cubicBezTo>
                  <a:cubicBezTo>
                    <a:pt x="18883" y="6284"/>
                    <a:pt x="18883" y="6284"/>
                    <a:pt x="18883" y="6284"/>
                  </a:cubicBezTo>
                  <a:cubicBezTo>
                    <a:pt x="18883" y="21207"/>
                    <a:pt x="18883" y="21207"/>
                    <a:pt x="18883" y="21207"/>
                  </a:cubicBezTo>
                  <a:cubicBezTo>
                    <a:pt x="19002" y="21207"/>
                    <a:pt x="19002" y="21207"/>
                    <a:pt x="19002" y="21207"/>
                  </a:cubicBezTo>
                  <a:cubicBezTo>
                    <a:pt x="19002" y="10211"/>
                    <a:pt x="19002" y="10211"/>
                    <a:pt x="19002" y="10211"/>
                  </a:cubicBezTo>
                  <a:cubicBezTo>
                    <a:pt x="19042" y="9033"/>
                    <a:pt x="19142" y="7855"/>
                    <a:pt x="19222" y="7855"/>
                  </a:cubicBezTo>
                  <a:cubicBezTo>
                    <a:pt x="19282" y="7855"/>
                    <a:pt x="19342" y="8247"/>
                    <a:pt x="19342" y="10211"/>
                  </a:cubicBezTo>
                  <a:cubicBezTo>
                    <a:pt x="19342" y="21207"/>
                    <a:pt x="19342" y="21207"/>
                    <a:pt x="19342" y="21207"/>
                  </a:cubicBezTo>
                  <a:cubicBezTo>
                    <a:pt x="19442" y="21207"/>
                    <a:pt x="19442" y="21207"/>
                    <a:pt x="19442" y="21207"/>
                  </a:cubicBezTo>
                  <a:cubicBezTo>
                    <a:pt x="19442" y="10211"/>
                    <a:pt x="19442" y="10211"/>
                    <a:pt x="19442" y="10211"/>
                  </a:cubicBezTo>
                  <a:cubicBezTo>
                    <a:pt x="19442" y="7069"/>
                    <a:pt x="19342" y="5891"/>
                    <a:pt x="19222" y="5891"/>
                  </a:cubicBezTo>
                  <a:moveTo>
                    <a:pt x="18503" y="21207"/>
                  </a:moveTo>
                  <a:cubicBezTo>
                    <a:pt x="18603" y="21207"/>
                    <a:pt x="18603" y="21207"/>
                    <a:pt x="18603" y="21207"/>
                  </a:cubicBezTo>
                  <a:cubicBezTo>
                    <a:pt x="18603" y="6284"/>
                    <a:pt x="18603" y="6284"/>
                    <a:pt x="18603" y="6284"/>
                  </a:cubicBezTo>
                  <a:cubicBezTo>
                    <a:pt x="18503" y="6284"/>
                    <a:pt x="18503" y="6284"/>
                    <a:pt x="18503" y="6284"/>
                  </a:cubicBezTo>
                  <a:lnTo>
                    <a:pt x="18503" y="21207"/>
                  </a:lnTo>
                  <a:close/>
                  <a:moveTo>
                    <a:pt x="18503" y="2749"/>
                  </a:moveTo>
                  <a:cubicBezTo>
                    <a:pt x="18603" y="2749"/>
                    <a:pt x="18603" y="2749"/>
                    <a:pt x="18603" y="2749"/>
                  </a:cubicBezTo>
                  <a:cubicBezTo>
                    <a:pt x="18603" y="0"/>
                    <a:pt x="18603" y="0"/>
                    <a:pt x="18603" y="0"/>
                  </a:cubicBezTo>
                  <a:cubicBezTo>
                    <a:pt x="18503" y="0"/>
                    <a:pt x="18503" y="0"/>
                    <a:pt x="18503" y="0"/>
                  </a:cubicBezTo>
                  <a:lnTo>
                    <a:pt x="18503" y="2749"/>
                  </a:lnTo>
                  <a:close/>
                  <a:moveTo>
                    <a:pt x="17843" y="9818"/>
                  </a:moveTo>
                  <a:cubicBezTo>
                    <a:pt x="17843" y="8640"/>
                    <a:pt x="17903" y="7855"/>
                    <a:pt x="17983" y="7855"/>
                  </a:cubicBezTo>
                  <a:cubicBezTo>
                    <a:pt x="18063" y="7855"/>
                    <a:pt x="18123" y="8247"/>
                    <a:pt x="18183" y="9818"/>
                  </a:cubicBezTo>
                  <a:cubicBezTo>
                    <a:pt x="18263" y="8640"/>
                    <a:pt x="18263" y="8640"/>
                    <a:pt x="18263" y="8640"/>
                  </a:cubicBezTo>
                  <a:cubicBezTo>
                    <a:pt x="18203" y="7069"/>
                    <a:pt x="18103" y="5891"/>
                    <a:pt x="18003" y="5891"/>
                  </a:cubicBezTo>
                  <a:cubicBezTo>
                    <a:pt x="17843" y="5891"/>
                    <a:pt x="17744" y="7462"/>
                    <a:pt x="17744" y="9818"/>
                  </a:cubicBezTo>
                  <a:cubicBezTo>
                    <a:pt x="17724" y="15316"/>
                    <a:pt x="18183" y="13353"/>
                    <a:pt x="18183" y="17280"/>
                  </a:cubicBezTo>
                  <a:cubicBezTo>
                    <a:pt x="18183" y="18458"/>
                    <a:pt x="18143" y="19636"/>
                    <a:pt x="18023" y="19636"/>
                  </a:cubicBezTo>
                  <a:cubicBezTo>
                    <a:pt x="17923" y="19636"/>
                    <a:pt x="17843" y="18851"/>
                    <a:pt x="17804" y="17673"/>
                  </a:cubicBezTo>
                  <a:cubicBezTo>
                    <a:pt x="17724" y="18851"/>
                    <a:pt x="17724" y="18851"/>
                    <a:pt x="17724" y="18851"/>
                  </a:cubicBezTo>
                  <a:cubicBezTo>
                    <a:pt x="17784" y="20422"/>
                    <a:pt x="17903" y="21600"/>
                    <a:pt x="18023" y="21600"/>
                  </a:cubicBezTo>
                  <a:cubicBezTo>
                    <a:pt x="18163" y="21600"/>
                    <a:pt x="18283" y="20029"/>
                    <a:pt x="18283" y="17280"/>
                  </a:cubicBezTo>
                  <a:cubicBezTo>
                    <a:pt x="18283" y="11389"/>
                    <a:pt x="17843" y="13353"/>
                    <a:pt x="17843" y="9818"/>
                  </a:cubicBezTo>
                  <a:moveTo>
                    <a:pt x="17444" y="17673"/>
                  </a:moveTo>
                  <a:cubicBezTo>
                    <a:pt x="17384" y="18458"/>
                    <a:pt x="17304" y="19636"/>
                    <a:pt x="17224" y="19636"/>
                  </a:cubicBezTo>
                  <a:cubicBezTo>
                    <a:pt x="17144" y="19636"/>
                    <a:pt x="17104" y="19244"/>
                    <a:pt x="17104" y="17280"/>
                  </a:cubicBezTo>
                  <a:cubicBezTo>
                    <a:pt x="17104" y="6284"/>
                    <a:pt x="17104" y="6284"/>
                    <a:pt x="17104" y="6284"/>
                  </a:cubicBezTo>
                  <a:cubicBezTo>
                    <a:pt x="16984" y="6284"/>
                    <a:pt x="16984" y="6284"/>
                    <a:pt x="16984" y="6284"/>
                  </a:cubicBezTo>
                  <a:cubicBezTo>
                    <a:pt x="16984" y="17280"/>
                    <a:pt x="16984" y="17280"/>
                    <a:pt x="16984" y="17280"/>
                  </a:cubicBezTo>
                  <a:cubicBezTo>
                    <a:pt x="16984" y="20422"/>
                    <a:pt x="17104" y="21600"/>
                    <a:pt x="17204" y="21600"/>
                  </a:cubicBezTo>
                  <a:cubicBezTo>
                    <a:pt x="17304" y="21600"/>
                    <a:pt x="17384" y="20422"/>
                    <a:pt x="17444" y="19244"/>
                  </a:cubicBezTo>
                  <a:cubicBezTo>
                    <a:pt x="17444" y="19244"/>
                    <a:pt x="17444" y="19244"/>
                    <a:pt x="17444" y="19244"/>
                  </a:cubicBezTo>
                  <a:cubicBezTo>
                    <a:pt x="17444" y="21207"/>
                    <a:pt x="17444" y="21207"/>
                    <a:pt x="17444" y="21207"/>
                  </a:cubicBezTo>
                  <a:cubicBezTo>
                    <a:pt x="17544" y="21207"/>
                    <a:pt x="17544" y="21207"/>
                    <a:pt x="17544" y="21207"/>
                  </a:cubicBezTo>
                  <a:cubicBezTo>
                    <a:pt x="17544" y="6284"/>
                    <a:pt x="17544" y="6284"/>
                    <a:pt x="17544" y="6284"/>
                  </a:cubicBezTo>
                  <a:cubicBezTo>
                    <a:pt x="17444" y="6284"/>
                    <a:pt x="17444" y="6284"/>
                    <a:pt x="17444" y="6284"/>
                  </a:cubicBezTo>
                  <a:lnTo>
                    <a:pt x="17444" y="17673"/>
                  </a:lnTo>
                  <a:close/>
                  <a:moveTo>
                    <a:pt x="16465" y="19636"/>
                  </a:moveTo>
                  <a:cubicBezTo>
                    <a:pt x="16385" y="19636"/>
                    <a:pt x="16345" y="19244"/>
                    <a:pt x="16265" y="17673"/>
                  </a:cubicBezTo>
                  <a:cubicBezTo>
                    <a:pt x="16265" y="9818"/>
                    <a:pt x="16265" y="9818"/>
                    <a:pt x="16265" y="9818"/>
                  </a:cubicBezTo>
                  <a:cubicBezTo>
                    <a:pt x="16325" y="8640"/>
                    <a:pt x="16405" y="7855"/>
                    <a:pt x="16465" y="7855"/>
                  </a:cubicBezTo>
                  <a:cubicBezTo>
                    <a:pt x="16585" y="7855"/>
                    <a:pt x="16685" y="9425"/>
                    <a:pt x="16685" y="13745"/>
                  </a:cubicBezTo>
                  <a:cubicBezTo>
                    <a:pt x="16685" y="17673"/>
                    <a:pt x="16585" y="19636"/>
                    <a:pt x="16465" y="19636"/>
                  </a:cubicBezTo>
                  <a:moveTo>
                    <a:pt x="16485" y="5891"/>
                  </a:moveTo>
                  <a:cubicBezTo>
                    <a:pt x="16405" y="5891"/>
                    <a:pt x="16325" y="6676"/>
                    <a:pt x="16265" y="7462"/>
                  </a:cubicBezTo>
                  <a:cubicBezTo>
                    <a:pt x="16265" y="7855"/>
                    <a:pt x="16265" y="7855"/>
                    <a:pt x="16265" y="7855"/>
                  </a:cubicBezTo>
                  <a:cubicBezTo>
                    <a:pt x="16265" y="393"/>
                    <a:pt x="16265" y="393"/>
                    <a:pt x="16265" y="393"/>
                  </a:cubicBezTo>
                  <a:cubicBezTo>
                    <a:pt x="16165" y="393"/>
                    <a:pt x="16165" y="393"/>
                    <a:pt x="16165" y="393"/>
                  </a:cubicBezTo>
                  <a:cubicBezTo>
                    <a:pt x="16165" y="18065"/>
                    <a:pt x="16165" y="18065"/>
                    <a:pt x="16165" y="18065"/>
                  </a:cubicBezTo>
                  <a:cubicBezTo>
                    <a:pt x="16165" y="19244"/>
                    <a:pt x="16165" y="20029"/>
                    <a:pt x="16145" y="21207"/>
                  </a:cubicBezTo>
                  <a:cubicBezTo>
                    <a:pt x="16225" y="21207"/>
                    <a:pt x="16225" y="21207"/>
                    <a:pt x="16225" y="21207"/>
                  </a:cubicBezTo>
                  <a:cubicBezTo>
                    <a:pt x="16245" y="19636"/>
                    <a:pt x="16245" y="19636"/>
                    <a:pt x="16245" y="19636"/>
                  </a:cubicBezTo>
                  <a:cubicBezTo>
                    <a:pt x="16305" y="20815"/>
                    <a:pt x="16385" y="21600"/>
                    <a:pt x="16465" y="21600"/>
                  </a:cubicBezTo>
                  <a:cubicBezTo>
                    <a:pt x="16605" y="21600"/>
                    <a:pt x="16784" y="19636"/>
                    <a:pt x="16784" y="13745"/>
                  </a:cubicBezTo>
                  <a:cubicBezTo>
                    <a:pt x="16784" y="7855"/>
                    <a:pt x="16605" y="5891"/>
                    <a:pt x="16485" y="5891"/>
                  </a:cubicBezTo>
                  <a:moveTo>
                    <a:pt x="15086" y="9818"/>
                  </a:moveTo>
                  <a:cubicBezTo>
                    <a:pt x="15086" y="8640"/>
                    <a:pt x="15126" y="7855"/>
                    <a:pt x="15226" y="7855"/>
                  </a:cubicBezTo>
                  <a:cubicBezTo>
                    <a:pt x="15306" y="7855"/>
                    <a:pt x="15366" y="8247"/>
                    <a:pt x="15426" y="9818"/>
                  </a:cubicBezTo>
                  <a:cubicBezTo>
                    <a:pt x="15486" y="8640"/>
                    <a:pt x="15486" y="8640"/>
                    <a:pt x="15486" y="8640"/>
                  </a:cubicBezTo>
                  <a:cubicBezTo>
                    <a:pt x="15446" y="7069"/>
                    <a:pt x="15326" y="5891"/>
                    <a:pt x="15226" y="5891"/>
                  </a:cubicBezTo>
                  <a:cubicBezTo>
                    <a:pt x="15086" y="5891"/>
                    <a:pt x="14986" y="7462"/>
                    <a:pt x="14966" y="9818"/>
                  </a:cubicBezTo>
                  <a:cubicBezTo>
                    <a:pt x="14966" y="15316"/>
                    <a:pt x="15426" y="13353"/>
                    <a:pt x="15426" y="17280"/>
                  </a:cubicBezTo>
                  <a:cubicBezTo>
                    <a:pt x="15426" y="18458"/>
                    <a:pt x="15366" y="19636"/>
                    <a:pt x="15246" y="19636"/>
                  </a:cubicBezTo>
                  <a:cubicBezTo>
                    <a:pt x="15166" y="19636"/>
                    <a:pt x="15086" y="18851"/>
                    <a:pt x="15026" y="17673"/>
                  </a:cubicBezTo>
                  <a:cubicBezTo>
                    <a:pt x="14946" y="18851"/>
                    <a:pt x="14946" y="18851"/>
                    <a:pt x="14946" y="18851"/>
                  </a:cubicBezTo>
                  <a:cubicBezTo>
                    <a:pt x="15026" y="20422"/>
                    <a:pt x="15146" y="21600"/>
                    <a:pt x="15266" y="21600"/>
                  </a:cubicBezTo>
                  <a:cubicBezTo>
                    <a:pt x="15406" y="21600"/>
                    <a:pt x="15526" y="20029"/>
                    <a:pt x="15526" y="17280"/>
                  </a:cubicBezTo>
                  <a:cubicBezTo>
                    <a:pt x="15526" y="11389"/>
                    <a:pt x="15086" y="13353"/>
                    <a:pt x="15086" y="9818"/>
                  </a:cubicBezTo>
                  <a:moveTo>
                    <a:pt x="14567" y="5891"/>
                  </a:moveTo>
                  <a:cubicBezTo>
                    <a:pt x="14467" y="5891"/>
                    <a:pt x="14387" y="7069"/>
                    <a:pt x="14327" y="8247"/>
                  </a:cubicBezTo>
                  <a:cubicBezTo>
                    <a:pt x="14327" y="8247"/>
                    <a:pt x="14327" y="8247"/>
                    <a:pt x="14327" y="8247"/>
                  </a:cubicBezTo>
                  <a:cubicBezTo>
                    <a:pt x="14327" y="6284"/>
                    <a:pt x="14327" y="6284"/>
                    <a:pt x="14327" y="6284"/>
                  </a:cubicBezTo>
                  <a:cubicBezTo>
                    <a:pt x="14227" y="6284"/>
                    <a:pt x="14227" y="6284"/>
                    <a:pt x="14227" y="6284"/>
                  </a:cubicBezTo>
                  <a:cubicBezTo>
                    <a:pt x="14227" y="21207"/>
                    <a:pt x="14227" y="21207"/>
                    <a:pt x="14227" y="21207"/>
                  </a:cubicBezTo>
                  <a:cubicBezTo>
                    <a:pt x="14327" y="21207"/>
                    <a:pt x="14327" y="21207"/>
                    <a:pt x="14327" y="21207"/>
                  </a:cubicBezTo>
                  <a:cubicBezTo>
                    <a:pt x="14327" y="10211"/>
                    <a:pt x="14327" y="10211"/>
                    <a:pt x="14327" y="10211"/>
                  </a:cubicBezTo>
                  <a:cubicBezTo>
                    <a:pt x="14367" y="9033"/>
                    <a:pt x="14467" y="7855"/>
                    <a:pt x="14547" y="7855"/>
                  </a:cubicBezTo>
                  <a:cubicBezTo>
                    <a:pt x="14626" y="7855"/>
                    <a:pt x="14666" y="8247"/>
                    <a:pt x="14666" y="10211"/>
                  </a:cubicBezTo>
                  <a:cubicBezTo>
                    <a:pt x="14666" y="21207"/>
                    <a:pt x="14666" y="21207"/>
                    <a:pt x="14666" y="21207"/>
                  </a:cubicBezTo>
                  <a:cubicBezTo>
                    <a:pt x="14786" y="21207"/>
                    <a:pt x="14786" y="21207"/>
                    <a:pt x="14786" y="21207"/>
                  </a:cubicBezTo>
                  <a:cubicBezTo>
                    <a:pt x="14786" y="10211"/>
                    <a:pt x="14786" y="10211"/>
                    <a:pt x="14786" y="10211"/>
                  </a:cubicBezTo>
                  <a:cubicBezTo>
                    <a:pt x="14786" y="7069"/>
                    <a:pt x="14666" y="5891"/>
                    <a:pt x="14567" y="5891"/>
                  </a:cubicBezTo>
                  <a:moveTo>
                    <a:pt x="13887" y="17280"/>
                  </a:moveTo>
                  <a:cubicBezTo>
                    <a:pt x="13807" y="18851"/>
                    <a:pt x="13727" y="19636"/>
                    <a:pt x="13647" y="19636"/>
                  </a:cubicBezTo>
                  <a:cubicBezTo>
                    <a:pt x="13587" y="19636"/>
                    <a:pt x="13507" y="18851"/>
                    <a:pt x="13507" y="17673"/>
                  </a:cubicBezTo>
                  <a:cubicBezTo>
                    <a:pt x="13507" y="15316"/>
                    <a:pt x="13627" y="14138"/>
                    <a:pt x="13887" y="13353"/>
                  </a:cubicBezTo>
                  <a:lnTo>
                    <a:pt x="13887" y="17280"/>
                  </a:lnTo>
                  <a:close/>
                  <a:moveTo>
                    <a:pt x="13987" y="10604"/>
                  </a:moveTo>
                  <a:cubicBezTo>
                    <a:pt x="13987" y="7069"/>
                    <a:pt x="13847" y="5891"/>
                    <a:pt x="13727" y="5891"/>
                  </a:cubicBezTo>
                  <a:cubicBezTo>
                    <a:pt x="13567" y="5891"/>
                    <a:pt x="13488" y="7462"/>
                    <a:pt x="13428" y="9033"/>
                  </a:cubicBezTo>
                  <a:cubicBezTo>
                    <a:pt x="13527" y="10211"/>
                    <a:pt x="13527" y="10211"/>
                    <a:pt x="13527" y="10211"/>
                  </a:cubicBezTo>
                  <a:cubicBezTo>
                    <a:pt x="13547" y="9033"/>
                    <a:pt x="13607" y="7855"/>
                    <a:pt x="13727" y="7855"/>
                  </a:cubicBezTo>
                  <a:cubicBezTo>
                    <a:pt x="13807" y="7855"/>
                    <a:pt x="13887" y="8640"/>
                    <a:pt x="13887" y="10604"/>
                  </a:cubicBezTo>
                  <a:cubicBezTo>
                    <a:pt x="13887" y="11389"/>
                    <a:pt x="13887" y="11389"/>
                    <a:pt x="13887" y="11389"/>
                  </a:cubicBezTo>
                  <a:cubicBezTo>
                    <a:pt x="13547" y="12567"/>
                    <a:pt x="13408" y="14138"/>
                    <a:pt x="13408" y="17280"/>
                  </a:cubicBezTo>
                  <a:cubicBezTo>
                    <a:pt x="13408" y="20029"/>
                    <a:pt x="13507" y="21600"/>
                    <a:pt x="13627" y="21600"/>
                  </a:cubicBezTo>
                  <a:cubicBezTo>
                    <a:pt x="13747" y="21600"/>
                    <a:pt x="13827" y="20422"/>
                    <a:pt x="13887" y="19244"/>
                  </a:cubicBezTo>
                  <a:cubicBezTo>
                    <a:pt x="13887" y="21207"/>
                    <a:pt x="13887" y="21207"/>
                    <a:pt x="13887" y="21207"/>
                  </a:cubicBezTo>
                  <a:cubicBezTo>
                    <a:pt x="14007" y="21207"/>
                    <a:pt x="14007" y="21207"/>
                    <a:pt x="14007" y="21207"/>
                  </a:cubicBezTo>
                  <a:cubicBezTo>
                    <a:pt x="13987" y="20422"/>
                    <a:pt x="13987" y="19636"/>
                    <a:pt x="13987" y="18065"/>
                  </a:cubicBezTo>
                  <a:lnTo>
                    <a:pt x="13987" y="10604"/>
                  </a:lnTo>
                  <a:close/>
                  <a:moveTo>
                    <a:pt x="12988" y="7855"/>
                  </a:moveTo>
                  <a:cubicBezTo>
                    <a:pt x="13088" y="7855"/>
                    <a:pt x="13168" y="9425"/>
                    <a:pt x="13168" y="12567"/>
                  </a:cubicBezTo>
                  <a:cubicBezTo>
                    <a:pt x="12768" y="12567"/>
                    <a:pt x="12768" y="12567"/>
                    <a:pt x="12768" y="12567"/>
                  </a:cubicBezTo>
                  <a:cubicBezTo>
                    <a:pt x="12788" y="9425"/>
                    <a:pt x="12848" y="7855"/>
                    <a:pt x="12988" y="7855"/>
                  </a:cubicBezTo>
                  <a:moveTo>
                    <a:pt x="12988" y="19636"/>
                  </a:moveTo>
                  <a:cubicBezTo>
                    <a:pt x="12868" y="19636"/>
                    <a:pt x="12768" y="17673"/>
                    <a:pt x="12768" y="14138"/>
                  </a:cubicBezTo>
                  <a:cubicBezTo>
                    <a:pt x="13268" y="14138"/>
                    <a:pt x="13268" y="14138"/>
                    <a:pt x="13268" y="14138"/>
                  </a:cubicBezTo>
                  <a:cubicBezTo>
                    <a:pt x="13268" y="12960"/>
                    <a:pt x="13268" y="12960"/>
                    <a:pt x="13268" y="12960"/>
                  </a:cubicBezTo>
                  <a:cubicBezTo>
                    <a:pt x="13268" y="7855"/>
                    <a:pt x="13128" y="5891"/>
                    <a:pt x="12968" y="5891"/>
                  </a:cubicBezTo>
                  <a:cubicBezTo>
                    <a:pt x="12788" y="5891"/>
                    <a:pt x="12668" y="9033"/>
                    <a:pt x="12668" y="13745"/>
                  </a:cubicBezTo>
                  <a:cubicBezTo>
                    <a:pt x="12668" y="19244"/>
                    <a:pt x="12828" y="21600"/>
                    <a:pt x="12988" y="21600"/>
                  </a:cubicBezTo>
                  <a:cubicBezTo>
                    <a:pt x="13168" y="21600"/>
                    <a:pt x="13248" y="19636"/>
                    <a:pt x="13288" y="18065"/>
                  </a:cubicBezTo>
                  <a:cubicBezTo>
                    <a:pt x="13208" y="17280"/>
                    <a:pt x="13208" y="17280"/>
                    <a:pt x="13208" y="17280"/>
                  </a:cubicBezTo>
                  <a:cubicBezTo>
                    <a:pt x="13168" y="18851"/>
                    <a:pt x="13088" y="19636"/>
                    <a:pt x="12988" y="19636"/>
                  </a:cubicBezTo>
                  <a:moveTo>
                    <a:pt x="12269" y="5891"/>
                  </a:moveTo>
                  <a:cubicBezTo>
                    <a:pt x="12169" y="5891"/>
                    <a:pt x="12089" y="7069"/>
                    <a:pt x="12029" y="8247"/>
                  </a:cubicBezTo>
                  <a:cubicBezTo>
                    <a:pt x="11989" y="7069"/>
                    <a:pt x="11929" y="5891"/>
                    <a:pt x="11829" y="5891"/>
                  </a:cubicBezTo>
                  <a:cubicBezTo>
                    <a:pt x="11749" y="5891"/>
                    <a:pt x="11669" y="6676"/>
                    <a:pt x="11609" y="8247"/>
                  </a:cubicBezTo>
                  <a:cubicBezTo>
                    <a:pt x="11589" y="8247"/>
                    <a:pt x="11589" y="8247"/>
                    <a:pt x="11589" y="8247"/>
                  </a:cubicBezTo>
                  <a:cubicBezTo>
                    <a:pt x="11589" y="6284"/>
                    <a:pt x="11589" y="6284"/>
                    <a:pt x="11589" y="6284"/>
                  </a:cubicBezTo>
                  <a:cubicBezTo>
                    <a:pt x="11489" y="6284"/>
                    <a:pt x="11489" y="6284"/>
                    <a:pt x="11489" y="6284"/>
                  </a:cubicBezTo>
                  <a:cubicBezTo>
                    <a:pt x="11489" y="21207"/>
                    <a:pt x="11489" y="21207"/>
                    <a:pt x="11489" y="21207"/>
                  </a:cubicBezTo>
                  <a:cubicBezTo>
                    <a:pt x="11589" y="21207"/>
                    <a:pt x="11589" y="21207"/>
                    <a:pt x="11589" y="21207"/>
                  </a:cubicBezTo>
                  <a:cubicBezTo>
                    <a:pt x="11589" y="10211"/>
                    <a:pt x="11589" y="10211"/>
                    <a:pt x="11589" y="10211"/>
                  </a:cubicBezTo>
                  <a:cubicBezTo>
                    <a:pt x="11649" y="9033"/>
                    <a:pt x="11709" y="7855"/>
                    <a:pt x="11809" y="7855"/>
                  </a:cubicBezTo>
                  <a:cubicBezTo>
                    <a:pt x="11889" y="7855"/>
                    <a:pt x="11929" y="8640"/>
                    <a:pt x="11929" y="10604"/>
                  </a:cubicBezTo>
                  <a:cubicBezTo>
                    <a:pt x="11929" y="21207"/>
                    <a:pt x="11929" y="21207"/>
                    <a:pt x="11929" y="21207"/>
                  </a:cubicBezTo>
                  <a:cubicBezTo>
                    <a:pt x="12029" y="21207"/>
                    <a:pt x="12029" y="21207"/>
                    <a:pt x="12029" y="21207"/>
                  </a:cubicBezTo>
                  <a:cubicBezTo>
                    <a:pt x="12029" y="10211"/>
                    <a:pt x="12029" y="10211"/>
                    <a:pt x="12029" y="10211"/>
                  </a:cubicBezTo>
                  <a:cubicBezTo>
                    <a:pt x="12089" y="9033"/>
                    <a:pt x="12149" y="7855"/>
                    <a:pt x="12249" y="7855"/>
                  </a:cubicBezTo>
                  <a:cubicBezTo>
                    <a:pt x="12329" y="7855"/>
                    <a:pt x="12369" y="8640"/>
                    <a:pt x="12369" y="10604"/>
                  </a:cubicBezTo>
                  <a:cubicBezTo>
                    <a:pt x="12369" y="21207"/>
                    <a:pt x="12369" y="21207"/>
                    <a:pt x="12369" y="21207"/>
                  </a:cubicBezTo>
                  <a:cubicBezTo>
                    <a:pt x="12468" y="21207"/>
                    <a:pt x="12468" y="21207"/>
                    <a:pt x="12468" y="21207"/>
                  </a:cubicBezTo>
                  <a:cubicBezTo>
                    <a:pt x="12468" y="10604"/>
                    <a:pt x="12468" y="10604"/>
                    <a:pt x="12468" y="10604"/>
                  </a:cubicBezTo>
                  <a:cubicBezTo>
                    <a:pt x="12468" y="6676"/>
                    <a:pt x="12369" y="5891"/>
                    <a:pt x="12269" y="5891"/>
                  </a:cubicBezTo>
                  <a:moveTo>
                    <a:pt x="10550" y="5891"/>
                  </a:moveTo>
                  <a:cubicBezTo>
                    <a:pt x="10470" y="5891"/>
                    <a:pt x="10390" y="7069"/>
                    <a:pt x="10330" y="8247"/>
                  </a:cubicBezTo>
                  <a:cubicBezTo>
                    <a:pt x="10330" y="8247"/>
                    <a:pt x="10330" y="8247"/>
                    <a:pt x="10330" y="8247"/>
                  </a:cubicBezTo>
                  <a:cubicBezTo>
                    <a:pt x="10330" y="6284"/>
                    <a:pt x="10330" y="6284"/>
                    <a:pt x="10330" y="6284"/>
                  </a:cubicBezTo>
                  <a:cubicBezTo>
                    <a:pt x="10231" y="6284"/>
                    <a:pt x="10231" y="6284"/>
                    <a:pt x="10231" y="6284"/>
                  </a:cubicBezTo>
                  <a:cubicBezTo>
                    <a:pt x="10231" y="21207"/>
                    <a:pt x="10231" y="21207"/>
                    <a:pt x="10231" y="21207"/>
                  </a:cubicBezTo>
                  <a:cubicBezTo>
                    <a:pt x="10330" y="21207"/>
                    <a:pt x="10330" y="21207"/>
                    <a:pt x="10330" y="21207"/>
                  </a:cubicBezTo>
                  <a:cubicBezTo>
                    <a:pt x="10330" y="10211"/>
                    <a:pt x="10330" y="10211"/>
                    <a:pt x="10330" y="10211"/>
                  </a:cubicBezTo>
                  <a:cubicBezTo>
                    <a:pt x="10370" y="9033"/>
                    <a:pt x="10470" y="7855"/>
                    <a:pt x="10550" y="7855"/>
                  </a:cubicBezTo>
                  <a:cubicBezTo>
                    <a:pt x="10630" y="7855"/>
                    <a:pt x="10670" y="8247"/>
                    <a:pt x="10670" y="10211"/>
                  </a:cubicBezTo>
                  <a:cubicBezTo>
                    <a:pt x="10670" y="21207"/>
                    <a:pt x="10670" y="21207"/>
                    <a:pt x="10670" y="21207"/>
                  </a:cubicBezTo>
                  <a:cubicBezTo>
                    <a:pt x="10770" y="21207"/>
                    <a:pt x="10770" y="21207"/>
                    <a:pt x="10770" y="21207"/>
                  </a:cubicBezTo>
                  <a:cubicBezTo>
                    <a:pt x="10770" y="10211"/>
                    <a:pt x="10770" y="10211"/>
                    <a:pt x="10770" y="10211"/>
                  </a:cubicBezTo>
                  <a:cubicBezTo>
                    <a:pt x="10770" y="7069"/>
                    <a:pt x="10670" y="5891"/>
                    <a:pt x="10550" y="5891"/>
                  </a:cubicBezTo>
                  <a:moveTo>
                    <a:pt x="9711" y="19636"/>
                  </a:moveTo>
                  <a:cubicBezTo>
                    <a:pt x="9591" y="19636"/>
                    <a:pt x="9511" y="17673"/>
                    <a:pt x="9511" y="13745"/>
                  </a:cubicBezTo>
                  <a:cubicBezTo>
                    <a:pt x="9511" y="9818"/>
                    <a:pt x="9591" y="7855"/>
                    <a:pt x="9711" y="7855"/>
                  </a:cubicBezTo>
                  <a:cubicBezTo>
                    <a:pt x="9851" y="7855"/>
                    <a:pt x="9931" y="9818"/>
                    <a:pt x="9931" y="13745"/>
                  </a:cubicBezTo>
                  <a:cubicBezTo>
                    <a:pt x="9931" y="17673"/>
                    <a:pt x="9851" y="19636"/>
                    <a:pt x="9711" y="19636"/>
                  </a:cubicBezTo>
                  <a:moveTo>
                    <a:pt x="9711" y="5891"/>
                  </a:moveTo>
                  <a:cubicBezTo>
                    <a:pt x="9511" y="5891"/>
                    <a:pt x="9411" y="9425"/>
                    <a:pt x="9411" y="13745"/>
                  </a:cubicBezTo>
                  <a:cubicBezTo>
                    <a:pt x="9411" y="18065"/>
                    <a:pt x="9511" y="21600"/>
                    <a:pt x="9711" y="21600"/>
                  </a:cubicBezTo>
                  <a:cubicBezTo>
                    <a:pt x="9931" y="21600"/>
                    <a:pt x="10031" y="18065"/>
                    <a:pt x="10031" y="13745"/>
                  </a:cubicBezTo>
                  <a:cubicBezTo>
                    <a:pt x="10031" y="9425"/>
                    <a:pt x="9931" y="5891"/>
                    <a:pt x="9711" y="5891"/>
                  </a:cubicBezTo>
                  <a:moveTo>
                    <a:pt x="9092" y="21207"/>
                  </a:moveTo>
                  <a:cubicBezTo>
                    <a:pt x="9191" y="21207"/>
                    <a:pt x="9191" y="21207"/>
                    <a:pt x="9191" y="21207"/>
                  </a:cubicBezTo>
                  <a:cubicBezTo>
                    <a:pt x="9191" y="6284"/>
                    <a:pt x="9191" y="6284"/>
                    <a:pt x="9191" y="6284"/>
                  </a:cubicBezTo>
                  <a:cubicBezTo>
                    <a:pt x="9092" y="6284"/>
                    <a:pt x="9092" y="6284"/>
                    <a:pt x="9092" y="6284"/>
                  </a:cubicBezTo>
                  <a:lnTo>
                    <a:pt x="9092" y="21207"/>
                  </a:lnTo>
                  <a:close/>
                  <a:moveTo>
                    <a:pt x="9092" y="2749"/>
                  </a:moveTo>
                  <a:cubicBezTo>
                    <a:pt x="9191" y="2749"/>
                    <a:pt x="9191" y="2749"/>
                    <a:pt x="9191" y="2749"/>
                  </a:cubicBezTo>
                  <a:cubicBezTo>
                    <a:pt x="9191" y="0"/>
                    <a:pt x="9191" y="0"/>
                    <a:pt x="9191" y="0"/>
                  </a:cubicBezTo>
                  <a:cubicBezTo>
                    <a:pt x="9092" y="0"/>
                    <a:pt x="9092" y="0"/>
                    <a:pt x="9092" y="0"/>
                  </a:cubicBezTo>
                  <a:lnTo>
                    <a:pt x="9092" y="2749"/>
                  </a:lnTo>
                  <a:close/>
                  <a:moveTo>
                    <a:pt x="8692" y="18851"/>
                  </a:moveTo>
                  <a:cubicBezTo>
                    <a:pt x="8692" y="7855"/>
                    <a:pt x="8692" y="7855"/>
                    <a:pt x="8692" y="7855"/>
                  </a:cubicBezTo>
                  <a:cubicBezTo>
                    <a:pt x="8872" y="7855"/>
                    <a:pt x="8872" y="7855"/>
                    <a:pt x="8872" y="7855"/>
                  </a:cubicBezTo>
                  <a:cubicBezTo>
                    <a:pt x="8872" y="6284"/>
                    <a:pt x="8872" y="6284"/>
                    <a:pt x="8872" y="6284"/>
                  </a:cubicBezTo>
                  <a:cubicBezTo>
                    <a:pt x="8692" y="6284"/>
                    <a:pt x="8692" y="6284"/>
                    <a:pt x="8692" y="6284"/>
                  </a:cubicBezTo>
                  <a:cubicBezTo>
                    <a:pt x="8692" y="1178"/>
                    <a:pt x="8692" y="1178"/>
                    <a:pt x="8692" y="1178"/>
                  </a:cubicBezTo>
                  <a:cubicBezTo>
                    <a:pt x="8592" y="1178"/>
                    <a:pt x="8592" y="1178"/>
                    <a:pt x="8592" y="1178"/>
                  </a:cubicBezTo>
                  <a:cubicBezTo>
                    <a:pt x="8592" y="6284"/>
                    <a:pt x="8592" y="6284"/>
                    <a:pt x="8592" y="6284"/>
                  </a:cubicBezTo>
                  <a:cubicBezTo>
                    <a:pt x="8452" y="6284"/>
                    <a:pt x="8452" y="6284"/>
                    <a:pt x="8452" y="6284"/>
                  </a:cubicBezTo>
                  <a:cubicBezTo>
                    <a:pt x="8452" y="7855"/>
                    <a:pt x="8452" y="7855"/>
                    <a:pt x="8452" y="7855"/>
                  </a:cubicBezTo>
                  <a:cubicBezTo>
                    <a:pt x="8592" y="7855"/>
                    <a:pt x="8592" y="7855"/>
                    <a:pt x="8592" y="7855"/>
                  </a:cubicBezTo>
                  <a:cubicBezTo>
                    <a:pt x="8592" y="19244"/>
                    <a:pt x="8592" y="19244"/>
                    <a:pt x="8592" y="19244"/>
                  </a:cubicBezTo>
                  <a:cubicBezTo>
                    <a:pt x="8592" y="21207"/>
                    <a:pt x="8632" y="21600"/>
                    <a:pt x="8752" y="21600"/>
                  </a:cubicBezTo>
                  <a:cubicBezTo>
                    <a:pt x="8812" y="21600"/>
                    <a:pt x="8852" y="21600"/>
                    <a:pt x="8872" y="21207"/>
                  </a:cubicBezTo>
                  <a:cubicBezTo>
                    <a:pt x="8872" y="19636"/>
                    <a:pt x="8872" y="19636"/>
                    <a:pt x="8872" y="19636"/>
                  </a:cubicBezTo>
                  <a:cubicBezTo>
                    <a:pt x="8852" y="19636"/>
                    <a:pt x="8812" y="19636"/>
                    <a:pt x="8772" y="19636"/>
                  </a:cubicBezTo>
                  <a:cubicBezTo>
                    <a:pt x="8712" y="19636"/>
                    <a:pt x="8692" y="19636"/>
                    <a:pt x="8692" y="18851"/>
                  </a:cubicBezTo>
                  <a:moveTo>
                    <a:pt x="8232" y="17280"/>
                  </a:moveTo>
                  <a:cubicBezTo>
                    <a:pt x="8152" y="18851"/>
                    <a:pt x="8073" y="19636"/>
                    <a:pt x="7993" y="19636"/>
                  </a:cubicBezTo>
                  <a:cubicBezTo>
                    <a:pt x="7933" y="19636"/>
                    <a:pt x="7853" y="18851"/>
                    <a:pt x="7853" y="17673"/>
                  </a:cubicBezTo>
                  <a:cubicBezTo>
                    <a:pt x="7853" y="15316"/>
                    <a:pt x="7973" y="14138"/>
                    <a:pt x="8232" y="13353"/>
                  </a:cubicBezTo>
                  <a:lnTo>
                    <a:pt x="8232" y="17280"/>
                  </a:lnTo>
                  <a:close/>
                  <a:moveTo>
                    <a:pt x="8332" y="10604"/>
                  </a:moveTo>
                  <a:cubicBezTo>
                    <a:pt x="8332" y="7069"/>
                    <a:pt x="8192" y="5891"/>
                    <a:pt x="8073" y="5891"/>
                  </a:cubicBezTo>
                  <a:cubicBezTo>
                    <a:pt x="7913" y="5891"/>
                    <a:pt x="7833" y="7462"/>
                    <a:pt x="7773" y="9033"/>
                  </a:cubicBezTo>
                  <a:cubicBezTo>
                    <a:pt x="7873" y="10211"/>
                    <a:pt x="7873" y="10211"/>
                    <a:pt x="7873" y="10211"/>
                  </a:cubicBezTo>
                  <a:cubicBezTo>
                    <a:pt x="7893" y="9033"/>
                    <a:pt x="7953" y="7855"/>
                    <a:pt x="8073" y="7855"/>
                  </a:cubicBezTo>
                  <a:cubicBezTo>
                    <a:pt x="8152" y="7855"/>
                    <a:pt x="8232" y="8640"/>
                    <a:pt x="8232" y="10604"/>
                  </a:cubicBezTo>
                  <a:cubicBezTo>
                    <a:pt x="8232" y="11389"/>
                    <a:pt x="8232" y="11389"/>
                    <a:pt x="8232" y="11389"/>
                  </a:cubicBezTo>
                  <a:cubicBezTo>
                    <a:pt x="7893" y="12567"/>
                    <a:pt x="7753" y="14138"/>
                    <a:pt x="7753" y="17280"/>
                  </a:cubicBezTo>
                  <a:cubicBezTo>
                    <a:pt x="7753" y="20029"/>
                    <a:pt x="7853" y="21600"/>
                    <a:pt x="7973" y="21600"/>
                  </a:cubicBezTo>
                  <a:cubicBezTo>
                    <a:pt x="8093" y="21600"/>
                    <a:pt x="8172" y="20422"/>
                    <a:pt x="8232" y="19244"/>
                  </a:cubicBezTo>
                  <a:cubicBezTo>
                    <a:pt x="8232" y="21207"/>
                    <a:pt x="8232" y="21207"/>
                    <a:pt x="8232" y="21207"/>
                  </a:cubicBezTo>
                  <a:cubicBezTo>
                    <a:pt x="8352" y="21207"/>
                    <a:pt x="8352" y="21207"/>
                    <a:pt x="8352" y="21207"/>
                  </a:cubicBezTo>
                  <a:cubicBezTo>
                    <a:pt x="8332" y="20422"/>
                    <a:pt x="8332" y="19636"/>
                    <a:pt x="8332" y="18065"/>
                  </a:cubicBezTo>
                  <a:lnTo>
                    <a:pt x="8332" y="10604"/>
                  </a:lnTo>
                  <a:close/>
                  <a:moveTo>
                    <a:pt x="7353" y="18851"/>
                  </a:moveTo>
                  <a:cubicBezTo>
                    <a:pt x="7353" y="18851"/>
                    <a:pt x="7353" y="18851"/>
                    <a:pt x="7353" y="18851"/>
                  </a:cubicBezTo>
                  <a:cubicBezTo>
                    <a:pt x="7173" y="6284"/>
                    <a:pt x="7173" y="6284"/>
                    <a:pt x="7173" y="6284"/>
                  </a:cubicBezTo>
                  <a:cubicBezTo>
                    <a:pt x="7053" y="6284"/>
                    <a:pt x="7053" y="6284"/>
                    <a:pt x="7053" y="6284"/>
                  </a:cubicBezTo>
                  <a:cubicBezTo>
                    <a:pt x="7293" y="21207"/>
                    <a:pt x="7293" y="21207"/>
                    <a:pt x="7293" y="21207"/>
                  </a:cubicBezTo>
                  <a:cubicBezTo>
                    <a:pt x="7433" y="21207"/>
                    <a:pt x="7433" y="21207"/>
                    <a:pt x="7433" y="21207"/>
                  </a:cubicBezTo>
                  <a:cubicBezTo>
                    <a:pt x="7673" y="6284"/>
                    <a:pt x="7673" y="6284"/>
                    <a:pt x="7673" y="6284"/>
                  </a:cubicBezTo>
                  <a:cubicBezTo>
                    <a:pt x="7553" y="6284"/>
                    <a:pt x="7553" y="6284"/>
                    <a:pt x="7553" y="6284"/>
                  </a:cubicBezTo>
                  <a:lnTo>
                    <a:pt x="7353" y="18851"/>
                  </a:lnTo>
                  <a:close/>
                  <a:moveTo>
                    <a:pt x="6654" y="19636"/>
                  </a:moveTo>
                  <a:cubicBezTo>
                    <a:pt x="6534" y="19636"/>
                    <a:pt x="6454" y="17673"/>
                    <a:pt x="6454" y="13745"/>
                  </a:cubicBezTo>
                  <a:cubicBezTo>
                    <a:pt x="6454" y="9818"/>
                    <a:pt x="6534" y="7855"/>
                    <a:pt x="6654" y="7855"/>
                  </a:cubicBezTo>
                  <a:cubicBezTo>
                    <a:pt x="6794" y="7855"/>
                    <a:pt x="6874" y="9818"/>
                    <a:pt x="6874" y="13745"/>
                  </a:cubicBezTo>
                  <a:cubicBezTo>
                    <a:pt x="6874" y="17673"/>
                    <a:pt x="6794" y="19636"/>
                    <a:pt x="6654" y="19636"/>
                  </a:cubicBezTo>
                  <a:moveTo>
                    <a:pt x="6654" y="5891"/>
                  </a:moveTo>
                  <a:cubicBezTo>
                    <a:pt x="6454" y="5891"/>
                    <a:pt x="6354" y="9425"/>
                    <a:pt x="6354" y="13745"/>
                  </a:cubicBezTo>
                  <a:cubicBezTo>
                    <a:pt x="6354" y="18065"/>
                    <a:pt x="6454" y="21600"/>
                    <a:pt x="6654" y="21600"/>
                  </a:cubicBezTo>
                  <a:cubicBezTo>
                    <a:pt x="6874" y="21600"/>
                    <a:pt x="6974" y="18065"/>
                    <a:pt x="6974" y="13745"/>
                  </a:cubicBezTo>
                  <a:cubicBezTo>
                    <a:pt x="6974" y="9425"/>
                    <a:pt x="6874" y="5891"/>
                    <a:pt x="6654" y="5891"/>
                  </a:cubicBezTo>
                  <a:moveTo>
                    <a:pt x="5935" y="5891"/>
                  </a:moveTo>
                  <a:cubicBezTo>
                    <a:pt x="5855" y="5891"/>
                    <a:pt x="5775" y="7069"/>
                    <a:pt x="5715" y="8247"/>
                  </a:cubicBezTo>
                  <a:cubicBezTo>
                    <a:pt x="5695" y="8247"/>
                    <a:pt x="5695" y="8247"/>
                    <a:pt x="5695" y="8247"/>
                  </a:cubicBezTo>
                  <a:cubicBezTo>
                    <a:pt x="5695" y="6284"/>
                    <a:pt x="5695" y="6284"/>
                    <a:pt x="5695" y="6284"/>
                  </a:cubicBezTo>
                  <a:cubicBezTo>
                    <a:pt x="5595" y="6284"/>
                    <a:pt x="5595" y="6284"/>
                    <a:pt x="5595" y="6284"/>
                  </a:cubicBezTo>
                  <a:cubicBezTo>
                    <a:pt x="5595" y="21207"/>
                    <a:pt x="5595" y="21207"/>
                    <a:pt x="5595" y="21207"/>
                  </a:cubicBezTo>
                  <a:cubicBezTo>
                    <a:pt x="5695" y="21207"/>
                    <a:pt x="5695" y="21207"/>
                    <a:pt x="5695" y="21207"/>
                  </a:cubicBezTo>
                  <a:cubicBezTo>
                    <a:pt x="5695" y="10211"/>
                    <a:pt x="5695" y="10211"/>
                    <a:pt x="5695" y="10211"/>
                  </a:cubicBezTo>
                  <a:cubicBezTo>
                    <a:pt x="5755" y="9033"/>
                    <a:pt x="5835" y="7855"/>
                    <a:pt x="5915" y="7855"/>
                  </a:cubicBezTo>
                  <a:cubicBezTo>
                    <a:pt x="5994" y="7855"/>
                    <a:pt x="6054" y="8247"/>
                    <a:pt x="6054" y="10211"/>
                  </a:cubicBezTo>
                  <a:cubicBezTo>
                    <a:pt x="6054" y="21207"/>
                    <a:pt x="6054" y="21207"/>
                    <a:pt x="6054" y="21207"/>
                  </a:cubicBezTo>
                  <a:cubicBezTo>
                    <a:pt x="6154" y="21207"/>
                    <a:pt x="6154" y="21207"/>
                    <a:pt x="6154" y="21207"/>
                  </a:cubicBezTo>
                  <a:cubicBezTo>
                    <a:pt x="6154" y="10211"/>
                    <a:pt x="6154" y="10211"/>
                    <a:pt x="6154" y="10211"/>
                  </a:cubicBezTo>
                  <a:cubicBezTo>
                    <a:pt x="6154" y="7069"/>
                    <a:pt x="6054" y="5891"/>
                    <a:pt x="5935" y="5891"/>
                  </a:cubicBezTo>
                  <a:moveTo>
                    <a:pt x="5115" y="5891"/>
                  </a:moveTo>
                  <a:cubicBezTo>
                    <a:pt x="5015" y="5891"/>
                    <a:pt x="4935" y="7069"/>
                    <a:pt x="4875" y="8247"/>
                  </a:cubicBezTo>
                  <a:cubicBezTo>
                    <a:pt x="4875" y="8247"/>
                    <a:pt x="4875" y="8247"/>
                    <a:pt x="4875" y="8247"/>
                  </a:cubicBezTo>
                  <a:cubicBezTo>
                    <a:pt x="4875" y="6284"/>
                    <a:pt x="4875" y="6284"/>
                    <a:pt x="4875" y="6284"/>
                  </a:cubicBezTo>
                  <a:cubicBezTo>
                    <a:pt x="4776" y="6284"/>
                    <a:pt x="4776" y="6284"/>
                    <a:pt x="4776" y="6284"/>
                  </a:cubicBezTo>
                  <a:cubicBezTo>
                    <a:pt x="4776" y="21207"/>
                    <a:pt x="4776" y="21207"/>
                    <a:pt x="4776" y="21207"/>
                  </a:cubicBezTo>
                  <a:cubicBezTo>
                    <a:pt x="4875" y="21207"/>
                    <a:pt x="4875" y="21207"/>
                    <a:pt x="4875" y="21207"/>
                  </a:cubicBezTo>
                  <a:cubicBezTo>
                    <a:pt x="4875" y="10211"/>
                    <a:pt x="4875" y="10211"/>
                    <a:pt x="4875" y="10211"/>
                  </a:cubicBezTo>
                  <a:cubicBezTo>
                    <a:pt x="4915" y="9033"/>
                    <a:pt x="5015" y="7855"/>
                    <a:pt x="5095" y="7855"/>
                  </a:cubicBezTo>
                  <a:cubicBezTo>
                    <a:pt x="5175" y="7855"/>
                    <a:pt x="5215" y="8247"/>
                    <a:pt x="5215" y="10211"/>
                  </a:cubicBezTo>
                  <a:cubicBezTo>
                    <a:pt x="5215" y="21207"/>
                    <a:pt x="5215" y="21207"/>
                    <a:pt x="5215" y="21207"/>
                  </a:cubicBezTo>
                  <a:cubicBezTo>
                    <a:pt x="5335" y="21207"/>
                    <a:pt x="5335" y="21207"/>
                    <a:pt x="5335" y="21207"/>
                  </a:cubicBezTo>
                  <a:cubicBezTo>
                    <a:pt x="5335" y="10211"/>
                    <a:pt x="5335" y="10211"/>
                    <a:pt x="5335" y="10211"/>
                  </a:cubicBezTo>
                  <a:cubicBezTo>
                    <a:pt x="5335" y="7069"/>
                    <a:pt x="5215" y="5891"/>
                    <a:pt x="5115" y="5891"/>
                  </a:cubicBezTo>
                  <a:moveTo>
                    <a:pt x="4376" y="2749"/>
                  </a:moveTo>
                  <a:cubicBezTo>
                    <a:pt x="4476" y="2749"/>
                    <a:pt x="4476" y="2749"/>
                    <a:pt x="4476" y="2749"/>
                  </a:cubicBezTo>
                  <a:cubicBezTo>
                    <a:pt x="4476" y="0"/>
                    <a:pt x="4476" y="0"/>
                    <a:pt x="4476" y="0"/>
                  </a:cubicBezTo>
                  <a:cubicBezTo>
                    <a:pt x="4376" y="0"/>
                    <a:pt x="4376" y="0"/>
                    <a:pt x="4376" y="0"/>
                  </a:cubicBezTo>
                  <a:lnTo>
                    <a:pt x="4376" y="2749"/>
                  </a:lnTo>
                  <a:close/>
                  <a:moveTo>
                    <a:pt x="4376" y="21207"/>
                  </a:moveTo>
                  <a:cubicBezTo>
                    <a:pt x="4476" y="21207"/>
                    <a:pt x="4476" y="21207"/>
                    <a:pt x="4476" y="21207"/>
                  </a:cubicBezTo>
                  <a:cubicBezTo>
                    <a:pt x="4476" y="6284"/>
                    <a:pt x="4476" y="6284"/>
                    <a:pt x="4476" y="6284"/>
                  </a:cubicBezTo>
                  <a:cubicBezTo>
                    <a:pt x="4376" y="6284"/>
                    <a:pt x="4376" y="6284"/>
                    <a:pt x="4376" y="6284"/>
                  </a:cubicBezTo>
                  <a:lnTo>
                    <a:pt x="4376" y="21207"/>
                  </a:lnTo>
                  <a:close/>
                  <a:moveTo>
                    <a:pt x="3397" y="7855"/>
                  </a:moveTo>
                  <a:cubicBezTo>
                    <a:pt x="3517" y="7855"/>
                    <a:pt x="3577" y="9425"/>
                    <a:pt x="3577" y="12567"/>
                  </a:cubicBezTo>
                  <a:cubicBezTo>
                    <a:pt x="3197" y="12567"/>
                    <a:pt x="3197" y="12567"/>
                    <a:pt x="3197" y="12567"/>
                  </a:cubicBezTo>
                  <a:cubicBezTo>
                    <a:pt x="3197" y="9425"/>
                    <a:pt x="3277" y="7855"/>
                    <a:pt x="3397" y="7855"/>
                  </a:cubicBezTo>
                  <a:moveTo>
                    <a:pt x="3417" y="19636"/>
                  </a:moveTo>
                  <a:cubicBezTo>
                    <a:pt x="3297" y="19636"/>
                    <a:pt x="3197" y="17673"/>
                    <a:pt x="3197" y="14138"/>
                  </a:cubicBezTo>
                  <a:cubicBezTo>
                    <a:pt x="3697" y="14138"/>
                    <a:pt x="3697" y="14138"/>
                    <a:pt x="3697" y="14138"/>
                  </a:cubicBezTo>
                  <a:cubicBezTo>
                    <a:pt x="3697" y="12960"/>
                    <a:pt x="3697" y="12960"/>
                    <a:pt x="3697" y="12960"/>
                  </a:cubicBezTo>
                  <a:cubicBezTo>
                    <a:pt x="3697" y="7855"/>
                    <a:pt x="3557" y="5891"/>
                    <a:pt x="3397" y="5891"/>
                  </a:cubicBezTo>
                  <a:cubicBezTo>
                    <a:pt x="3217" y="5891"/>
                    <a:pt x="3077" y="9033"/>
                    <a:pt x="3077" y="13745"/>
                  </a:cubicBezTo>
                  <a:cubicBezTo>
                    <a:pt x="3077" y="19244"/>
                    <a:pt x="3257" y="21600"/>
                    <a:pt x="3417" y="21600"/>
                  </a:cubicBezTo>
                  <a:cubicBezTo>
                    <a:pt x="3597" y="21600"/>
                    <a:pt x="3657" y="19636"/>
                    <a:pt x="3717" y="18065"/>
                  </a:cubicBezTo>
                  <a:cubicBezTo>
                    <a:pt x="3637" y="17280"/>
                    <a:pt x="3637" y="17280"/>
                    <a:pt x="3637" y="17280"/>
                  </a:cubicBezTo>
                  <a:cubicBezTo>
                    <a:pt x="3597" y="18851"/>
                    <a:pt x="3517" y="19636"/>
                    <a:pt x="3417" y="19636"/>
                  </a:cubicBezTo>
                  <a:moveTo>
                    <a:pt x="2737" y="9033"/>
                  </a:moveTo>
                  <a:cubicBezTo>
                    <a:pt x="2737" y="9033"/>
                    <a:pt x="2737" y="9033"/>
                    <a:pt x="2737" y="9033"/>
                  </a:cubicBezTo>
                  <a:cubicBezTo>
                    <a:pt x="2737" y="6284"/>
                    <a:pt x="2737" y="6284"/>
                    <a:pt x="2737" y="6284"/>
                  </a:cubicBezTo>
                  <a:cubicBezTo>
                    <a:pt x="2638" y="6284"/>
                    <a:pt x="2638" y="6284"/>
                    <a:pt x="2638" y="6284"/>
                  </a:cubicBezTo>
                  <a:cubicBezTo>
                    <a:pt x="2638" y="21207"/>
                    <a:pt x="2638" y="21207"/>
                    <a:pt x="2638" y="21207"/>
                  </a:cubicBezTo>
                  <a:cubicBezTo>
                    <a:pt x="2737" y="21207"/>
                    <a:pt x="2737" y="21207"/>
                    <a:pt x="2737" y="21207"/>
                  </a:cubicBezTo>
                  <a:cubicBezTo>
                    <a:pt x="2737" y="12960"/>
                    <a:pt x="2737" y="12960"/>
                    <a:pt x="2737" y="12960"/>
                  </a:cubicBezTo>
                  <a:cubicBezTo>
                    <a:pt x="2797" y="9818"/>
                    <a:pt x="2857" y="8247"/>
                    <a:pt x="2997" y="8247"/>
                  </a:cubicBezTo>
                  <a:cubicBezTo>
                    <a:pt x="2997" y="5891"/>
                    <a:pt x="2997" y="5891"/>
                    <a:pt x="2997" y="5891"/>
                  </a:cubicBezTo>
                  <a:cubicBezTo>
                    <a:pt x="2857" y="5891"/>
                    <a:pt x="2797" y="7069"/>
                    <a:pt x="2737" y="9033"/>
                  </a:cubicBezTo>
                  <a:moveTo>
                    <a:pt x="2158" y="7855"/>
                  </a:moveTo>
                  <a:cubicBezTo>
                    <a:pt x="2278" y="7855"/>
                    <a:pt x="2338" y="9425"/>
                    <a:pt x="2338" y="12567"/>
                  </a:cubicBezTo>
                  <a:cubicBezTo>
                    <a:pt x="1958" y="12567"/>
                    <a:pt x="1958" y="12567"/>
                    <a:pt x="1958" y="12567"/>
                  </a:cubicBezTo>
                  <a:cubicBezTo>
                    <a:pt x="1958" y="9425"/>
                    <a:pt x="2038" y="7855"/>
                    <a:pt x="2158" y="7855"/>
                  </a:cubicBezTo>
                  <a:moveTo>
                    <a:pt x="2178" y="19636"/>
                  </a:moveTo>
                  <a:cubicBezTo>
                    <a:pt x="2058" y="19636"/>
                    <a:pt x="1958" y="17673"/>
                    <a:pt x="1958" y="14138"/>
                  </a:cubicBezTo>
                  <a:cubicBezTo>
                    <a:pt x="2458" y="14138"/>
                    <a:pt x="2458" y="14138"/>
                    <a:pt x="2458" y="14138"/>
                  </a:cubicBezTo>
                  <a:cubicBezTo>
                    <a:pt x="2458" y="12960"/>
                    <a:pt x="2458" y="12960"/>
                    <a:pt x="2458" y="12960"/>
                  </a:cubicBezTo>
                  <a:cubicBezTo>
                    <a:pt x="2458" y="7855"/>
                    <a:pt x="2318" y="5891"/>
                    <a:pt x="2158" y="5891"/>
                  </a:cubicBezTo>
                  <a:cubicBezTo>
                    <a:pt x="1978" y="5891"/>
                    <a:pt x="1838" y="9033"/>
                    <a:pt x="1838" y="13745"/>
                  </a:cubicBezTo>
                  <a:cubicBezTo>
                    <a:pt x="1838" y="19244"/>
                    <a:pt x="2018" y="21600"/>
                    <a:pt x="2178" y="21600"/>
                  </a:cubicBezTo>
                  <a:cubicBezTo>
                    <a:pt x="2358" y="21600"/>
                    <a:pt x="2418" y="19636"/>
                    <a:pt x="2478" y="18065"/>
                  </a:cubicBezTo>
                  <a:cubicBezTo>
                    <a:pt x="2398" y="17280"/>
                    <a:pt x="2398" y="17280"/>
                    <a:pt x="2398" y="17280"/>
                  </a:cubicBezTo>
                  <a:cubicBezTo>
                    <a:pt x="2358" y="18851"/>
                    <a:pt x="2278" y="19636"/>
                    <a:pt x="2178" y="19636"/>
                  </a:cubicBezTo>
                  <a:moveTo>
                    <a:pt x="1439" y="5891"/>
                  </a:moveTo>
                  <a:cubicBezTo>
                    <a:pt x="1339" y="5891"/>
                    <a:pt x="1259" y="7069"/>
                    <a:pt x="1199" y="8247"/>
                  </a:cubicBezTo>
                  <a:cubicBezTo>
                    <a:pt x="1199" y="8247"/>
                    <a:pt x="1199" y="8247"/>
                    <a:pt x="1199" y="8247"/>
                  </a:cubicBezTo>
                  <a:cubicBezTo>
                    <a:pt x="1199" y="393"/>
                    <a:pt x="1199" y="393"/>
                    <a:pt x="1199" y="393"/>
                  </a:cubicBezTo>
                  <a:cubicBezTo>
                    <a:pt x="1099" y="393"/>
                    <a:pt x="1099" y="393"/>
                    <a:pt x="1099" y="393"/>
                  </a:cubicBezTo>
                  <a:cubicBezTo>
                    <a:pt x="1099" y="21207"/>
                    <a:pt x="1099" y="21207"/>
                    <a:pt x="1099" y="21207"/>
                  </a:cubicBezTo>
                  <a:cubicBezTo>
                    <a:pt x="1199" y="21207"/>
                    <a:pt x="1199" y="21207"/>
                    <a:pt x="1199" y="21207"/>
                  </a:cubicBezTo>
                  <a:cubicBezTo>
                    <a:pt x="1199" y="10211"/>
                    <a:pt x="1199" y="10211"/>
                    <a:pt x="1199" y="10211"/>
                  </a:cubicBezTo>
                  <a:cubicBezTo>
                    <a:pt x="1239" y="9033"/>
                    <a:pt x="1339" y="7855"/>
                    <a:pt x="1419" y="7855"/>
                  </a:cubicBezTo>
                  <a:cubicBezTo>
                    <a:pt x="1499" y="7855"/>
                    <a:pt x="1539" y="8247"/>
                    <a:pt x="1539" y="10211"/>
                  </a:cubicBezTo>
                  <a:cubicBezTo>
                    <a:pt x="1539" y="21207"/>
                    <a:pt x="1539" y="21207"/>
                    <a:pt x="1539" y="21207"/>
                  </a:cubicBezTo>
                  <a:cubicBezTo>
                    <a:pt x="1658" y="21207"/>
                    <a:pt x="1658" y="21207"/>
                    <a:pt x="1658" y="21207"/>
                  </a:cubicBezTo>
                  <a:cubicBezTo>
                    <a:pt x="1658" y="10211"/>
                    <a:pt x="1658" y="10211"/>
                    <a:pt x="1658" y="10211"/>
                  </a:cubicBezTo>
                  <a:cubicBezTo>
                    <a:pt x="1658" y="7069"/>
                    <a:pt x="1539" y="5891"/>
                    <a:pt x="1439" y="5891"/>
                  </a:cubicBezTo>
                  <a:moveTo>
                    <a:pt x="679" y="18065"/>
                  </a:moveTo>
                  <a:cubicBezTo>
                    <a:pt x="679" y="18065"/>
                    <a:pt x="679" y="18065"/>
                    <a:pt x="679" y="18065"/>
                  </a:cubicBezTo>
                  <a:cubicBezTo>
                    <a:pt x="520" y="6284"/>
                    <a:pt x="520" y="6284"/>
                    <a:pt x="520" y="6284"/>
                  </a:cubicBezTo>
                  <a:cubicBezTo>
                    <a:pt x="420" y="6284"/>
                    <a:pt x="420" y="6284"/>
                    <a:pt x="420" y="6284"/>
                  </a:cubicBezTo>
                  <a:cubicBezTo>
                    <a:pt x="260" y="17673"/>
                    <a:pt x="260" y="17673"/>
                    <a:pt x="260" y="17673"/>
                  </a:cubicBezTo>
                  <a:cubicBezTo>
                    <a:pt x="260" y="17673"/>
                    <a:pt x="260" y="17673"/>
                    <a:pt x="260" y="17673"/>
                  </a:cubicBezTo>
                  <a:cubicBezTo>
                    <a:pt x="100" y="6284"/>
                    <a:pt x="100" y="6284"/>
                    <a:pt x="100" y="6284"/>
                  </a:cubicBezTo>
                  <a:cubicBezTo>
                    <a:pt x="0" y="6284"/>
                    <a:pt x="0" y="6284"/>
                    <a:pt x="0" y="6284"/>
                  </a:cubicBezTo>
                  <a:cubicBezTo>
                    <a:pt x="200" y="21207"/>
                    <a:pt x="200" y="21207"/>
                    <a:pt x="200" y="21207"/>
                  </a:cubicBezTo>
                  <a:cubicBezTo>
                    <a:pt x="320" y="21207"/>
                    <a:pt x="320" y="21207"/>
                    <a:pt x="320" y="21207"/>
                  </a:cubicBezTo>
                  <a:cubicBezTo>
                    <a:pt x="460" y="9818"/>
                    <a:pt x="460" y="9818"/>
                    <a:pt x="460" y="9818"/>
                  </a:cubicBezTo>
                  <a:cubicBezTo>
                    <a:pt x="460" y="9818"/>
                    <a:pt x="460" y="9818"/>
                    <a:pt x="460" y="9818"/>
                  </a:cubicBezTo>
                  <a:cubicBezTo>
                    <a:pt x="619" y="21207"/>
                    <a:pt x="619" y="21207"/>
                    <a:pt x="619" y="21207"/>
                  </a:cubicBezTo>
                  <a:cubicBezTo>
                    <a:pt x="719" y="21207"/>
                    <a:pt x="719" y="21207"/>
                    <a:pt x="719" y="21207"/>
                  </a:cubicBezTo>
                  <a:cubicBezTo>
                    <a:pt x="939" y="6284"/>
                    <a:pt x="939" y="6284"/>
                    <a:pt x="939" y="6284"/>
                  </a:cubicBezTo>
                  <a:cubicBezTo>
                    <a:pt x="819" y="6284"/>
                    <a:pt x="819" y="6284"/>
                    <a:pt x="819" y="6284"/>
                  </a:cubicBezTo>
                  <a:lnTo>
                    <a:pt x="679" y="18065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  <p:sp>
          <p:nvSpPr>
            <p:cNvPr id="285" name="Freeform 7"/>
            <p:cNvSpPr/>
            <p:nvPr/>
          </p:nvSpPr>
          <p:spPr>
            <a:xfrm>
              <a:off x="-1" y="82549"/>
              <a:ext cx="363539" cy="3032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095" y="5445"/>
                  </a:moveTo>
                  <a:cubicBezTo>
                    <a:pt x="20020" y="5445"/>
                    <a:pt x="20020" y="5445"/>
                    <a:pt x="20020" y="5445"/>
                  </a:cubicBezTo>
                  <a:cubicBezTo>
                    <a:pt x="19192" y="5445"/>
                    <a:pt x="18514" y="6353"/>
                    <a:pt x="18514" y="7351"/>
                  </a:cubicBezTo>
                  <a:cubicBezTo>
                    <a:pt x="18514" y="13160"/>
                    <a:pt x="14601" y="17879"/>
                    <a:pt x="9784" y="17879"/>
                  </a:cubicBezTo>
                  <a:cubicBezTo>
                    <a:pt x="6096" y="17879"/>
                    <a:pt x="3086" y="14249"/>
                    <a:pt x="3086" y="9802"/>
                  </a:cubicBezTo>
                  <a:cubicBezTo>
                    <a:pt x="3086" y="6444"/>
                    <a:pt x="5344" y="3721"/>
                    <a:pt x="8128" y="3721"/>
                  </a:cubicBezTo>
                  <a:cubicBezTo>
                    <a:pt x="10236" y="3721"/>
                    <a:pt x="11891" y="5718"/>
                    <a:pt x="11891" y="8168"/>
                  </a:cubicBezTo>
                  <a:cubicBezTo>
                    <a:pt x="11891" y="8440"/>
                    <a:pt x="11816" y="8531"/>
                    <a:pt x="11816" y="8622"/>
                  </a:cubicBezTo>
                  <a:cubicBezTo>
                    <a:pt x="11666" y="8713"/>
                    <a:pt x="11214" y="8713"/>
                    <a:pt x="10762" y="8713"/>
                  </a:cubicBezTo>
                  <a:cubicBezTo>
                    <a:pt x="10537" y="8713"/>
                    <a:pt x="10311" y="8713"/>
                    <a:pt x="10085" y="8713"/>
                  </a:cubicBezTo>
                  <a:cubicBezTo>
                    <a:pt x="9784" y="8713"/>
                    <a:pt x="9483" y="8713"/>
                    <a:pt x="9182" y="8713"/>
                  </a:cubicBezTo>
                  <a:cubicBezTo>
                    <a:pt x="8354" y="8713"/>
                    <a:pt x="7677" y="9529"/>
                    <a:pt x="7677" y="10528"/>
                  </a:cubicBezTo>
                  <a:cubicBezTo>
                    <a:pt x="7677" y="10528"/>
                    <a:pt x="7677" y="10528"/>
                    <a:pt x="7677" y="10528"/>
                  </a:cubicBezTo>
                  <a:cubicBezTo>
                    <a:pt x="7677" y="11526"/>
                    <a:pt x="8354" y="12434"/>
                    <a:pt x="9182" y="12434"/>
                  </a:cubicBezTo>
                  <a:cubicBezTo>
                    <a:pt x="9483" y="12434"/>
                    <a:pt x="9784" y="12434"/>
                    <a:pt x="10010" y="12434"/>
                  </a:cubicBezTo>
                  <a:cubicBezTo>
                    <a:pt x="10311" y="12434"/>
                    <a:pt x="10537" y="12434"/>
                    <a:pt x="10838" y="12434"/>
                  </a:cubicBezTo>
                  <a:cubicBezTo>
                    <a:pt x="12042" y="12434"/>
                    <a:pt x="13171" y="12252"/>
                    <a:pt x="13999" y="11254"/>
                  </a:cubicBezTo>
                  <a:cubicBezTo>
                    <a:pt x="14601" y="10528"/>
                    <a:pt x="14977" y="9529"/>
                    <a:pt x="14977" y="8168"/>
                  </a:cubicBezTo>
                  <a:cubicBezTo>
                    <a:pt x="14977" y="3721"/>
                    <a:pt x="11891" y="0"/>
                    <a:pt x="8128" y="0"/>
                  </a:cubicBezTo>
                  <a:cubicBezTo>
                    <a:pt x="3688" y="0"/>
                    <a:pt x="0" y="4447"/>
                    <a:pt x="0" y="9802"/>
                  </a:cubicBezTo>
                  <a:cubicBezTo>
                    <a:pt x="0" y="16245"/>
                    <a:pt x="4440" y="21600"/>
                    <a:pt x="9784" y="21600"/>
                  </a:cubicBezTo>
                  <a:cubicBezTo>
                    <a:pt x="16256" y="21600"/>
                    <a:pt x="21600" y="15156"/>
                    <a:pt x="21600" y="7351"/>
                  </a:cubicBezTo>
                  <a:cubicBezTo>
                    <a:pt x="21600" y="6353"/>
                    <a:pt x="20923" y="5445"/>
                    <a:pt x="20095" y="5445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  <p:sp>
          <p:nvSpPr>
            <p:cNvPr id="286" name="Freeform 8"/>
            <p:cNvSpPr/>
            <p:nvPr/>
          </p:nvSpPr>
          <p:spPr>
            <a:xfrm>
              <a:off x="295275" y="-1"/>
              <a:ext cx="85726" cy="873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5247"/>
                  </a:moveTo>
                  <a:cubicBezTo>
                    <a:pt x="8259" y="15247"/>
                    <a:pt x="6353" y="13341"/>
                    <a:pt x="6353" y="10800"/>
                  </a:cubicBezTo>
                  <a:cubicBezTo>
                    <a:pt x="6353" y="8576"/>
                    <a:pt x="8259" y="6671"/>
                    <a:pt x="10800" y="6671"/>
                  </a:cubicBezTo>
                  <a:cubicBezTo>
                    <a:pt x="13024" y="6671"/>
                    <a:pt x="14929" y="8576"/>
                    <a:pt x="14929" y="10800"/>
                  </a:cubicBezTo>
                  <a:cubicBezTo>
                    <a:pt x="14929" y="13341"/>
                    <a:pt x="13024" y="15247"/>
                    <a:pt x="10800" y="15247"/>
                  </a:cubicBezTo>
                  <a:moveTo>
                    <a:pt x="10800" y="0"/>
                  </a:moveTo>
                  <a:cubicBezTo>
                    <a:pt x="10800" y="0"/>
                    <a:pt x="10800" y="0"/>
                    <a:pt x="10800" y="0"/>
                  </a:cubicBezTo>
                  <a:cubicBezTo>
                    <a:pt x="4765" y="0"/>
                    <a:pt x="0" y="4765"/>
                    <a:pt x="0" y="10800"/>
                  </a:cubicBezTo>
                  <a:cubicBezTo>
                    <a:pt x="0" y="16835"/>
                    <a:pt x="4765" y="21600"/>
                    <a:pt x="10800" y="21600"/>
                  </a:cubicBezTo>
                  <a:cubicBezTo>
                    <a:pt x="16835" y="21600"/>
                    <a:pt x="21600" y="16835"/>
                    <a:pt x="21600" y="10800"/>
                  </a:cubicBezTo>
                  <a:cubicBezTo>
                    <a:pt x="21600" y="4765"/>
                    <a:pt x="16835" y="0"/>
                    <a:pt x="10800" y="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</p:grpSp>
      <p:sp>
        <p:nvSpPr>
          <p:cNvPr id="288" name="Title Text"/>
          <p:cNvSpPr txBox="1">
            <a:spLocks noGrp="1"/>
          </p:cNvSpPr>
          <p:nvPr>
            <p:ph type="title"/>
          </p:nvPr>
        </p:nvSpPr>
        <p:spPr>
          <a:xfrm>
            <a:off x="838200" y="1"/>
            <a:ext cx="8905875" cy="914400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rgbClr val="FFFFFF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Title Text</a:t>
            </a:r>
          </a:p>
        </p:txBody>
      </p:sp>
      <p:sp>
        <p:nvSpPr>
          <p:cNvPr id="289" name="Body Level One…"/>
          <p:cNvSpPr txBox="1">
            <a:spLocks noGrp="1"/>
          </p:cNvSpPr>
          <p:nvPr>
            <p:ph type="body" idx="1"/>
          </p:nvPr>
        </p:nvSpPr>
        <p:spPr>
          <a:xfrm>
            <a:off x="838200" y="925618"/>
            <a:ext cx="10515600" cy="5090299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29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12118" y="6400413"/>
            <a:ext cx="279883" cy="276999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itle and Content">
    <p:bg>
      <p:bgPr>
        <a:solidFill>
          <a:srgbClr val="E2E6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" name="Title Text"/>
          <p:cNvSpPr txBox="1">
            <a:spLocks noGrp="1"/>
          </p:cNvSpPr>
          <p:nvPr>
            <p:ph type="title"/>
          </p:nvPr>
        </p:nvSpPr>
        <p:spPr>
          <a:xfrm>
            <a:off x="838200" y="1"/>
            <a:ext cx="8905875" cy="914400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rgbClr val="004F7C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Title Text</a:t>
            </a:r>
          </a:p>
        </p:txBody>
      </p:sp>
      <p:pic>
        <p:nvPicPr>
          <p:cNvPr id="298" name="Picture 7" descr="Picture 7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245625" y="1"/>
            <a:ext cx="970075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99" name="Rectangle 8"/>
          <p:cNvSpPr/>
          <p:nvPr/>
        </p:nvSpPr>
        <p:spPr>
          <a:xfrm>
            <a:off x="0" y="914399"/>
            <a:ext cx="12192000" cy="54001"/>
          </a:xfrm>
          <a:prstGeom prst="rect">
            <a:avLst/>
          </a:prstGeom>
          <a:solidFill>
            <a:srgbClr val="00AEE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b="0" i="0" dirty="0">
              <a:latin typeface="Arial Regular"/>
            </a:endParaRPr>
          </a:p>
        </p:txBody>
      </p:sp>
      <p:sp>
        <p:nvSpPr>
          <p:cNvPr id="30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12118" y="6400413"/>
            <a:ext cx="279883" cy="276999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Title and Content">
    <p:bg>
      <p:bgPr>
        <a:gradFill flip="none" rotWithShape="1">
          <a:gsLst>
            <a:gs pos="0">
              <a:srgbClr val="0056A7"/>
            </a:gs>
            <a:gs pos="100000">
              <a:srgbClr val="1192D1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245625" y="1"/>
            <a:ext cx="970075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08" name="Title Text"/>
          <p:cNvSpPr txBox="1">
            <a:spLocks noGrp="1"/>
          </p:cNvSpPr>
          <p:nvPr>
            <p:ph type="title"/>
          </p:nvPr>
        </p:nvSpPr>
        <p:spPr>
          <a:xfrm>
            <a:off x="838200" y="1"/>
            <a:ext cx="8905875" cy="914400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rgbClr val="004F7C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Title Text</a:t>
            </a:r>
          </a:p>
        </p:txBody>
      </p:sp>
      <p:sp>
        <p:nvSpPr>
          <p:cNvPr id="309" name="Rectangle 15"/>
          <p:cNvSpPr/>
          <p:nvPr/>
        </p:nvSpPr>
        <p:spPr>
          <a:xfrm>
            <a:off x="0" y="914399"/>
            <a:ext cx="12192000" cy="54001"/>
          </a:xfrm>
          <a:prstGeom prst="rect">
            <a:avLst/>
          </a:prstGeom>
          <a:solidFill>
            <a:srgbClr val="00AEE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b="0" i="0" dirty="0">
              <a:latin typeface="Arial Regular"/>
            </a:endParaRPr>
          </a:p>
        </p:txBody>
      </p:sp>
      <p:sp>
        <p:nvSpPr>
          <p:cNvPr id="31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12118" y="6400413"/>
            <a:ext cx="279883" cy="276999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3_Title and Content">
    <p:bg>
      <p:bgPr>
        <a:solidFill>
          <a:srgbClr val="0057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" name="Picture 7" descr="Picture 7"/>
          <p:cNvPicPr>
            <a:picLocks noChangeAspect="1"/>
          </p:cNvPicPr>
          <p:nvPr/>
        </p:nvPicPr>
        <p:blipFill>
          <a:blip r:embed="rId2">
            <a:extLst/>
          </a:blip>
          <a:srcRect r="74275"/>
          <a:stretch>
            <a:fillRect/>
          </a:stretch>
        </p:blipFill>
        <p:spPr>
          <a:xfrm>
            <a:off x="9696485" y="0"/>
            <a:ext cx="2495515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318" name="Picture 2" descr="Picture 2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-4266" y="0"/>
            <a:ext cx="9700753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19" name="Rectangle 15"/>
          <p:cNvSpPr/>
          <p:nvPr/>
        </p:nvSpPr>
        <p:spPr>
          <a:xfrm>
            <a:off x="0" y="430200"/>
            <a:ext cx="12192000" cy="54000"/>
          </a:xfrm>
          <a:prstGeom prst="rect">
            <a:avLst/>
          </a:prstGeom>
          <a:solidFill>
            <a:srgbClr val="8ED8F8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b="0" i="0" dirty="0">
              <a:latin typeface="Arial Regular"/>
            </a:endParaRPr>
          </a:p>
        </p:txBody>
      </p:sp>
      <p:sp>
        <p:nvSpPr>
          <p:cNvPr id="320" name="Title Text"/>
          <p:cNvSpPr txBox="1">
            <a:spLocks noGrp="1"/>
          </p:cNvSpPr>
          <p:nvPr>
            <p:ph type="title"/>
          </p:nvPr>
        </p:nvSpPr>
        <p:spPr>
          <a:xfrm>
            <a:off x="619538" y="430201"/>
            <a:ext cx="3475384" cy="325175"/>
          </a:xfrm>
          <a:prstGeom prst="rect">
            <a:avLst/>
          </a:prstGeom>
          <a:solidFill>
            <a:srgbClr val="00AEEF"/>
          </a:solidFill>
        </p:spPr>
        <p:txBody>
          <a:bodyPr/>
          <a:lstStyle>
            <a:lvl1pPr>
              <a:defRPr sz="1800">
                <a:solidFill>
                  <a:srgbClr val="FFFFFF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Title Text</a:t>
            </a:r>
          </a:p>
        </p:txBody>
      </p:sp>
      <p:sp>
        <p:nvSpPr>
          <p:cNvPr id="32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12118" y="6400413"/>
            <a:ext cx="279883" cy="276999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4_Title and Content">
    <p:bg>
      <p:bgPr>
        <a:solidFill>
          <a:srgbClr val="0057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8" name="Picture 7" descr="Picture 7"/>
          <p:cNvPicPr>
            <a:picLocks noChangeAspect="1"/>
          </p:cNvPicPr>
          <p:nvPr/>
        </p:nvPicPr>
        <p:blipFill>
          <a:blip r:embed="rId2">
            <a:extLst/>
          </a:blip>
          <a:srcRect l="74319"/>
          <a:stretch>
            <a:fillRect/>
          </a:stretch>
        </p:blipFill>
        <p:spPr>
          <a:xfrm>
            <a:off x="-1" y="0"/>
            <a:ext cx="2491249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329" name="Picture 2" descr="Picture 2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491247" y="0"/>
            <a:ext cx="9700753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30" name="Rectangle 15"/>
          <p:cNvSpPr/>
          <p:nvPr/>
        </p:nvSpPr>
        <p:spPr>
          <a:xfrm>
            <a:off x="0" y="430200"/>
            <a:ext cx="12192000" cy="54000"/>
          </a:xfrm>
          <a:prstGeom prst="rect">
            <a:avLst/>
          </a:prstGeom>
          <a:solidFill>
            <a:srgbClr val="8ED8F8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b="0" i="0" dirty="0">
              <a:latin typeface="Arial Regular"/>
            </a:endParaRPr>
          </a:p>
        </p:txBody>
      </p:sp>
      <p:sp>
        <p:nvSpPr>
          <p:cNvPr id="331" name="Title Text"/>
          <p:cNvSpPr txBox="1">
            <a:spLocks noGrp="1"/>
          </p:cNvSpPr>
          <p:nvPr>
            <p:ph type="title"/>
          </p:nvPr>
        </p:nvSpPr>
        <p:spPr>
          <a:xfrm>
            <a:off x="619538" y="430201"/>
            <a:ext cx="3475384" cy="325175"/>
          </a:xfrm>
          <a:prstGeom prst="rect">
            <a:avLst/>
          </a:prstGeom>
          <a:solidFill>
            <a:srgbClr val="00AEEF"/>
          </a:solidFill>
        </p:spPr>
        <p:txBody>
          <a:bodyPr/>
          <a:lstStyle>
            <a:lvl1pPr>
              <a:defRPr sz="1800">
                <a:solidFill>
                  <a:srgbClr val="FFFFFF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Title Text</a:t>
            </a:r>
          </a:p>
        </p:txBody>
      </p:sp>
      <p:sp>
        <p:nvSpPr>
          <p:cNvPr id="33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12118" y="6400413"/>
            <a:ext cx="279883" cy="276999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5_Title and Content">
    <p:bg>
      <p:bgPr>
        <a:solidFill>
          <a:srgbClr val="70BE4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9" name="Picture 2" descr="Picture 2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491248" y="0"/>
            <a:ext cx="9700753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40" name="Rectangle 15"/>
          <p:cNvSpPr/>
          <p:nvPr/>
        </p:nvSpPr>
        <p:spPr>
          <a:xfrm>
            <a:off x="0" y="430200"/>
            <a:ext cx="12192000" cy="54000"/>
          </a:xfrm>
          <a:prstGeom prst="rect">
            <a:avLst/>
          </a:prstGeom>
          <a:solidFill>
            <a:srgbClr val="A9D58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b="0" i="0" dirty="0">
              <a:latin typeface="Arial Regular"/>
            </a:endParaRPr>
          </a:p>
        </p:txBody>
      </p:sp>
      <p:sp>
        <p:nvSpPr>
          <p:cNvPr id="341" name="Title Text"/>
          <p:cNvSpPr txBox="1">
            <a:spLocks noGrp="1"/>
          </p:cNvSpPr>
          <p:nvPr>
            <p:ph type="title"/>
          </p:nvPr>
        </p:nvSpPr>
        <p:spPr>
          <a:xfrm>
            <a:off x="619538" y="430201"/>
            <a:ext cx="3475384" cy="325175"/>
          </a:xfrm>
          <a:prstGeom prst="rect">
            <a:avLst/>
          </a:prstGeom>
          <a:solidFill>
            <a:srgbClr val="235F2C"/>
          </a:solidFill>
        </p:spPr>
        <p:txBody>
          <a:bodyPr/>
          <a:lstStyle>
            <a:lvl1pPr>
              <a:defRPr sz="1800">
                <a:solidFill>
                  <a:srgbClr val="FFFFFF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Title Text</a:t>
            </a:r>
          </a:p>
        </p:txBody>
      </p:sp>
      <p:sp>
        <p:nvSpPr>
          <p:cNvPr id="34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12118" y="6400413"/>
            <a:ext cx="279883" cy="276999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6_Title and Content">
    <p:bg>
      <p:bgPr>
        <a:solidFill>
          <a:srgbClr val="0057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9" name="Picture 2" descr="Picture 2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953"/>
            <a:ext cx="12192000" cy="6856273"/>
          </a:xfrm>
          <a:prstGeom prst="rect">
            <a:avLst/>
          </a:prstGeom>
          <a:ln w="12700">
            <a:miter lim="400000"/>
          </a:ln>
        </p:spPr>
      </p:pic>
      <p:sp>
        <p:nvSpPr>
          <p:cNvPr id="350" name="Rectangle 15"/>
          <p:cNvSpPr/>
          <p:nvPr/>
        </p:nvSpPr>
        <p:spPr>
          <a:xfrm>
            <a:off x="0" y="430200"/>
            <a:ext cx="12192000" cy="54000"/>
          </a:xfrm>
          <a:prstGeom prst="rect">
            <a:avLst/>
          </a:prstGeom>
          <a:solidFill>
            <a:srgbClr val="8ED8F8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b="0" i="0" dirty="0">
              <a:latin typeface="Arial Regular"/>
            </a:endParaRPr>
          </a:p>
        </p:txBody>
      </p:sp>
      <p:sp>
        <p:nvSpPr>
          <p:cNvPr id="351" name="Title Text"/>
          <p:cNvSpPr txBox="1">
            <a:spLocks noGrp="1"/>
          </p:cNvSpPr>
          <p:nvPr>
            <p:ph type="title"/>
          </p:nvPr>
        </p:nvSpPr>
        <p:spPr>
          <a:xfrm>
            <a:off x="619538" y="430201"/>
            <a:ext cx="3475384" cy="325175"/>
          </a:xfrm>
          <a:prstGeom prst="rect">
            <a:avLst/>
          </a:prstGeom>
          <a:solidFill>
            <a:srgbClr val="00AEEF"/>
          </a:solidFill>
        </p:spPr>
        <p:txBody>
          <a:bodyPr/>
          <a:lstStyle>
            <a:lvl1pPr>
              <a:defRPr sz="1800">
                <a:solidFill>
                  <a:srgbClr val="FFFFFF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Title Text</a:t>
            </a:r>
          </a:p>
        </p:txBody>
      </p:sp>
      <p:sp>
        <p:nvSpPr>
          <p:cNvPr id="35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12118" y="6400413"/>
            <a:ext cx="279883" cy="276999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7_Title and Content">
    <p:bg>
      <p:bgPr>
        <a:solidFill>
          <a:srgbClr val="0057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9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864"/>
            <a:ext cx="12192000" cy="6856273"/>
          </a:xfrm>
          <a:prstGeom prst="rect">
            <a:avLst/>
          </a:prstGeom>
          <a:ln w="12700">
            <a:miter lim="400000"/>
          </a:ln>
        </p:spPr>
      </p:pic>
      <p:sp>
        <p:nvSpPr>
          <p:cNvPr id="360" name="Rectangle 15"/>
          <p:cNvSpPr/>
          <p:nvPr/>
        </p:nvSpPr>
        <p:spPr>
          <a:xfrm>
            <a:off x="0" y="430200"/>
            <a:ext cx="12192000" cy="54000"/>
          </a:xfrm>
          <a:prstGeom prst="rect">
            <a:avLst/>
          </a:prstGeom>
          <a:solidFill>
            <a:srgbClr val="8ED8F8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b="0" i="0" dirty="0">
              <a:latin typeface="Arial Regular"/>
            </a:endParaRPr>
          </a:p>
        </p:txBody>
      </p:sp>
      <p:sp>
        <p:nvSpPr>
          <p:cNvPr id="361" name="Title Text"/>
          <p:cNvSpPr txBox="1">
            <a:spLocks noGrp="1"/>
          </p:cNvSpPr>
          <p:nvPr>
            <p:ph type="title"/>
          </p:nvPr>
        </p:nvSpPr>
        <p:spPr>
          <a:xfrm>
            <a:off x="619538" y="430201"/>
            <a:ext cx="3475384" cy="325175"/>
          </a:xfrm>
          <a:prstGeom prst="rect">
            <a:avLst/>
          </a:prstGeom>
          <a:solidFill>
            <a:srgbClr val="00AEEF"/>
          </a:solidFill>
        </p:spPr>
        <p:txBody>
          <a:bodyPr/>
          <a:lstStyle>
            <a:lvl1pPr>
              <a:defRPr sz="1800">
                <a:solidFill>
                  <a:srgbClr val="FFFFFF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Title Text</a:t>
            </a:r>
          </a:p>
        </p:txBody>
      </p:sp>
      <p:sp>
        <p:nvSpPr>
          <p:cNvPr id="36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12118" y="6400413"/>
            <a:ext cx="279883" cy="276999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9_Title and Content">
    <p:bg>
      <p:bgPr>
        <a:solidFill>
          <a:srgbClr val="0057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9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864"/>
            <a:ext cx="12192000" cy="6856273"/>
          </a:xfrm>
          <a:prstGeom prst="rect">
            <a:avLst/>
          </a:prstGeom>
          <a:ln w="12700">
            <a:miter lim="400000"/>
          </a:ln>
        </p:spPr>
      </p:pic>
      <p:sp>
        <p:nvSpPr>
          <p:cNvPr id="370" name="Rectangle 8"/>
          <p:cNvSpPr/>
          <p:nvPr/>
        </p:nvSpPr>
        <p:spPr>
          <a:xfrm>
            <a:off x="0" y="6147930"/>
            <a:ext cx="12192000" cy="710071"/>
          </a:xfrm>
          <a:prstGeom prst="rect">
            <a:avLst/>
          </a:prstGeom>
          <a:solidFill>
            <a:srgbClr val="25408F">
              <a:alpha val="20000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b="0" i="0" dirty="0">
              <a:latin typeface="Arial Regular"/>
            </a:endParaRPr>
          </a:p>
        </p:txBody>
      </p:sp>
      <p:sp>
        <p:nvSpPr>
          <p:cNvPr id="371" name="Rectangle 15"/>
          <p:cNvSpPr/>
          <p:nvPr/>
        </p:nvSpPr>
        <p:spPr>
          <a:xfrm>
            <a:off x="0" y="430200"/>
            <a:ext cx="12192000" cy="54000"/>
          </a:xfrm>
          <a:prstGeom prst="rect">
            <a:avLst/>
          </a:prstGeom>
          <a:solidFill>
            <a:srgbClr val="8ED8F8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b="0" i="0" dirty="0">
              <a:latin typeface="Arial Regular"/>
            </a:endParaRPr>
          </a:p>
        </p:txBody>
      </p:sp>
      <p:sp>
        <p:nvSpPr>
          <p:cNvPr id="372" name="Title Text"/>
          <p:cNvSpPr txBox="1">
            <a:spLocks noGrp="1"/>
          </p:cNvSpPr>
          <p:nvPr>
            <p:ph type="title"/>
          </p:nvPr>
        </p:nvSpPr>
        <p:spPr>
          <a:xfrm>
            <a:off x="619538" y="430201"/>
            <a:ext cx="3475384" cy="325175"/>
          </a:xfrm>
          <a:prstGeom prst="rect">
            <a:avLst/>
          </a:prstGeom>
          <a:solidFill>
            <a:srgbClr val="00AEEF"/>
          </a:solidFill>
        </p:spPr>
        <p:txBody>
          <a:bodyPr/>
          <a:lstStyle>
            <a:lvl1pPr>
              <a:defRPr sz="1800">
                <a:solidFill>
                  <a:srgbClr val="FFFFFF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Title Text</a:t>
            </a:r>
          </a:p>
        </p:txBody>
      </p:sp>
      <p:sp>
        <p:nvSpPr>
          <p:cNvPr id="373" name="Rectangle 7"/>
          <p:cNvSpPr/>
          <p:nvPr/>
        </p:nvSpPr>
        <p:spPr>
          <a:xfrm>
            <a:off x="0" y="6107100"/>
            <a:ext cx="12192000" cy="54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b="0" i="0" dirty="0">
              <a:latin typeface="Arial Regular"/>
            </a:endParaRPr>
          </a:p>
        </p:txBody>
      </p:sp>
      <p:grpSp>
        <p:nvGrpSpPr>
          <p:cNvPr id="378" name="Group 4"/>
          <p:cNvGrpSpPr/>
          <p:nvPr/>
        </p:nvGrpSpPr>
        <p:grpSpPr>
          <a:xfrm>
            <a:off x="619538" y="6263406"/>
            <a:ext cx="1858965" cy="496888"/>
            <a:chOff x="0" y="0"/>
            <a:chExt cx="1858963" cy="496887"/>
          </a:xfrm>
        </p:grpSpPr>
        <p:sp>
          <p:nvSpPr>
            <p:cNvPr id="374" name="Freeform 5"/>
            <p:cNvSpPr/>
            <p:nvPr/>
          </p:nvSpPr>
          <p:spPr>
            <a:xfrm>
              <a:off x="465137" y="-1"/>
              <a:ext cx="1393827" cy="369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53" y="16982"/>
                  </a:moveTo>
                  <a:cubicBezTo>
                    <a:pt x="14753" y="18621"/>
                    <a:pt x="14439" y="19738"/>
                    <a:pt x="14008" y="19738"/>
                  </a:cubicBezTo>
                  <a:cubicBezTo>
                    <a:pt x="13596" y="19738"/>
                    <a:pt x="13596" y="19738"/>
                    <a:pt x="13596" y="19738"/>
                  </a:cubicBezTo>
                  <a:cubicBezTo>
                    <a:pt x="13596" y="14152"/>
                    <a:pt x="13596" y="14152"/>
                    <a:pt x="13596" y="14152"/>
                  </a:cubicBezTo>
                  <a:cubicBezTo>
                    <a:pt x="14008" y="14152"/>
                    <a:pt x="14008" y="14152"/>
                    <a:pt x="14008" y="14152"/>
                  </a:cubicBezTo>
                  <a:cubicBezTo>
                    <a:pt x="14439" y="14152"/>
                    <a:pt x="14753" y="15269"/>
                    <a:pt x="14753" y="16908"/>
                  </a:cubicBezTo>
                  <a:lnTo>
                    <a:pt x="14753" y="16982"/>
                  </a:lnTo>
                  <a:close/>
                  <a:moveTo>
                    <a:pt x="14008" y="12290"/>
                  </a:moveTo>
                  <a:cubicBezTo>
                    <a:pt x="13046" y="12290"/>
                    <a:pt x="13046" y="12290"/>
                    <a:pt x="13046" y="12290"/>
                  </a:cubicBezTo>
                  <a:cubicBezTo>
                    <a:pt x="13046" y="21600"/>
                    <a:pt x="13046" y="21600"/>
                    <a:pt x="13046" y="21600"/>
                  </a:cubicBezTo>
                  <a:cubicBezTo>
                    <a:pt x="14008" y="21600"/>
                    <a:pt x="14008" y="21600"/>
                    <a:pt x="14008" y="21600"/>
                  </a:cubicBezTo>
                  <a:cubicBezTo>
                    <a:pt x="14773" y="21600"/>
                    <a:pt x="15302" y="19589"/>
                    <a:pt x="15302" y="16908"/>
                  </a:cubicBezTo>
                  <a:cubicBezTo>
                    <a:pt x="15302" y="16908"/>
                    <a:pt x="15302" y="16908"/>
                    <a:pt x="15302" y="16908"/>
                  </a:cubicBezTo>
                  <a:cubicBezTo>
                    <a:pt x="15302" y="14301"/>
                    <a:pt x="14773" y="12290"/>
                    <a:pt x="14008" y="12290"/>
                  </a:cubicBezTo>
                  <a:moveTo>
                    <a:pt x="12105" y="18025"/>
                  </a:moveTo>
                  <a:cubicBezTo>
                    <a:pt x="10967" y="12290"/>
                    <a:pt x="10967" y="12290"/>
                    <a:pt x="10967" y="12290"/>
                  </a:cubicBezTo>
                  <a:cubicBezTo>
                    <a:pt x="10476" y="12290"/>
                    <a:pt x="10476" y="12290"/>
                    <a:pt x="10476" y="12290"/>
                  </a:cubicBezTo>
                  <a:cubicBezTo>
                    <a:pt x="10476" y="21600"/>
                    <a:pt x="10476" y="21600"/>
                    <a:pt x="10476" y="21600"/>
                  </a:cubicBezTo>
                  <a:cubicBezTo>
                    <a:pt x="11006" y="21600"/>
                    <a:pt x="11006" y="21600"/>
                    <a:pt x="11006" y="21600"/>
                  </a:cubicBezTo>
                  <a:cubicBezTo>
                    <a:pt x="11006" y="15716"/>
                    <a:pt x="11006" y="15716"/>
                    <a:pt x="11006" y="15716"/>
                  </a:cubicBezTo>
                  <a:cubicBezTo>
                    <a:pt x="12183" y="21600"/>
                    <a:pt x="12183" y="21600"/>
                    <a:pt x="12183" y="21600"/>
                  </a:cubicBezTo>
                  <a:cubicBezTo>
                    <a:pt x="12634" y="21600"/>
                    <a:pt x="12634" y="21600"/>
                    <a:pt x="12634" y="21600"/>
                  </a:cubicBezTo>
                  <a:cubicBezTo>
                    <a:pt x="12634" y="12290"/>
                    <a:pt x="12634" y="12290"/>
                    <a:pt x="12634" y="12290"/>
                  </a:cubicBezTo>
                  <a:cubicBezTo>
                    <a:pt x="12105" y="12290"/>
                    <a:pt x="12105" y="12290"/>
                    <a:pt x="12105" y="12290"/>
                  </a:cubicBezTo>
                  <a:lnTo>
                    <a:pt x="12105" y="18025"/>
                  </a:lnTo>
                  <a:close/>
                  <a:moveTo>
                    <a:pt x="8573" y="17727"/>
                  </a:moveTo>
                  <a:cubicBezTo>
                    <a:pt x="8907" y="14673"/>
                    <a:pt x="8907" y="14673"/>
                    <a:pt x="8907" y="14673"/>
                  </a:cubicBezTo>
                  <a:cubicBezTo>
                    <a:pt x="9221" y="17727"/>
                    <a:pt x="9221" y="17727"/>
                    <a:pt x="9221" y="17727"/>
                  </a:cubicBezTo>
                  <a:lnTo>
                    <a:pt x="8573" y="17727"/>
                  </a:lnTo>
                  <a:close/>
                  <a:moveTo>
                    <a:pt x="8671" y="12215"/>
                  </a:moveTo>
                  <a:cubicBezTo>
                    <a:pt x="7612" y="21600"/>
                    <a:pt x="7612" y="21600"/>
                    <a:pt x="7612" y="21600"/>
                  </a:cubicBezTo>
                  <a:cubicBezTo>
                    <a:pt x="8161" y="21600"/>
                    <a:pt x="8161" y="21600"/>
                    <a:pt x="8161" y="21600"/>
                  </a:cubicBezTo>
                  <a:cubicBezTo>
                    <a:pt x="8397" y="19514"/>
                    <a:pt x="8397" y="19514"/>
                    <a:pt x="8397" y="19514"/>
                  </a:cubicBezTo>
                  <a:cubicBezTo>
                    <a:pt x="9417" y="19514"/>
                    <a:pt x="9417" y="19514"/>
                    <a:pt x="9417" y="19514"/>
                  </a:cubicBezTo>
                  <a:cubicBezTo>
                    <a:pt x="9652" y="21600"/>
                    <a:pt x="9652" y="21600"/>
                    <a:pt x="9652" y="21600"/>
                  </a:cubicBezTo>
                  <a:cubicBezTo>
                    <a:pt x="10202" y="21600"/>
                    <a:pt x="10202" y="21600"/>
                    <a:pt x="10202" y="21600"/>
                  </a:cubicBezTo>
                  <a:cubicBezTo>
                    <a:pt x="9162" y="12215"/>
                    <a:pt x="9162" y="12215"/>
                    <a:pt x="9162" y="12215"/>
                  </a:cubicBezTo>
                  <a:lnTo>
                    <a:pt x="8671" y="12215"/>
                  </a:lnTo>
                  <a:close/>
                  <a:moveTo>
                    <a:pt x="6180" y="12290"/>
                  </a:moveTo>
                  <a:cubicBezTo>
                    <a:pt x="5650" y="12290"/>
                    <a:pt x="5650" y="12290"/>
                    <a:pt x="5650" y="12290"/>
                  </a:cubicBezTo>
                  <a:cubicBezTo>
                    <a:pt x="5650" y="21600"/>
                    <a:pt x="5650" y="21600"/>
                    <a:pt x="5650" y="21600"/>
                  </a:cubicBezTo>
                  <a:cubicBezTo>
                    <a:pt x="7396" y="21600"/>
                    <a:pt x="7396" y="21600"/>
                    <a:pt x="7396" y="21600"/>
                  </a:cubicBezTo>
                  <a:cubicBezTo>
                    <a:pt x="7396" y="19738"/>
                    <a:pt x="7396" y="19738"/>
                    <a:pt x="7396" y="19738"/>
                  </a:cubicBezTo>
                  <a:cubicBezTo>
                    <a:pt x="6180" y="19738"/>
                    <a:pt x="6180" y="19738"/>
                    <a:pt x="6180" y="19738"/>
                  </a:cubicBezTo>
                  <a:lnTo>
                    <a:pt x="6180" y="12290"/>
                  </a:lnTo>
                  <a:close/>
                  <a:moveTo>
                    <a:pt x="3943" y="17801"/>
                  </a:moveTo>
                  <a:cubicBezTo>
                    <a:pt x="5081" y="17801"/>
                    <a:pt x="5081" y="17801"/>
                    <a:pt x="5081" y="17801"/>
                  </a:cubicBezTo>
                  <a:cubicBezTo>
                    <a:pt x="5081" y="16014"/>
                    <a:pt x="5081" y="16014"/>
                    <a:pt x="5081" y="16014"/>
                  </a:cubicBezTo>
                  <a:cubicBezTo>
                    <a:pt x="3943" y="16014"/>
                    <a:pt x="3943" y="16014"/>
                    <a:pt x="3943" y="16014"/>
                  </a:cubicBezTo>
                  <a:cubicBezTo>
                    <a:pt x="3943" y="14152"/>
                    <a:pt x="3943" y="14152"/>
                    <a:pt x="3943" y="14152"/>
                  </a:cubicBezTo>
                  <a:cubicBezTo>
                    <a:pt x="5238" y="14152"/>
                    <a:pt x="5238" y="14152"/>
                    <a:pt x="5238" y="14152"/>
                  </a:cubicBezTo>
                  <a:cubicBezTo>
                    <a:pt x="5238" y="12290"/>
                    <a:pt x="5238" y="12290"/>
                    <a:pt x="5238" y="12290"/>
                  </a:cubicBezTo>
                  <a:cubicBezTo>
                    <a:pt x="3394" y="12290"/>
                    <a:pt x="3394" y="12290"/>
                    <a:pt x="3394" y="12290"/>
                  </a:cubicBezTo>
                  <a:cubicBezTo>
                    <a:pt x="3394" y="21600"/>
                    <a:pt x="3394" y="21600"/>
                    <a:pt x="3394" y="21600"/>
                  </a:cubicBezTo>
                  <a:cubicBezTo>
                    <a:pt x="5258" y="21600"/>
                    <a:pt x="5258" y="21600"/>
                    <a:pt x="5258" y="21600"/>
                  </a:cubicBezTo>
                  <a:cubicBezTo>
                    <a:pt x="5258" y="19738"/>
                    <a:pt x="5258" y="19738"/>
                    <a:pt x="5258" y="19738"/>
                  </a:cubicBezTo>
                  <a:cubicBezTo>
                    <a:pt x="3943" y="19738"/>
                    <a:pt x="3943" y="19738"/>
                    <a:pt x="3943" y="19738"/>
                  </a:cubicBezTo>
                  <a:lnTo>
                    <a:pt x="3943" y="17801"/>
                  </a:lnTo>
                  <a:close/>
                  <a:moveTo>
                    <a:pt x="2472" y="15492"/>
                  </a:moveTo>
                  <a:cubicBezTo>
                    <a:pt x="2472" y="16312"/>
                    <a:pt x="2315" y="16833"/>
                    <a:pt x="2060" y="16833"/>
                  </a:cubicBezTo>
                  <a:cubicBezTo>
                    <a:pt x="1511" y="16833"/>
                    <a:pt x="1511" y="16833"/>
                    <a:pt x="1511" y="16833"/>
                  </a:cubicBezTo>
                  <a:cubicBezTo>
                    <a:pt x="1511" y="14152"/>
                    <a:pt x="1511" y="14152"/>
                    <a:pt x="1511" y="14152"/>
                  </a:cubicBezTo>
                  <a:cubicBezTo>
                    <a:pt x="2040" y="14152"/>
                    <a:pt x="2040" y="14152"/>
                    <a:pt x="2040" y="14152"/>
                  </a:cubicBezTo>
                  <a:cubicBezTo>
                    <a:pt x="2295" y="14152"/>
                    <a:pt x="2472" y="14599"/>
                    <a:pt x="2472" y="15492"/>
                  </a:cubicBezTo>
                  <a:close/>
                  <a:moveTo>
                    <a:pt x="3002" y="15418"/>
                  </a:moveTo>
                  <a:cubicBezTo>
                    <a:pt x="3002" y="15343"/>
                    <a:pt x="3002" y="15343"/>
                    <a:pt x="3002" y="15343"/>
                  </a:cubicBezTo>
                  <a:cubicBezTo>
                    <a:pt x="3002" y="14524"/>
                    <a:pt x="2943" y="13779"/>
                    <a:pt x="2805" y="13258"/>
                  </a:cubicBezTo>
                  <a:cubicBezTo>
                    <a:pt x="2629" y="12662"/>
                    <a:pt x="2393" y="12290"/>
                    <a:pt x="2080" y="12290"/>
                  </a:cubicBezTo>
                  <a:cubicBezTo>
                    <a:pt x="961" y="12290"/>
                    <a:pt x="961" y="12290"/>
                    <a:pt x="961" y="12290"/>
                  </a:cubicBezTo>
                  <a:cubicBezTo>
                    <a:pt x="961" y="21600"/>
                    <a:pt x="961" y="21600"/>
                    <a:pt x="961" y="21600"/>
                  </a:cubicBezTo>
                  <a:cubicBezTo>
                    <a:pt x="1511" y="21600"/>
                    <a:pt x="1511" y="21600"/>
                    <a:pt x="1511" y="21600"/>
                  </a:cubicBezTo>
                  <a:cubicBezTo>
                    <a:pt x="1511" y="18621"/>
                    <a:pt x="1511" y="18621"/>
                    <a:pt x="1511" y="18621"/>
                  </a:cubicBezTo>
                  <a:cubicBezTo>
                    <a:pt x="1923" y="18621"/>
                    <a:pt x="1923" y="18621"/>
                    <a:pt x="1923" y="18621"/>
                  </a:cubicBezTo>
                  <a:cubicBezTo>
                    <a:pt x="2452" y="21600"/>
                    <a:pt x="2452" y="21600"/>
                    <a:pt x="2452" y="21600"/>
                  </a:cubicBezTo>
                  <a:cubicBezTo>
                    <a:pt x="3080" y="21600"/>
                    <a:pt x="3080" y="21600"/>
                    <a:pt x="3080" y="21600"/>
                  </a:cubicBezTo>
                  <a:cubicBezTo>
                    <a:pt x="2492" y="18248"/>
                    <a:pt x="2492" y="18248"/>
                    <a:pt x="2492" y="18248"/>
                  </a:cubicBezTo>
                  <a:cubicBezTo>
                    <a:pt x="2786" y="17801"/>
                    <a:pt x="3002" y="16908"/>
                    <a:pt x="3002" y="15418"/>
                  </a:cubicBezTo>
                  <a:moveTo>
                    <a:pt x="20" y="21600"/>
                  </a:moveTo>
                  <a:cubicBezTo>
                    <a:pt x="549" y="21600"/>
                    <a:pt x="549" y="21600"/>
                    <a:pt x="549" y="21600"/>
                  </a:cubicBezTo>
                  <a:cubicBezTo>
                    <a:pt x="549" y="12290"/>
                    <a:pt x="549" y="12290"/>
                    <a:pt x="549" y="12290"/>
                  </a:cubicBezTo>
                  <a:cubicBezTo>
                    <a:pt x="20" y="12290"/>
                    <a:pt x="20" y="12290"/>
                    <a:pt x="20" y="12290"/>
                  </a:cubicBezTo>
                  <a:lnTo>
                    <a:pt x="20" y="21600"/>
                  </a:lnTo>
                  <a:close/>
                  <a:moveTo>
                    <a:pt x="20266" y="7597"/>
                  </a:moveTo>
                  <a:cubicBezTo>
                    <a:pt x="20266" y="5661"/>
                    <a:pt x="20266" y="5661"/>
                    <a:pt x="20266" y="5661"/>
                  </a:cubicBezTo>
                  <a:cubicBezTo>
                    <a:pt x="21423" y="5661"/>
                    <a:pt x="21423" y="5661"/>
                    <a:pt x="21423" y="5661"/>
                  </a:cubicBezTo>
                  <a:cubicBezTo>
                    <a:pt x="21423" y="3873"/>
                    <a:pt x="21423" y="3873"/>
                    <a:pt x="21423" y="3873"/>
                  </a:cubicBezTo>
                  <a:cubicBezTo>
                    <a:pt x="20266" y="3873"/>
                    <a:pt x="20266" y="3873"/>
                    <a:pt x="20266" y="3873"/>
                  </a:cubicBezTo>
                  <a:cubicBezTo>
                    <a:pt x="20266" y="1937"/>
                    <a:pt x="20266" y="1937"/>
                    <a:pt x="20266" y="1937"/>
                  </a:cubicBezTo>
                  <a:cubicBezTo>
                    <a:pt x="21580" y="1937"/>
                    <a:pt x="21580" y="1937"/>
                    <a:pt x="21580" y="1937"/>
                  </a:cubicBezTo>
                  <a:cubicBezTo>
                    <a:pt x="21580" y="149"/>
                    <a:pt x="21580" y="149"/>
                    <a:pt x="21580" y="149"/>
                  </a:cubicBezTo>
                  <a:cubicBezTo>
                    <a:pt x="19736" y="149"/>
                    <a:pt x="19736" y="149"/>
                    <a:pt x="19736" y="149"/>
                  </a:cubicBezTo>
                  <a:cubicBezTo>
                    <a:pt x="19736" y="9385"/>
                    <a:pt x="19736" y="9385"/>
                    <a:pt x="19736" y="9385"/>
                  </a:cubicBezTo>
                  <a:cubicBezTo>
                    <a:pt x="21600" y="9385"/>
                    <a:pt x="21600" y="9385"/>
                    <a:pt x="21600" y="9385"/>
                  </a:cubicBezTo>
                  <a:cubicBezTo>
                    <a:pt x="21600" y="7597"/>
                    <a:pt x="21600" y="7597"/>
                    <a:pt x="21600" y="7597"/>
                  </a:cubicBezTo>
                  <a:lnTo>
                    <a:pt x="20266" y="7597"/>
                  </a:lnTo>
                  <a:close/>
                  <a:moveTo>
                    <a:pt x="18598" y="3873"/>
                  </a:moveTo>
                  <a:cubicBezTo>
                    <a:pt x="18186" y="3426"/>
                    <a:pt x="18069" y="3277"/>
                    <a:pt x="18069" y="2607"/>
                  </a:cubicBezTo>
                  <a:cubicBezTo>
                    <a:pt x="18069" y="2607"/>
                    <a:pt x="18069" y="2607"/>
                    <a:pt x="18069" y="2607"/>
                  </a:cubicBezTo>
                  <a:cubicBezTo>
                    <a:pt x="18069" y="2160"/>
                    <a:pt x="18186" y="1788"/>
                    <a:pt x="18383" y="1788"/>
                  </a:cubicBezTo>
                  <a:cubicBezTo>
                    <a:pt x="18598" y="1788"/>
                    <a:pt x="18814" y="2160"/>
                    <a:pt x="19030" y="2756"/>
                  </a:cubicBezTo>
                  <a:cubicBezTo>
                    <a:pt x="19305" y="1192"/>
                    <a:pt x="19305" y="1192"/>
                    <a:pt x="19305" y="1192"/>
                  </a:cubicBezTo>
                  <a:cubicBezTo>
                    <a:pt x="19050" y="447"/>
                    <a:pt x="18755" y="0"/>
                    <a:pt x="18402" y="0"/>
                  </a:cubicBezTo>
                  <a:cubicBezTo>
                    <a:pt x="17892" y="0"/>
                    <a:pt x="17539" y="1117"/>
                    <a:pt x="17539" y="2830"/>
                  </a:cubicBezTo>
                  <a:cubicBezTo>
                    <a:pt x="17539" y="2830"/>
                    <a:pt x="17539" y="2830"/>
                    <a:pt x="17539" y="2830"/>
                  </a:cubicBezTo>
                  <a:cubicBezTo>
                    <a:pt x="17539" y="4692"/>
                    <a:pt x="17853" y="5214"/>
                    <a:pt x="18343" y="5661"/>
                  </a:cubicBezTo>
                  <a:cubicBezTo>
                    <a:pt x="18755" y="6033"/>
                    <a:pt x="18834" y="6331"/>
                    <a:pt x="18834" y="6852"/>
                  </a:cubicBezTo>
                  <a:cubicBezTo>
                    <a:pt x="18834" y="6852"/>
                    <a:pt x="18834" y="6852"/>
                    <a:pt x="18834" y="6852"/>
                  </a:cubicBezTo>
                  <a:cubicBezTo>
                    <a:pt x="18834" y="7448"/>
                    <a:pt x="18716" y="7746"/>
                    <a:pt x="18481" y="7746"/>
                  </a:cubicBezTo>
                  <a:cubicBezTo>
                    <a:pt x="18206" y="7746"/>
                    <a:pt x="17990" y="7299"/>
                    <a:pt x="17755" y="6629"/>
                  </a:cubicBezTo>
                  <a:cubicBezTo>
                    <a:pt x="17441" y="8044"/>
                    <a:pt x="17441" y="8044"/>
                    <a:pt x="17441" y="8044"/>
                  </a:cubicBezTo>
                  <a:cubicBezTo>
                    <a:pt x="17735" y="9087"/>
                    <a:pt x="18108" y="9534"/>
                    <a:pt x="18481" y="9534"/>
                  </a:cubicBezTo>
                  <a:cubicBezTo>
                    <a:pt x="19010" y="9534"/>
                    <a:pt x="19383" y="8491"/>
                    <a:pt x="19383" y="6703"/>
                  </a:cubicBezTo>
                  <a:cubicBezTo>
                    <a:pt x="19383" y="6629"/>
                    <a:pt x="19383" y="6629"/>
                    <a:pt x="19383" y="6629"/>
                  </a:cubicBezTo>
                  <a:cubicBezTo>
                    <a:pt x="19383" y="5065"/>
                    <a:pt x="19089" y="4320"/>
                    <a:pt x="18598" y="3873"/>
                  </a:cubicBezTo>
                  <a:moveTo>
                    <a:pt x="16538" y="9385"/>
                  </a:moveTo>
                  <a:cubicBezTo>
                    <a:pt x="17088" y="9385"/>
                    <a:pt x="17088" y="9385"/>
                    <a:pt x="17088" y="9385"/>
                  </a:cubicBezTo>
                  <a:cubicBezTo>
                    <a:pt x="17088" y="149"/>
                    <a:pt x="17088" y="149"/>
                    <a:pt x="17088" y="149"/>
                  </a:cubicBezTo>
                  <a:cubicBezTo>
                    <a:pt x="16538" y="149"/>
                    <a:pt x="16538" y="149"/>
                    <a:pt x="16538" y="149"/>
                  </a:cubicBezTo>
                  <a:lnTo>
                    <a:pt x="16538" y="9385"/>
                  </a:lnTo>
                  <a:close/>
                  <a:moveTo>
                    <a:pt x="15557" y="3352"/>
                  </a:moveTo>
                  <a:cubicBezTo>
                    <a:pt x="15557" y="4097"/>
                    <a:pt x="15420" y="4618"/>
                    <a:pt x="15146" y="4618"/>
                  </a:cubicBezTo>
                  <a:cubicBezTo>
                    <a:pt x="14616" y="4618"/>
                    <a:pt x="14616" y="4618"/>
                    <a:pt x="14616" y="4618"/>
                  </a:cubicBezTo>
                  <a:cubicBezTo>
                    <a:pt x="14616" y="2011"/>
                    <a:pt x="14616" y="2011"/>
                    <a:pt x="14616" y="2011"/>
                  </a:cubicBezTo>
                  <a:cubicBezTo>
                    <a:pt x="15146" y="2011"/>
                    <a:pt x="15146" y="2011"/>
                    <a:pt x="15146" y="2011"/>
                  </a:cubicBezTo>
                  <a:cubicBezTo>
                    <a:pt x="15401" y="2011"/>
                    <a:pt x="15557" y="2458"/>
                    <a:pt x="15557" y="3277"/>
                  </a:cubicBezTo>
                  <a:lnTo>
                    <a:pt x="15557" y="3352"/>
                  </a:lnTo>
                  <a:close/>
                  <a:moveTo>
                    <a:pt x="16107" y="3203"/>
                  </a:moveTo>
                  <a:cubicBezTo>
                    <a:pt x="16107" y="3203"/>
                    <a:pt x="16107" y="3203"/>
                    <a:pt x="16107" y="3203"/>
                  </a:cubicBezTo>
                  <a:cubicBezTo>
                    <a:pt x="16107" y="2309"/>
                    <a:pt x="16028" y="1564"/>
                    <a:pt x="15911" y="1043"/>
                  </a:cubicBezTo>
                  <a:cubicBezTo>
                    <a:pt x="15734" y="447"/>
                    <a:pt x="15499" y="149"/>
                    <a:pt x="15185" y="149"/>
                  </a:cubicBezTo>
                  <a:cubicBezTo>
                    <a:pt x="14066" y="149"/>
                    <a:pt x="14066" y="149"/>
                    <a:pt x="14066" y="149"/>
                  </a:cubicBezTo>
                  <a:cubicBezTo>
                    <a:pt x="14066" y="9385"/>
                    <a:pt x="14066" y="9385"/>
                    <a:pt x="14066" y="9385"/>
                  </a:cubicBezTo>
                  <a:cubicBezTo>
                    <a:pt x="14616" y="9385"/>
                    <a:pt x="14616" y="9385"/>
                    <a:pt x="14616" y="9385"/>
                  </a:cubicBezTo>
                  <a:cubicBezTo>
                    <a:pt x="14616" y="6480"/>
                    <a:pt x="14616" y="6480"/>
                    <a:pt x="14616" y="6480"/>
                  </a:cubicBezTo>
                  <a:cubicBezTo>
                    <a:pt x="15028" y="6480"/>
                    <a:pt x="15028" y="6480"/>
                    <a:pt x="15028" y="6480"/>
                  </a:cubicBezTo>
                  <a:cubicBezTo>
                    <a:pt x="15557" y="9385"/>
                    <a:pt x="15557" y="9385"/>
                    <a:pt x="15557" y="9385"/>
                  </a:cubicBezTo>
                  <a:cubicBezTo>
                    <a:pt x="16185" y="9385"/>
                    <a:pt x="16185" y="9385"/>
                    <a:pt x="16185" y="9385"/>
                  </a:cubicBezTo>
                  <a:cubicBezTo>
                    <a:pt x="15597" y="6108"/>
                    <a:pt x="15597" y="6108"/>
                    <a:pt x="15597" y="6108"/>
                  </a:cubicBezTo>
                  <a:cubicBezTo>
                    <a:pt x="15891" y="5661"/>
                    <a:pt x="16107" y="4692"/>
                    <a:pt x="16107" y="3203"/>
                  </a:cubicBezTo>
                  <a:moveTo>
                    <a:pt x="13203" y="3426"/>
                  </a:moveTo>
                  <a:cubicBezTo>
                    <a:pt x="13203" y="4171"/>
                    <a:pt x="13046" y="4841"/>
                    <a:pt x="12772" y="4841"/>
                  </a:cubicBezTo>
                  <a:cubicBezTo>
                    <a:pt x="12360" y="4841"/>
                    <a:pt x="12360" y="4841"/>
                    <a:pt x="12360" y="4841"/>
                  </a:cubicBezTo>
                  <a:cubicBezTo>
                    <a:pt x="12360" y="2011"/>
                    <a:pt x="12360" y="2011"/>
                    <a:pt x="12360" y="2011"/>
                  </a:cubicBezTo>
                  <a:cubicBezTo>
                    <a:pt x="12772" y="2011"/>
                    <a:pt x="12772" y="2011"/>
                    <a:pt x="12772" y="2011"/>
                  </a:cubicBezTo>
                  <a:cubicBezTo>
                    <a:pt x="13027" y="2011"/>
                    <a:pt x="13203" y="2458"/>
                    <a:pt x="13203" y="3352"/>
                  </a:cubicBezTo>
                  <a:lnTo>
                    <a:pt x="13203" y="3426"/>
                  </a:lnTo>
                  <a:close/>
                  <a:moveTo>
                    <a:pt x="13753" y="3352"/>
                  </a:moveTo>
                  <a:cubicBezTo>
                    <a:pt x="13753" y="3352"/>
                    <a:pt x="13753" y="3352"/>
                    <a:pt x="13753" y="3352"/>
                  </a:cubicBezTo>
                  <a:cubicBezTo>
                    <a:pt x="13753" y="1415"/>
                    <a:pt x="13399" y="149"/>
                    <a:pt x="12811" y="149"/>
                  </a:cubicBezTo>
                  <a:cubicBezTo>
                    <a:pt x="11810" y="149"/>
                    <a:pt x="11810" y="149"/>
                    <a:pt x="11810" y="149"/>
                  </a:cubicBezTo>
                  <a:cubicBezTo>
                    <a:pt x="11810" y="9385"/>
                    <a:pt x="11810" y="9385"/>
                    <a:pt x="11810" y="9385"/>
                  </a:cubicBezTo>
                  <a:cubicBezTo>
                    <a:pt x="12360" y="9385"/>
                    <a:pt x="12360" y="9385"/>
                    <a:pt x="12360" y="9385"/>
                  </a:cubicBezTo>
                  <a:cubicBezTo>
                    <a:pt x="12360" y="6629"/>
                    <a:pt x="12360" y="6629"/>
                    <a:pt x="12360" y="6629"/>
                  </a:cubicBezTo>
                  <a:cubicBezTo>
                    <a:pt x="12752" y="6629"/>
                    <a:pt x="12752" y="6629"/>
                    <a:pt x="12752" y="6629"/>
                  </a:cubicBezTo>
                  <a:cubicBezTo>
                    <a:pt x="13301" y="6629"/>
                    <a:pt x="13753" y="5512"/>
                    <a:pt x="13753" y="3352"/>
                  </a:cubicBezTo>
                  <a:moveTo>
                    <a:pt x="10457" y="4618"/>
                  </a:moveTo>
                  <a:cubicBezTo>
                    <a:pt x="9907" y="4618"/>
                    <a:pt x="9907" y="4618"/>
                    <a:pt x="9907" y="4618"/>
                  </a:cubicBezTo>
                  <a:cubicBezTo>
                    <a:pt x="9907" y="2011"/>
                    <a:pt x="9907" y="2011"/>
                    <a:pt x="9907" y="2011"/>
                  </a:cubicBezTo>
                  <a:cubicBezTo>
                    <a:pt x="10457" y="2011"/>
                    <a:pt x="10457" y="2011"/>
                    <a:pt x="10457" y="2011"/>
                  </a:cubicBezTo>
                  <a:cubicBezTo>
                    <a:pt x="10712" y="2011"/>
                    <a:pt x="10869" y="2458"/>
                    <a:pt x="10869" y="3277"/>
                  </a:cubicBezTo>
                  <a:cubicBezTo>
                    <a:pt x="10869" y="3352"/>
                    <a:pt x="10869" y="3352"/>
                    <a:pt x="10869" y="3352"/>
                  </a:cubicBezTo>
                  <a:cubicBezTo>
                    <a:pt x="10869" y="4097"/>
                    <a:pt x="10712" y="4618"/>
                    <a:pt x="10457" y="4618"/>
                  </a:cubicBezTo>
                  <a:moveTo>
                    <a:pt x="11496" y="9385"/>
                  </a:moveTo>
                  <a:cubicBezTo>
                    <a:pt x="10888" y="6108"/>
                    <a:pt x="10888" y="6108"/>
                    <a:pt x="10888" y="6108"/>
                  </a:cubicBezTo>
                  <a:cubicBezTo>
                    <a:pt x="11202" y="5661"/>
                    <a:pt x="11418" y="4692"/>
                    <a:pt x="11418" y="3203"/>
                  </a:cubicBezTo>
                  <a:cubicBezTo>
                    <a:pt x="11418" y="3203"/>
                    <a:pt x="11418" y="3203"/>
                    <a:pt x="11418" y="3203"/>
                  </a:cubicBezTo>
                  <a:cubicBezTo>
                    <a:pt x="11418" y="2309"/>
                    <a:pt x="11340" y="1564"/>
                    <a:pt x="11202" y="1043"/>
                  </a:cubicBezTo>
                  <a:cubicBezTo>
                    <a:pt x="11045" y="447"/>
                    <a:pt x="10810" y="149"/>
                    <a:pt x="10496" y="149"/>
                  </a:cubicBezTo>
                  <a:cubicBezTo>
                    <a:pt x="9378" y="149"/>
                    <a:pt x="9378" y="149"/>
                    <a:pt x="9378" y="149"/>
                  </a:cubicBezTo>
                  <a:cubicBezTo>
                    <a:pt x="9378" y="9385"/>
                    <a:pt x="9378" y="9385"/>
                    <a:pt x="9378" y="9385"/>
                  </a:cubicBezTo>
                  <a:cubicBezTo>
                    <a:pt x="9907" y="9385"/>
                    <a:pt x="9907" y="9385"/>
                    <a:pt x="9907" y="9385"/>
                  </a:cubicBezTo>
                  <a:cubicBezTo>
                    <a:pt x="9907" y="6480"/>
                    <a:pt x="9907" y="6480"/>
                    <a:pt x="9907" y="6480"/>
                  </a:cubicBezTo>
                  <a:cubicBezTo>
                    <a:pt x="10339" y="6480"/>
                    <a:pt x="10339" y="6480"/>
                    <a:pt x="10339" y="6480"/>
                  </a:cubicBezTo>
                  <a:cubicBezTo>
                    <a:pt x="10869" y="9385"/>
                    <a:pt x="10869" y="9385"/>
                    <a:pt x="10869" y="9385"/>
                  </a:cubicBezTo>
                  <a:lnTo>
                    <a:pt x="11496" y="9385"/>
                  </a:lnTo>
                  <a:close/>
                  <a:moveTo>
                    <a:pt x="9025" y="7597"/>
                  </a:moveTo>
                  <a:cubicBezTo>
                    <a:pt x="7690" y="7597"/>
                    <a:pt x="7690" y="7597"/>
                    <a:pt x="7690" y="7597"/>
                  </a:cubicBezTo>
                  <a:cubicBezTo>
                    <a:pt x="7690" y="5661"/>
                    <a:pt x="7690" y="5661"/>
                    <a:pt x="7690" y="5661"/>
                  </a:cubicBezTo>
                  <a:cubicBezTo>
                    <a:pt x="8848" y="5661"/>
                    <a:pt x="8848" y="5661"/>
                    <a:pt x="8848" y="5661"/>
                  </a:cubicBezTo>
                  <a:cubicBezTo>
                    <a:pt x="8848" y="3873"/>
                    <a:pt x="8848" y="3873"/>
                    <a:pt x="8848" y="3873"/>
                  </a:cubicBezTo>
                  <a:cubicBezTo>
                    <a:pt x="7690" y="3873"/>
                    <a:pt x="7690" y="3873"/>
                    <a:pt x="7690" y="3873"/>
                  </a:cubicBezTo>
                  <a:cubicBezTo>
                    <a:pt x="7690" y="1937"/>
                    <a:pt x="7690" y="1937"/>
                    <a:pt x="7690" y="1937"/>
                  </a:cubicBezTo>
                  <a:cubicBezTo>
                    <a:pt x="9005" y="1937"/>
                    <a:pt x="9005" y="1937"/>
                    <a:pt x="9005" y="1937"/>
                  </a:cubicBezTo>
                  <a:cubicBezTo>
                    <a:pt x="9005" y="149"/>
                    <a:pt x="9005" y="149"/>
                    <a:pt x="9005" y="149"/>
                  </a:cubicBezTo>
                  <a:cubicBezTo>
                    <a:pt x="7161" y="149"/>
                    <a:pt x="7161" y="149"/>
                    <a:pt x="7161" y="149"/>
                  </a:cubicBezTo>
                  <a:cubicBezTo>
                    <a:pt x="7161" y="9385"/>
                    <a:pt x="7161" y="9385"/>
                    <a:pt x="7161" y="9385"/>
                  </a:cubicBezTo>
                  <a:cubicBezTo>
                    <a:pt x="9025" y="9385"/>
                    <a:pt x="9025" y="9385"/>
                    <a:pt x="9025" y="9385"/>
                  </a:cubicBezTo>
                  <a:lnTo>
                    <a:pt x="9025" y="7597"/>
                  </a:lnTo>
                  <a:close/>
                  <a:moveTo>
                    <a:pt x="6043" y="9385"/>
                  </a:moveTo>
                  <a:cubicBezTo>
                    <a:pt x="6043" y="2011"/>
                    <a:pt x="6043" y="2011"/>
                    <a:pt x="6043" y="2011"/>
                  </a:cubicBezTo>
                  <a:cubicBezTo>
                    <a:pt x="6788" y="2011"/>
                    <a:pt x="6788" y="2011"/>
                    <a:pt x="6788" y="2011"/>
                  </a:cubicBezTo>
                  <a:cubicBezTo>
                    <a:pt x="6788" y="149"/>
                    <a:pt x="6788" y="149"/>
                    <a:pt x="6788" y="149"/>
                  </a:cubicBezTo>
                  <a:cubicBezTo>
                    <a:pt x="4767" y="149"/>
                    <a:pt x="4767" y="149"/>
                    <a:pt x="4767" y="149"/>
                  </a:cubicBezTo>
                  <a:cubicBezTo>
                    <a:pt x="4767" y="2011"/>
                    <a:pt x="4767" y="2011"/>
                    <a:pt x="4767" y="2011"/>
                  </a:cubicBezTo>
                  <a:cubicBezTo>
                    <a:pt x="5513" y="2011"/>
                    <a:pt x="5513" y="2011"/>
                    <a:pt x="5513" y="2011"/>
                  </a:cubicBezTo>
                  <a:cubicBezTo>
                    <a:pt x="5513" y="9385"/>
                    <a:pt x="5513" y="9385"/>
                    <a:pt x="5513" y="9385"/>
                  </a:cubicBezTo>
                  <a:lnTo>
                    <a:pt x="6043" y="9385"/>
                  </a:lnTo>
                  <a:close/>
                  <a:moveTo>
                    <a:pt x="2766" y="3501"/>
                  </a:moveTo>
                  <a:cubicBezTo>
                    <a:pt x="3943" y="9385"/>
                    <a:pt x="3943" y="9385"/>
                    <a:pt x="3943" y="9385"/>
                  </a:cubicBezTo>
                  <a:cubicBezTo>
                    <a:pt x="4414" y="9385"/>
                    <a:pt x="4414" y="9385"/>
                    <a:pt x="4414" y="9385"/>
                  </a:cubicBezTo>
                  <a:cubicBezTo>
                    <a:pt x="4414" y="149"/>
                    <a:pt x="4414" y="149"/>
                    <a:pt x="4414" y="149"/>
                  </a:cubicBezTo>
                  <a:cubicBezTo>
                    <a:pt x="3865" y="149"/>
                    <a:pt x="3865" y="149"/>
                    <a:pt x="3865" y="149"/>
                  </a:cubicBezTo>
                  <a:cubicBezTo>
                    <a:pt x="3865" y="5884"/>
                    <a:pt x="3865" y="5884"/>
                    <a:pt x="3865" y="5884"/>
                  </a:cubicBezTo>
                  <a:cubicBezTo>
                    <a:pt x="2727" y="149"/>
                    <a:pt x="2727" y="149"/>
                    <a:pt x="2727" y="149"/>
                  </a:cubicBezTo>
                  <a:cubicBezTo>
                    <a:pt x="2237" y="149"/>
                    <a:pt x="2237" y="149"/>
                    <a:pt x="2237" y="149"/>
                  </a:cubicBezTo>
                  <a:cubicBezTo>
                    <a:pt x="2237" y="9385"/>
                    <a:pt x="2237" y="9385"/>
                    <a:pt x="2237" y="9385"/>
                  </a:cubicBezTo>
                  <a:cubicBezTo>
                    <a:pt x="2766" y="9385"/>
                    <a:pt x="2766" y="9385"/>
                    <a:pt x="2766" y="9385"/>
                  </a:cubicBezTo>
                  <a:lnTo>
                    <a:pt x="2766" y="3501"/>
                  </a:lnTo>
                  <a:close/>
                  <a:moveTo>
                    <a:pt x="1864" y="7597"/>
                  </a:moveTo>
                  <a:cubicBezTo>
                    <a:pt x="530" y="7597"/>
                    <a:pt x="530" y="7597"/>
                    <a:pt x="530" y="7597"/>
                  </a:cubicBezTo>
                  <a:cubicBezTo>
                    <a:pt x="530" y="5661"/>
                    <a:pt x="530" y="5661"/>
                    <a:pt x="530" y="5661"/>
                  </a:cubicBezTo>
                  <a:cubicBezTo>
                    <a:pt x="1687" y="5661"/>
                    <a:pt x="1687" y="5661"/>
                    <a:pt x="1687" y="5661"/>
                  </a:cubicBezTo>
                  <a:cubicBezTo>
                    <a:pt x="1687" y="3873"/>
                    <a:pt x="1687" y="3873"/>
                    <a:pt x="1687" y="3873"/>
                  </a:cubicBezTo>
                  <a:cubicBezTo>
                    <a:pt x="530" y="3873"/>
                    <a:pt x="530" y="3873"/>
                    <a:pt x="530" y="3873"/>
                  </a:cubicBezTo>
                  <a:cubicBezTo>
                    <a:pt x="530" y="1937"/>
                    <a:pt x="530" y="1937"/>
                    <a:pt x="530" y="1937"/>
                  </a:cubicBezTo>
                  <a:cubicBezTo>
                    <a:pt x="1844" y="1937"/>
                    <a:pt x="1844" y="1937"/>
                    <a:pt x="1844" y="1937"/>
                  </a:cubicBezTo>
                  <a:cubicBezTo>
                    <a:pt x="1844" y="149"/>
                    <a:pt x="1844" y="149"/>
                    <a:pt x="1844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9385"/>
                    <a:pt x="0" y="9385"/>
                    <a:pt x="0" y="9385"/>
                  </a:cubicBezTo>
                  <a:cubicBezTo>
                    <a:pt x="1864" y="9385"/>
                    <a:pt x="1864" y="9385"/>
                    <a:pt x="1864" y="9385"/>
                  </a:cubicBezTo>
                  <a:lnTo>
                    <a:pt x="1864" y="7597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  <p:sp>
          <p:nvSpPr>
            <p:cNvPr id="375" name="Freeform 6"/>
            <p:cNvSpPr/>
            <p:nvPr/>
          </p:nvSpPr>
          <p:spPr>
            <a:xfrm>
              <a:off x="466725" y="427037"/>
              <a:ext cx="1368426" cy="698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60" y="9818"/>
                  </a:moveTo>
                  <a:cubicBezTo>
                    <a:pt x="21160" y="8640"/>
                    <a:pt x="21200" y="7855"/>
                    <a:pt x="21280" y="7855"/>
                  </a:cubicBezTo>
                  <a:cubicBezTo>
                    <a:pt x="21380" y="7855"/>
                    <a:pt x="21420" y="8247"/>
                    <a:pt x="21480" y="9818"/>
                  </a:cubicBezTo>
                  <a:cubicBezTo>
                    <a:pt x="21560" y="8640"/>
                    <a:pt x="21560" y="8640"/>
                    <a:pt x="21560" y="8640"/>
                  </a:cubicBezTo>
                  <a:cubicBezTo>
                    <a:pt x="21500" y="7069"/>
                    <a:pt x="21400" y="5891"/>
                    <a:pt x="21300" y="5891"/>
                  </a:cubicBezTo>
                  <a:cubicBezTo>
                    <a:pt x="21160" y="5891"/>
                    <a:pt x="21041" y="7462"/>
                    <a:pt x="21041" y="9818"/>
                  </a:cubicBezTo>
                  <a:cubicBezTo>
                    <a:pt x="21041" y="15316"/>
                    <a:pt x="21500" y="13353"/>
                    <a:pt x="21500" y="17280"/>
                  </a:cubicBezTo>
                  <a:cubicBezTo>
                    <a:pt x="21500" y="18458"/>
                    <a:pt x="21440" y="19636"/>
                    <a:pt x="21320" y="19636"/>
                  </a:cubicBezTo>
                  <a:cubicBezTo>
                    <a:pt x="21220" y="19636"/>
                    <a:pt x="21160" y="18851"/>
                    <a:pt x="21100" y="17673"/>
                  </a:cubicBezTo>
                  <a:cubicBezTo>
                    <a:pt x="21021" y="18851"/>
                    <a:pt x="21021" y="18851"/>
                    <a:pt x="21021" y="18851"/>
                  </a:cubicBezTo>
                  <a:cubicBezTo>
                    <a:pt x="21100" y="20422"/>
                    <a:pt x="21200" y="21600"/>
                    <a:pt x="21320" y="21600"/>
                  </a:cubicBezTo>
                  <a:cubicBezTo>
                    <a:pt x="21460" y="21600"/>
                    <a:pt x="21600" y="20029"/>
                    <a:pt x="21600" y="17280"/>
                  </a:cubicBezTo>
                  <a:cubicBezTo>
                    <a:pt x="21600" y="11389"/>
                    <a:pt x="21160" y="13353"/>
                    <a:pt x="21160" y="9818"/>
                  </a:cubicBezTo>
                  <a:moveTo>
                    <a:pt x="20481" y="9818"/>
                  </a:moveTo>
                  <a:cubicBezTo>
                    <a:pt x="20481" y="8640"/>
                    <a:pt x="20541" y="7855"/>
                    <a:pt x="20621" y="7855"/>
                  </a:cubicBezTo>
                  <a:cubicBezTo>
                    <a:pt x="20721" y="7855"/>
                    <a:pt x="20761" y="8247"/>
                    <a:pt x="20821" y="9818"/>
                  </a:cubicBezTo>
                  <a:cubicBezTo>
                    <a:pt x="20901" y="8640"/>
                    <a:pt x="20901" y="8640"/>
                    <a:pt x="20901" y="8640"/>
                  </a:cubicBezTo>
                  <a:cubicBezTo>
                    <a:pt x="20841" y="7069"/>
                    <a:pt x="20741" y="5891"/>
                    <a:pt x="20641" y="5891"/>
                  </a:cubicBezTo>
                  <a:cubicBezTo>
                    <a:pt x="20481" y="5891"/>
                    <a:pt x="20381" y="7462"/>
                    <a:pt x="20381" y="9818"/>
                  </a:cubicBezTo>
                  <a:cubicBezTo>
                    <a:pt x="20381" y="15316"/>
                    <a:pt x="20821" y="13353"/>
                    <a:pt x="20821" y="17280"/>
                  </a:cubicBezTo>
                  <a:cubicBezTo>
                    <a:pt x="20821" y="18458"/>
                    <a:pt x="20781" y="19636"/>
                    <a:pt x="20661" y="19636"/>
                  </a:cubicBezTo>
                  <a:cubicBezTo>
                    <a:pt x="20561" y="19636"/>
                    <a:pt x="20501" y="18851"/>
                    <a:pt x="20441" y="17673"/>
                  </a:cubicBezTo>
                  <a:cubicBezTo>
                    <a:pt x="20361" y="18851"/>
                    <a:pt x="20361" y="18851"/>
                    <a:pt x="20361" y="18851"/>
                  </a:cubicBezTo>
                  <a:cubicBezTo>
                    <a:pt x="20441" y="20422"/>
                    <a:pt x="20541" y="21600"/>
                    <a:pt x="20661" y="21600"/>
                  </a:cubicBezTo>
                  <a:cubicBezTo>
                    <a:pt x="20801" y="21600"/>
                    <a:pt x="20941" y="20029"/>
                    <a:pt x="20941" y="17280"/>
                  </a:cubicBezTo>
                  <a:cubicBezTo>
                    <a:pt x="20941" y="11389"/>
                    <a:pt x="20481" y="13353"/>
                    <a:pt x="20481" y="9818"/>
                  </a:cubicBezTo>
                  <a:moveTo>
                    <a:pt x="19962" y="7855"/>
                  </a:moveTo>
                  <a:cubicBezTo>
                    <a:pt x="20081" y="7855"/>
                    <a:pt x="20141" y="9425"/>
                    <a:pt x="20141" y="12567"/>
                  </a:cubicBezTo>
                  <a:cubicBezTo>
                    <a:pt x="19742" y="12567"/>
                    <a:pt x="19742" y="12567"/>
                    <a:pt x="19742" y="12567"/>
                  </a:cubicBezTo>
                  <a:cubicBezTo>
                    <a:pt x="19762" y="9425"/>
                    <a:pt x="19822" y="7855"/>
                    <a:pt x="19962" y="7855"/>
                  </a:cubicBezTo>
                  <a:moveTo>
                    <a:pt x="19981" y="19636"/>
                  </a:moveTo>
                  <a:cubicBezTo>
                    <a:pt x="19842" y="19636"/>
                    <a:pt x="19742" y="17673"/>
                    <a:pt x="19742" y="14138"/>
                  </a:cubicBezTo>
                  <a:cubicBezTo>
                    <a:pt x="20241" y="14138"/>
                    <a:pt x="20241" y="14138"/>
                    <a:pt x="20241" y="14138"/>
                  </a:cubicBezTo>
                  <a:cubicBezTo>
                    <a:pt x="20241" y="12960"/>
                    <a:pt x="20241" y="12960"/>
                    <a:pt x="20241" y="12960"/>
                  </a:cubicBezTo>
                  <a:cubicBezTo>
                    <a:pt x="20241" y="7855"/>
                    <a:pt x="20121" y="5891"/>
                    <a:pt x="19962" y="5891"/>
                  </a:cubicBezTo>
                  <a:cubicBezTo>
                    <a:pt x="19762" y="5891"/>
                    <a:pt x="19642" y="9033"/>
                    <a:pt x="19642" y="13745"/>
                  </a:cubicBezTo>
                  <a:cubicBezTo>
                    <a:pt x="19642" y="19244"/>
                    <a:pt x="19802" y="21600"/>
                    <a:pt x="19981" y="21600"/>
                  </a:cubicBezTo>
                  <a:cubicBezTo>
                    <a:pt x="20141" y="21600"/>
                    <a:pt x="20221" y="19636"/>
                    <a:pt x="20261" y="18065"/>
                  </a:cubicBezTo>
                  <a:cubicBezTo>
                    <a:pt x="20181" y="17280"/>
                    <a:pt x="20181" y="17280"/>
                    <a:pt x="20181" y="17280"/>
                  </a:cubicBezTo>
                  <a:cubicBezTo>
                    <a:pt x="20141" y="18851"/>
                    <a:pt x="20061" y="19636"/>
                    <a:pt x="19981" y="19636"/>
                  </a:cubicBezTo>
                  <a:moveTo>
                    <a:pt x="19222" y="5891"/>
                  </a:moveTo>
                  <a:cubicBezTo>
                    <a:pt x="19142" y="5891"/>
                    <a:pt x="19062" y="7069"/>
                    <a:pt x="19002" y="8247"/>
                  </a:cubicBezTo>
                  <a:cubicBezTo>
                    <a:pt x="19002" y="8247"/>
                    <a:pt x="19002" y="8247"/>
                    <a:pt x="19002" y="8247"/>
                  </a:cubicBezTo>
                  <a:cubicBezTo>
                    <a:pt x="19002" y="6284"/>
                    <a:pt x="19002" y="6284"/>
                    <a:pt x="19002" y="6284"/>
                  </a:cubicBezTo>
                  <a:cubicBezTo>
                    <a:pt x="18883" y="6284"/>
                    <a:pt x="18883" y="6284"/>
                    <a:pt x="18883" y="6284"/>
                  </a:cubicBezTo>
                  <a:cubicBezTo>
                    <a:pt x="18883" y="21207"/>
                    <a:pt x="18883" y="21207"/>
                    <a:pt x="18883" y="21207"/>
                  </a:cubicBezTo>
                  <a:cubicBezTo>
                    <a:pt x="19002" y="21207"/>
                    <a:pt x="19002" y="21207"/>
                    <a:pt x="19002" y="21207"/>
                  </a:cubicBezTo>
                  <a:cubicBezTo>
                    <a:pt x="19002" y="10211"/>
                    <a:pt x="19002" y="10211"/>
                    <a:pt x="19002" y="10211"/>
                  </a:cubicBezTo>
                  <a:cubicBezTo>
                    <a:pt x="19042" y="9033"/>
                    <a:pt x="19142" y="7855"/>
                    <a:pt x="19222" y="7855"/>
                  </a:cubicBezTo>
                  <a:cubicBezTo>
                    <a:pt x="19282" y="7855"/>
                    <a:pt x="19342" y="8247"/>
                    <a:pt x="19342" y="10211"/>
                  </a:cubicBezTo>
                  <a:cubicBezTo>
                    <a:pt x="19342" y="21207"/>
                    <a:pt x="19342" y="21207"/>
                    <a:pt x="19342" y="21207"/>
                  </a:cubicBezTo>
                  <a:cubicBezTo>
                    <a:pt x="19442" y="21207"/>
                    <a:pt x="19442" y="21207"/>
                    <a:pt x="19442" y="21207"/>
                  </a:cubicBezTo>
                  <a:cubicBezTo>
                    <a:pt x="19442" y="10211"/>
                    <a:pt x="19442" y="10211"/>
                    <a:pt x="19442" y="10211"/>
                  </a:cubicBezTo>
                  <a:cubicBezTo>
                    <a:pt x="19442" y="7069"/>
                    <a:pt x="19342" y="5891"/>
                    <a:pt x="19222" y="5891"/>
                  </a:cubicBezTo>
                  <a:moveTo>
                    <a:pt x="18503" y="21207"/>
                  </a:moveTo>
                  <a:cubicBezTo>
                    <a:pt x="18603" y="21207"/>
                    <a:pt x="18603" y="21207"/>
                    <a:pt x="18603" y="21207"/>
                  </a:cubicBezTo>
                  <a:cubicBezTo>
                    <a:pt x="18603" y="6284"/>
                    <a:pt x="18603" y="6284"/>
                    <a:pt x="18603" y="6284"/>
                  </a:cubicBezTo>
                  <a:cubicBezTo>
                    <a:pt x="18503" y="6284"/>
                    <a:pt x="18503" y="6284"/>
                    <a:pt x="18503" y="6284"/>
                  </a:cubicBezTo>
                  <a:lnTo>
                    <a:pt x="18503" y="21207"/>
                  </a:lnTo>
                  <a:close/>
                  <a:moveTo>
                    <a:pt x="18503" y="2749"/>
                  </a:moveTo>
                  <a:cubicBezTo>
                    <a:pt x="18603" y="2749"/>
                    <a:pt x="18603" y="2749"/>
                    <a:pt x="18603" y="2749"/>
                  </a:cubicBezTo>
                  <a:cubicBezTo>
                    <a:pt x="18603" y="0"/>
                    <a:pt x="18603" y="0"/>
                    <a:pt x="18603" y="0"/>
                  </a:cubicBezTo>
                  <a:cubicBezTo>
                    <a:pt x="18503" y="0"/>
                    <a:pt x="18503" y="0"/>
                    <a:pt x="18503" y="0"/>
                  </a:cubicBezTo>
                  <a:lnTo>
                    <a:pt x="18503" y="2749"/>
                  </a:lnTo>
                  <a:close/>
                  <a:moveTo>
                    <a:pt x="17843" y="9818"/>
                  </a:moveTo>
                  <a:cubicBezTo>
                    <a:pt x="17843" y="8640"/>
                    <a:pt x="17903" y="7855"/>
                    <a:pt x="17983" y="7855"/>
                  </a:cubicBezTo>
                  <a:cubicBezTo>
                    <a:pt x="18063" y="7855"/>
                    <a:pt x="18123" y="8247"/>
                    <a:pt x="18183" y="9818"/>
                  </a:cubicBezTo>
                  <a:cubicBezTo>
                    <a:pt x="18263" y="8640"/>
                    <a:pt x="18263" y="8640"/>
                    <a:pt x="18263" y="8640"/>
                  </a:cubicBezTo>
                  <a:cubicBezTo>
                    <a:pt x="18203" y="7069"/>
                    <a:pt x="18103" y="5891"/>
                    <a:pt x="18003" y="5891"/>
                  </a:cubicBezTo>
                  <a:cubicBezTo>
                    <a:pt x="17843" y="5891"/>
                    <a:pt x="17744" y="7462"/>
                    <a:pt x="17744" y="9818"/>
                  </a:cubicBezTo>
                  <a:cubicBezTo>
                    <a:pt x="17724" y="15316"/>
                    <a:pt x="18183" y="13353"/>
                    <a:pt x="18183" y="17280"/>
                  </a:cubicBezTo>
                  <a:cubicBezTo>
                    <a:pt x="18183" y="18458"/>
                    <a:pt x="18143" y="19636"/>
                    <a:pt x="18023" y="19636"/>
                  </a:cubicBezTo>
                  <a:cubicBezTo>
                    <a:pt x="17923" y="19636"/>
                    <a:pt x="17843" y="18851"/>
                    <a:pt x="17804" y="17673"/>
                  </a:cubicBezTo>
                  <a:cubicBezTo>
                    <a:pt x="17724" y="18851"/>
                    <a:pt x="17724" y="18851"/>
                    <a:pt x="17724" y="18851"/>
                  </a:cubicBezTo>
                  <a:cubicBezTo>
                    <a:pt x="17784" y="20422"/>
                    <a:pt x="17903" y="21600"/>
                    <a:pt x="18023" y="21600"/>
                  </a:cubicBezTo>
                  <a:cubicBezTo>
                    <a:pt x="18163" y="21600"/>
                    <a:pt x="18283" y="20029"/>
                    <a:pt x="18283" y="17280"/>
                  </a:cubicBezTo>
                  <a:cubicBezTo>
                    <a:pt x="18283" y="11389"/>
                    <a:pt x="17843" y="13353"/>
                    <a:pt x="17843" y="9818"/>
                  </a:cubicBezTo>
                  <a:moveTo>
                    <a:pt x="17444" y="17673"/>
                  </a:moveTo>
                  <a:cubicBezTo>
                    <a:pt x="17384" y="18458"/>
                    <a:pt x="17304" y="19636"/>
                    <a:pt x="17224" y="19636"/>
                  </a:cubicBezTo>
                  <a:cubicBezTo>
                    <a:pt x="17144" y="19636"/>
                    <a:pt x="17104" y="19244"/>
                    <a:pt x="17104" y="17280"/>
                  </a:cubicBezTo>
                  <a:cubicBezTo>
                    <a:pt x="17104" y="6284"/>
                    <a:pt x="17104" y="6284"/>
                    <a:pt x="17104" y="6284"/>
                  </a:cubicBezTo>
                  <a:cubicBezTo>
                    <a:pt x="16984" y="6284"/>
                    <a:pt x="16984" y="6284"/>
                    <a:pt x="16984" y="6284"/>
                  </a:cubicBezTo>
                  <a:cubicBezTo>
                    <a:pt x="16984" y="17280"/>
                    <a:pt x="16984" y="17280"/>
                    <a:pt x="16984" y="17280"/>
                  </a:cubicBezTo>
                  <a:cubicBezTo>
                    <a:pt x="16984" y="20422"/>
                    <a:pt x="17104" y="21600"/>
                    <a:pt x="17204" y="21600"/>
                  </a:cubicBezTo>
                  <a:cubicBezTo>
                    <a:pt x="17304" y="21600"/>
                    <a:pt x="17384" y="20422"/>
                    <a:pt x="17444" y="19244"/>
                  </a:cubicBezTo>
                  <a:cubicBezTo>
                    <a:pt x="17444" y="19244"/>
                    <a:pt x="17444" y="19244"/>
                    <a:pt x="17444" y="19244"/>
                  </a:cubicBezTo>
                  <a:cubicBezTo>
                    <a:pt x="17444" y="21207"/>
                    <a:pt x="17444" y="21207"/>
                    <a:pt x="17444" y="21207"/>
                  </a:cubicBezTo>
                  <a:cubicBezTo>
                    <a:pt x="17544" y="21207"/>
                    <a:pt x="17544" y="21207"/>
                    <a:pt x="17544" y="21207"/>
                  </a:cubicBezTo>
                  <a:cubicBezTo>
                    <a:pt x="17544" y="6284"/>
                    <a:pt x="17544" y="6284"/>
                    <a:pt x="17544" y="6284"/>
                  </a:cubicBezTo>
                  <a:cubicBezTo>
                    <a:pt x="17444" y="6284"/>
                    <a:pt x="17444" y="6284"/>
                    <a:pt x="17444" y="6284"/>
                  </a:cubicBezTo>
                  <a:lnTo>
                    <a:pt x="17444" y="17673"/>
                  </a:lnTo>
                  <a:close/>
                  <a:moveTo>
                    <a:pt x="16465" y="19636"/>
                  </a:moveTo>
                  <a:cubicBezTo>
                    <a:pt x="16385" y="19636"/>
                    <a:pt x="16345" y="19244"/>
                    <a:pt x="16265" y="17673"/>
                  </a:cubicBezTo>
                  <a:cubicBezTo>
                    <a:pt x="16265" y="9818"/>
                    <a:pt x="16265" y="9818"/>
                    <a:pt x="16265" y="9818"/>
                  </a:cubicBezTo>
                  <a:cubicBezTo>
                    <a:pt x="16325" y="8640"/>
                    <a:pt x="16405" y="7855"/>
                    <a:pt x="16465" y="7855"/>
                  </a:cubicBezTo>
                  <a:cubicBezTo>
                    <a:pt x="16585" y="7855"/>
                    <a:pt x="16685" y="9425"/>
                    <a:pt x="16685" y="13745"/>
                  </a:cubicBezTo>
                  <a:cubicBezTo>
                    <a:pt x="16685" y="17673"/>
                    <a:pt x="16585" y="19636"/>
                    <a:pt x="16465" y="19636"/>
                  </a:cubicBezTo>
                  <a:moveTo>
                    <a:pt x="16485" y="5891"/>
                  </a:moveTo>
                  <a:cubicBezTo>
                    <a:pt x="16405" y="5891"/>
                    <a:pt x="16325" y="6676"/>
                    <a:pt x="16265" y="7462"/>
                  </a:cubicBezTo>
                  <a:cubicBezTo>
                    <a:pt x="16265" y="7855"/>
                    <a:pt x="16265" y="7855"/>
                    <a:pt x="16265" y="7855"/>
                  </a:cubicBezTo>
                  <a:cubicBezTo>
                    <a:pt x="16265" y="393"/>
                    <a:pt x="16265" y="393"/>
                    <a:pt x="16265" y="393"/>
                  </a:cubicBezTo>
                  <a:cubicBezTo>
                    <a:pt x="16165" y="393"/>
                    <a:pt x="16165" y="393"/>
                    <a:pt x="16165" y="393"/>
                  </a:cubicBezTo>
                  <a:cubicBezTo>
                    <a:pt x="16165" y="18065"/>
                    <a:pt x="16165" y="18065"/>
                    <a:pt x="16165" y="18065"/>
                  </a:cubicBezTo>
                  <a:cubicBezTo>
                    <a:pt x="16165" y="19244"/>
                    <a:pt x="16165" y="20029"/>
                    <a:pt x="16145" y="21207"/>
                  </a:cubicBezTo>
                  <a:cubicBezTo>
                    <a:pt x="16225" y="21207"/>
                    <a:pt x="16225" y="21207"/>
                    <a:pt x="16225" y="21207"/>
                  </a:cubicBezTo>
                  <a:cubicBezTo>
                    <a:pt x="16245" y="19636"/>
                    <a:pt x="16245" y="19636"/>
                    <a:pt x="16245" y="19636"/>
                  </a:cubicBezTo>
                  <a:cubicBezTo>
                    <a:pt x="16305" y="20815"/>
                    <a:pt x="16385" y="21600"/>
                    <a:pt x="16465" y="21600"/>
                  </a:cubicBezTo>
                  <a:cubicBezTo>
                    <a:pt x="16605" y="21600"/>
                    <a:pt x="16784" y="19636"/>
                    <a:pt x="16784" y="13745"/>
                  </a:cubicBezTo>
                  <a:cubicBezTo>
                    <a:pt x="16784" y="7855"/>
                    <a:pt x="16605" y="5891"/>
                    <a:pt x="16485" y="5891"/>
                  </a:cubicBezTo>
                  <a:moveTo>
                    <a:pt x="15086" y="9818"/>
                  </a:moveTo>
                  <a:cubicBezTo>
                    <a:pt x="15086" y="8640"/>
                    <a:pt x="15126" y="7855"/>
                    <a:pt x="15226" y="7855"/>
                  </a:cubicBezTo>
                  <a:cubicBezTo>
                    <a:pt x="15306" y="7855"/>
                    <a:pt x="15366" y="8247"/>
                    <a:pt x="15426" y="9818"/>
                  </a:cubicBezTo>
                  <a:cubicBezTo>
                    <a:pt x="15486" y="8640"/>
                    <a:pt x="15486" y="8640"/>
                    <a:pt x="15486" y="8640"/>
                  </a:cubicBezTo>
                  <a:cubicBezTo>
                    <a:pt x="15446" y="7069"/>
                    <a:pt x="15326" y="5891"/>
                    <a:pt x="15226" y="5891"/>
                  </a:cubicBezTo>
                  <a:cubicBezTo>
                    <a:pt x="15086" y="5891"/>
                    <a:pt x="14986" y="7462"/>
                    <a:pt x="14966" y="9818"/>
                  </a:cubicBezTo>
                  <a:cubicBezTo>
                    <a:pt x="14966" y="15316"/>
                    <a:pt x="15426" y="13353"/>
                    <a:pt x="15426" y="17280"/>
                  </a:cubicBezTo>
                  <a:cubicBezTo>
                    <a:pt x="15426" y="18458"/>
                    <a:pt x="15366" y="19636"/>
                    <a:pt x="15246" y="19636"/>
                  </a:cubicBezTo>
                  <a:cubicBezTo>
                    <a:pt x="15166" y="19636"/>
                    <a:pt x="15086" y="18851"/>
                    <a:pt x="15026" y="17673"/>
                  </a:cubicBezTo>
                  <a:cubicBezTo>
                    <a:pt x="14946" y="18851"/>
                    <a:pt x="14946" y="18851"/>
                    <a:pt x="14946" y="18851"/>
                  </a:cubicBezTo>
                  <a:cubicBezTo>
                    <a:pt x="15026" y="20422"/>
                    <a:pt x="15146" y="21600"/>
                    <a:pt x="15266" y="21600"/>
                  </a:cubicBezTo>
                  <a:cubicBezTo>
                    <a:pt x="15406" y="21600"/>
                    <a:pt x="15526" y="20029"/>
                    <a:pt x="15526" y="17280"/>
                  </a:cubicBezTo>
                  <a:cubicBezTo>
                    <a:pt x="15526" y="11389"/>
                    <a:pt x="15086" y="13353"/>
                    <a:pt x="15086" y="9818"/>
                  </a:cubicBezTo>
                  <a:moveTo>
                    <a:pt x="14567" y="5891"/>
                  </a:moveTo>
                  <a:cubicBezTo>
                    <a:pt x="14467" y="5891"/>
                    <a:pt x="14387" y="7069"/>
                    <a:pt x="14327" y="8247"/>
                  </a:cubicBezTo>
                  <a:cubicBezTo>
                    <a:pt x="14327" y="8247"/>
                    <a:pt x="14327" y="8247"/>
                    <a:pt x="14327" y="8247"/>
                  </a:cubicBezTo>
                  <a:cubicBezTo>
                    <a:pt x="14327" y="6284"/>
                    <a:pt x="14327" y="6284"/>
                    <a:pt x="14327" y="6284"/>
                  </a:cubicBezTo>
                  <a:cubicBezTo>
                    <a:pt x="14227" y="6284"/>
                    <a:pt x="14227" y="6284"/>
                    <a:pt x="14227" y="6284"/>
                  </a:cubicBezTo>
                  <a:cubicBezTo>
                    <a:pt x="14227" y="21207"/>
                    <a:pt x="14227" y="21207"/>
                    <a:pt x="14227" y="21207"/>
                  </a:cubicBezTo>
                  <a:cubicBezTo>
                    <a:pt x="14327" y="21207"/>
                    <a:pt x="14327" y="21207"/>
                    <a:pt x="14327" y="21207"/>
                  </a:cubicBezTo>
                  <a:cubicBezTo>
                    <a:pt x="14327" y="10211"/>
                    <a:pt x="14327" y="10211"/>
                    <a:pt x="14327" y="10211"/>
                  </a:cubicBezTo>
                  <a:cubicBezTo>
                    <a:pt x="14367" y="9033"/>
                    <a:pt x="14467" y="7855"/>
                    <a:pt x="14547" y="7855"/>
                  </a:cubicBezTo>
                  <a:cubicBezTo>
                    <a:pt x="14626" y="7855"/>
                    <a:pt x="14666" y="8247"/>
                    <a:pt x="14666" y="10211"/>
                  </a:cubicBezTo>
                  <a:cubicBezTo>
                    <a:pt x="14666" y="21207"/>
                    <a:pt x="14666" y="21207"/>
                    <a:pt x="14666" y="21207"/>
                  </a:cubicBezTo>
                  <a:cubicBezTo>
                    <a:pt x="14786" y="21207"/>
                    <a:pt x="14786" y="21207"/>
                    <a:pt x="14786" y="21207"/>
                  </a:cubicBezTo>
                  <a:cubicBezTo>
                    <a:pt x="14786" y="10211"/>
                    <a:pt x="14786" y="10211"/>
                    <a:pt x="14786" y="10211"/>
                  </a:cubicBezTo>
                  <a:cubicBezTo>
                    <a:pt x="14786" y="7069"/>
                    <a:pt x="14666" y="5891"/>
                    <a:pt x="14567" y="5891"/>
                  </a:cubicBezTo>
                  <a:moveTo>
                    <a:pt x="13887" y="17280"/>
                  </a:moveTo>
                  <a:cubicBezTo>
                    <a:pt x="13807" y="18851"/>
                    <a:pt x="13727" y="19636"/>
                    <a:pt x="13647" y="19636"/>
                  </a:cubicBezTo>
                  <a:cubicBezTo>
                    <a:pt x="13587" y="19636"/>
                    <a:pt x="13507" y="18851"/>
                    <a:pt x="13507" y="17673"/>
                  </a:cubicBezTo>
                  <a:cubicBezTo>
                    <a:pt x="13507" y="15316"/>
                    <a:pt x="13627" y="14138"/>
                    <a:pt x="13887" y="13353"/>
                  </a:cubicBezTo>
                  <a:lnTo>
                    <a:pt x="13887" y="17280"/>
                  </a:lnTo>
                  <a:close/>
                  <a:moveTo>
                    <a:pt x="13987" y="10604"/>
                  </a:moveTo>
                  <a:cubicBezTo>
                    <a:pt x="13987" y="7069"/>
                    <a:pt x="13847" y="5891"/>
                    <a:pt x="13727" y="5891"/>
                  </a:cubicBezTo>
                  <a:cubicBezTo>
                    <a:pt x="13567" y="5891"/>
                    <a:pt x="13488" y="7462"/>
                    <a:pt x="13428" y="9033"/>
                  </a:cubicBezTo>
                  <a:cubicBezTo>
                    <a:pt x="13527" y="10211"/>
                    <a:pt x="13527" y="10211"/>
                    <a:pt x="13527" y="10211"/>
                  </a:cubicBezTo>
                  <a:cubicBezTo>
                    <a:pt x="13547" y="9033"/>
                    <a:pt x="13607" y="7855"/>
                    <a:pt x="13727" y="7855"/>
                  </a:cubicBezTo>
                  <a:cubicBezTo>
                    <a:pt x="13807" y="7855"/>
                    <a:pt x="13887" y="8640"/>
                    <a:pt x="13887" y="10604"/>
                  </a:cubicBezTo>
                  <a:cubicBezTo>
                    <a:pt x="13887" y="11389"/>
                    <a:pt x="13887" y="11389"/>
                    <a:pt x="13887" y="11389"/>
                  </a:cubicBezTo>
                  <a:cubicBezTo>
                    <a:pt x="13547" y="12567"/>
                    <a:pt x="13408" y="14138"/>
                    <a:pt x="13408" y="17280"/>
                  </a:cubicBezTo>
                  <a:cubicBezTo>
                    <a:pt x="13408" y="20029"/>
                    <a:pt x="13507" y="21600"/>
                    <a:pt x="13627" y="21600"/>
                  </a:cubicBezTo>
                  <a:cubicBezTo>
                    <a:pt x="13747" y="21600"/>
                    <a:pt x="13827" y="20422"/>
                    <a:pt x="13887" y="19244"/>
                  </a:cubicBezTo>
                  <a:cubicBezTo>
                    <a:pt x="13887" y="21207"/>
                    <a:pt x="13887" y="21207"/>
                    <a:pt x="13887" y="21207"/>
                  </a:cubicBezTo>
                  <a:cubicBezTo>
                    <a:pt x="14007" y="21207"/>
                    <a:pt x="14007" y="21207"/>
                    <a:pt x="14007" y="21207"/>
                  </a:cubicBezTo>
                  <a:cubicBezTo>
                    <a:pt x="13987" y="20422"/>
                    <a:pt x="13987" y="19636"/>
                    <a:pt x="13987" y="18065"/>
                  </a:cubicBezTo>
                  <a:lnTo>
                    <a:pt x="13987" y="10604"/>
                  </a:lnTo>
                  <a:close/>
                  <a:moveTo>
                    <a:pt x="12988" y="7855"/>
                  </a:moveTo>
                  <a:cubicBezTo>
                    <a:pt x="13088" y="7855"/>
                    <a:pt x="13168" y="9425"/>
                    <a:pt x="13168" y="12567"/>
                  </a:cubicBezTo>
                  <a:cubicBezTo>
                    <a:pt x="12768" y="12567"/>
                    <a:pt x="12768" y="12567"/>
                    <a:pt x="12768" y="12567"/>
                  </a:cubicBezTo>
                  <a:cubicBezTo>
                    <a:pt x="12788" y="9425"/>
                    <a:pt x="12848" y="7855"/>
                    <a:pt x="12988" y="7855"/>
                  </a:cubicBezTo>
                  <a:moveTo>
                    <a:pt x="12988" y="19636"/>
                  </a:moveTo>
                  <a:cubicBezTo>
                    <a:pt x="12868" y="19636"/>
                    <a:pt x="12768" y="17673"/>
                    <a:pt x="12768" y="14138"/>
                  </a:cubicBezTo>
                  <a:cubicBezTo>
                    <a:pt x="13268" y="14138"/>
                    <a:pt x="13268" y="14138"/>
                    <a:pt x="13268" y="14138"/>
                  </a:cubicBezTo>
                  <a:cubicBezTo>
                    <a:pt x="13268" y="12960"/>
                    <a:pt x="13268" y="12960"/>
                    <a:pt x="13268" y="12960"/>
                  </a:cubicBezTo>
                  <a:cubicBezTo>
                    <a:pt x="13268" y="7855"/>
                    <a:pt x="13128" y="5891"/>
                    <a:pt x="12968" y="5891"/>
                  </a:cubicBezTo>
                  <a:cubicBezTo>
                    <a:pt x="12788" y="5891"/>
                    <a:pt x="12668" y="9033"/>
                    <a:pt x="12668" y="13745"/>
                  </a:cubicBezTo>
                  <a:cubicBezTo>
                    <a:pt x="12668" y="19244"/>
                    <a:pt x="12828" y="21600"/>
                    <a:pt x="12988" y="21600"/>
                  </a:cubicBezTo>
                  <a:cubicBezTo>
                    <a:pt x="13168" y="21600"/>
                    <a:pt x="13248" y="19636"/>
                    <a:pt x="13288" y="18065"/>
                  </a:cubicBezTo>
                  <a:cubicBezTo>
                    <a:pt x="13208" y="17280"/>
                    <a:pt x="13208" y="17280"/>
                    <a:pt x="13208" y="17280"/>
                  </a:cubicBezTo>
                  <a:cubicBezTo>
                    <a:pt x="13168" y="18851"/>
                    <a:pt x="13088" y="19636"/>
                    <a:pt x="12988" y="19636"/>
                  </a:cubicBezTo>
                  <a:moveTo>
                    <a:pt x="12269" y="5891"/>
                  </a:moveTo>
                  <a:cubicBezTo>
                    <a:pt x="12169" y="5891"/>
                    <a:pt x="12089" y="7069"/>
                    <a:pt x="12029" y="8247"/>
                  </a:cubicBezTo>
                  <a:cubicBezTo>
                    <a:pt x="11989" y="7069"/>
                    <a:pt x="11929" y="5891"/>
                    <a:pt x="11829" y="5891"/>
                  </a:cubicBezTo>
                  <a:cubicBezTo>
                    <a:pt x="11749" y="5891"/>
                    <a:pt x="11669" y="6676"/>
                    <a:pt x="11609" y="8247"/>
                  </a:cubicBezTo>
                  <a:cubicBezTo>
                    <a:pt x="11589" y="8247"/>
                    <a:pt x="11589" y="8247"/>
                    <a:pt x="11589" y="8247"/>
                  </a:cubicBezTo>
                  <a:cubicBezTo>
                    <a:pt x="11589" y="6284"/>
                    <a:pt x="11589" y="6284"/>
                    <a:pt x="11589" y="6284"/>
                  </a:cubicBezTo>
                  <a:cubicBezTo>
                    <a:pt x="11489" y="6284"/>
                    <a:pt x="11489" y="6284"/>
                    <a:pt x="11489" y="6284"/>
                  </a:cubicBezTo>
                  <a:cubicBezTo>
                    <a:pt x="11489" y="21207"/>
                    <a:pt x="11489" y="21207"/>
                    <a:pt x="11489" y="21207"/>
                  </a:cubicBezTo>
                  <a:cubicBezTo>
                    <a:pt x="11589" y="21207"/>
                    <a:pt x="11589" y="21207"/>
                    <a:pt x="11589" y="21207"/>
                  </a:cubicBezTo>
                  <a:cubicBezTo>
                    <a:pt x="11589" y="10211"/>
                    <a:pt x="11589" y="10211"/>
                    <a:pt x="11589" y="10211"/>
                  </a:cubicBezTo>
                  <a:cubicBezTo>
                    <a:pt x="11649" y="9033"/>
                    <a:pt x="11709" y="7855"/>
                    <a:pt x="11809" y="7855"/>
                  </a:cubicBezTo>
                  <a:cubicBezTo>
                    <a:pt x="11889" y="7855"/>
                    <a:pt x="11929" y="8640"/>
                    <a:pt x="11929" y="10604"/>
                  </a:cubicBezTo>
                  <a:cubicBezTo>
                    <a:pt x="11929" y="21207"/>
                    <a:pt x="11929" y="21207"/>
                    <a:pt x="11929" y="21207"/>
                  </a:cubicBezTo>
                  <a:cubicBezTo>
                    <a:pt x="12029" y="21207"/>
                    <a:pt x="12029" y="21207"/>
                    <a:pt x="12029" y="21207"/>
                  </a:cubicBezTo>
                  <a:cubicBezTo>
                    <a:pt x="12029" y="10211"/>
                    <a:pt x="12029" y="10211"/>
                    <a:pt x="12029" y="10211"/>
                  </a:cubicBezTo>
                  <a:cubicBezTo>
                    <a:pt x="12089" y="9033"/>
                    <a:pt x="12149" y="7855"/>
                    <a:pt x="12249" y="7855"/>
                  </a:cubicBezTo>
                  <a:cubicBezTo>
                    <a:pt x="12329" y="7855"/>
                    <a:pt x="12369" y="8640"/>
                    <a:pt x="12369" y="10604"/>
                  </a:cubicBezTo>
                  <a:cubicBezTo>
                    <a:pt x="12369" y="21207"/>
                    <a:pt x="12369" y="21207"/>
                    <a:pt x="12369" y="21207"/>
                  </a:cubicBezTo>
                  <a:cubicBezTo>
                    <a:pt x="12468" y="21207"/>
                    <a:pt x="12468" y="21207"/>
                    <a:pt x="12468" y="21207"/>
                  </a:cubicBezTo>
                  <a:cubicBezTo>
                    <a:pt x="12468" y="10604"/>
                    <a:pt x="12468" y="10604"/>
                    <a:pt x="12468" y="10604"/>
                  </a:cubicBezTo>
                  <a:cubicBezTo>
                    <a:pt x="12468" y="6676"/>
                    <a:pt x="12369" y="5891"/>
                    <a:pt x="12269" y="5891"/>
                  </a:cubicBezTo>
                  <a:moveTo>
                    <a:pt x="10550" y="5891"/>
                  </a:moveTo>
                  <a:cubicBezTo>
                    <a:pt x="10470" y="5891"/>
                    <a:pt x="10390" y="7069"/>
                    <a:pt x="10330" y="8247"/>
                  </a:cubicBezTo>
                  <a:cubicBezTo>
                    <a:pt x="10330" y="8247"/>
                    <a:pt x="10330" y="8247"/>
                    <a:pt x="10330" y="8247"/>
                  </a:cubicBezTo>
                  <a:cubicBezTo>
                    <a:pt x="10330" y="6284"/>
                    <a:pt x="10330" y="6284"/>
                    <a:pt x="10330" y="6284"/>
                  </a:cubicBezTo>
                  <a:cubicBezTo>
                    <a:pt x="10231" y="6284"/>
                    <a:pt x="10231" y="6284"/>
                    <a:pt x="10231" y="6284"/>
                  </a:cubicBezTo>
                  <a:cubicBezTo>
                    <a:pt x="10231" y="21207"/>
                    <a:pt x="10231" y="21207"/>
                    <a:pt x="10231" y="21207"/>
                  </a:cubicBezTo>
                  <a:cubicBezTo>
                    <a:pt x="10330" y="21207"/>
                    <a:pt x="10330" y="21207"/>
                    <a:pt x="10330" y="21207"/>
                  </a:cubicBezTo>
                  <a:cubicBezTo>
                    <a:pt x="10330" y="10211"/>
                    <a:pt x="10330" y="10211"/>
                    <a:pt x="10330" y="10211"/>
                  </a:cubicBezTo>
                  <a:cubicBezTo>
                    <a:pt x="10370" y="9033"/>
                    <a:pt x="10470" y="7855"/>
                    <a:pt x="10550" y="7855"/>
                  </a:cubicBezTo>
                  <a:cubicBezTo>
                    <a:pt x="10630" y="7855"/>
                    <a:pt x="10670" y="8247"/>
                    <a:pt x="10670" y="10211"/>
                  </a:cubicBezTo>
                  <a:cubicBezTo>
                    <a:pt x="10670" y="21207"/>
                    <a:pt x="10670" y="21207"/>
                    <a:pt x="10670" y="21207"/>
                  </a:cubicBezTo>
                  <a:cubicBezTo>
                    <a:pt x="10770" y="21207"/>
                    <a:pt x="10770" y="21207"/>
                    <a:pt x="10770" y="21207"/>
                  </a:cubicBezTo>
                  <a:cubicBezTo>
                    <a:pt x="10770" y="10211"/>
                    <a:pt x="10770" y="10211"/>
                    <a:pt x="10770" y="10211"/>
                  </a:cubicBezTo>
                  <a:cubicBezTo>
                    <a:pt x="10770" y="7069"/>
                    <a:pt x="10670" y="5891"/>
                    <a:pt x="10550" y="5891"/>
                  </a:cubicBezTo>
                  <a:moveTo>
                    <a:pt x="9711" y="19636"/>
                  </a:moveTo>
                  <a:cubicBezTo>
                    <a:pt x="9591" y="19636"/>
                    <a:pt x="9511" y="17673"/>
                    <a:pt x="9511" y="13745"/>
                  </a:cubicBezTo>
                  <a:cubicBezTo>
                    <a:pt x="9511" y="9818"/>
                    <a:pt x="9591" y="7855"/>
                    <a:pt x="9711" y="7855"/>
                  </a:cubicBezTo>
                  <a:cubicBezTo>
                    <a:pt x="9851" y="7855"/>
                    <a:pt x="9931" y="9818"/>
                    <a:pt x="9931" y="13745"/>
                  </a:cubicBezTo>
                  <a:cubicBezTo>
                    <a:pt x="9931" y="17673"/>
                    <a:pt x="9851" y="19636"/>
                    <a:pt x="9711" y="19636"/>
                  </a:cubicBezTo>
                  <a:moveTo>
                    <a:pt x="9711" y="5891"/>
                  </a:moveTo>
                  <a:cubicBezTo>
                    <a:pt x="9511" y="5891"/>
                    <a:pt x="9411" y="9425"/>
                    <a:pt x="9411" y="13745"/>
                  </a:cubicBezTo>
                  <a:cubicBezTo>
                    <a:pt x="9411" y="18065"/>
                    <a:pt x="9511" y="21600"/>
                    <a:pt x="9711" y="21600"/>
                  </a:cubicBezTo>
                  <a:cubicBezTo>
                    <a:pt x="9931" y="21600"/>
                    <a:pt x="10031" y="18065"/>
                    <a:pt x="10031" y="13745"/>
                  </a:cubicBezTo>
                  <a:cubicBezTo>
                    <a:pt x="10031" y="9425"/>
                    <a:pt x="9931" y="5891"/>
                    <a:pt x="9711" y="5891"/>
                  </a:cubicBezTo>
                  <a:moveTo>
                    <a:pt x="9092" y="21207"/>
                  </a:moveTo>
                  <a:cubicBezTo>
                    <a:pt x="9191" y="21207"/>
                    <a:pt x="9191" y="21207"/>
                    <a:pt x="9191" y="21207"/>
                  </a:cubicBezTo>
                  <a:cubicBezTo>
                    <a:pt x="9191" y="6284"/>
                    <a:pt x="9191" y="6284"/>
                    <a:pt x="9191" y="6284"/>
                  </a:cubicBezTo>
                  <a:cubicBezTo>
                    <a:pt x="9092" y="6284"/>
                    <a:pt x="9092" y="6284"/>
                    <a:pt x="9092" y="6284"/>
                  </a:cubicBezTo>
                  <a:lnTo>
                    <a:pt x="9092" y="21207"/>
                  </a:lnTo>
                  <a:close/>
                  <a:moveTo>
                    <a:pt x="9092" y="2749"/>
                  </a:moveTo>
                  <a:cubicBezTo>
                    <a:pt x="9191" y="2749"/>
                    <a:pt x="9191" y="2749"/>
                    <a:pt x="9191" y="2749"/>
                  </a:cubicBezTo>
                  <a:cubicBezTo>
                    <a:pt x="9191" y="0"/>
                    <a:pt x="9191" y="0"/>
                    <a:pt x="9191" y="0"/>
                  </a:cubicBezTo>
                  <a:cubicBezTo>
                    <a:pt x="9092" y="0"/>
                    <a:pt x="9092" y="0"/>
                    <a:pt x="9092" y="0"/>
                  </a:cubicBezTo>
                  <a:lnTo>
                    <a:pt x="9092" y="2749"/>
                  </a:lnTo>
                  <a:close/>
                  <a:moveTo>
                    <a:pt x="8692" y="18851"/>
                  </a:moveTo>
                  <a:cubicBezTo>
                    <a:pt x="8692" y="7855"/>
                    <a:pt x="8692" y="7855"/>
                    <a:pt x="8692" y="7855"/>
                  </a:cubicBezTo>
                  <a:cubicBezTo>
                    <a:pt x="8872" y="7855"/>
                    <a:pt x="8872" y="7855"/>
                    <a:pt x="8872" y="7855"/>
                  </a:cubicBezTo>
                  <a:cubicBezTo>
                    <a:pt x="8872" y="6284"/>
                    <a:pt x="8872" y="6284"/>
                    <a:pt x="8872" y="6284"/>
                  </a:cubicBezTo>
                  <a:cubicBezTo>
                    <a:pt x="8692" y="6284"/>
                    <a:pt x="8692" y="6284"/>
                    <a:pt x="8692" y="6284"/>
                  </a:cubicBezTo>
                  <a:cubicBezTo>
                    <a:pt x="8692" y="1178"/>
                    <a:pt x="8692" y="1178"/>
                    <a:pt x="8692" y="1178"/>
                  </a:cubicBezTo>
                  <a:cubicBezTo>
                    <a:pt x="8592" y="1178"/>
                    <a:pt x="8592" y="1178"/>
                    <a:pt x="8592" y="1178"/>
                  </a:cubicBezTo>
                  <a:cubicBezTo>
                    <a:pt x="8592" y="6284"/>
                    <a:pt x="8592" y="6284"/>
                    <a:pt x="8592" y="6284"/>
                  </a:cubicBezTo>
                  <a:cubicBezTo>
                    <a:pt x="8452" y="6284"/>
                    <a:pt x="8452" y="6284"/>
                    <a:pt x="8452" y="6284"/>
                  </a:cubicBezTo>
                  <a:cubicBezTo>
                    <a:pt x="8452" y="7855"/>
                    <a:pt x="8452" y="7855"/>
                    <a:pt x="8452" y="7855"/>
                  </a:cubicBezTo>
                  <a:cubicBezTo>
                    <a:pt x="8592" y="7855"/>
                    <a:pt x="8592" y="7855"/>
                    <a:pt x="8592" y="7855"/>
                  </a:cubicBezTo>
                  <a:cubicBezTo>
                    <a:pt x="8592" y="19244"/>
                    <a:pt x="8592" y="19244"/>
                    <a:pt x="8592" y="19244"/>
                  </a:cubicBezTo>
                  <a:cubicBezTo>
                    <a:pt x="8592" y="21207"/>
                    <a:pt x="8632" y="21600"/>
                    <a:pt x="8752" y="21600"/>
                  </a:cubicBezTo>
                  <a:cubicBezTo>
                    <a:pt x="8812" y="21600"/>
                    <a:pt x="8852" y="21600"/>
                    <a:pt x="8872" y="21207"/>
                  </a:cubicBezTo>
                  <a:cubicBezTo>
                    <a:pt x="8872" y="19636"/>
                    <a:pt x="8872" y="19636"/>
                    <a:pt x="8872" y="19636"/>
                  </a:cubicBezTo>
                  <a:cubicBezTo>
                    <a:pt x="8852" y="19636"/>
                    <a:pt x="8812" y="19636"/>
                    <a:pt x="8772" y="19636"/>
                  </a:cubicBezTo>
                  <a:cubicBezTo>
                    <a:pt x="8712" y="19636"/>
                    <a:pt x="8692" y="19636"/>
                    <a:pt x="8692" y="18851"/>
                  </a:cubicBezTo>
                  <a:moveTo>
                    <a:pt x="8232" y="17280"/>
                  </a:moveTo>
                  <a:cubicBezTo>
                    <a:pt x="8152" y="18851"/>
                    <a:pt x="8073" y="19636"/>
                    <a:pt x="7993" y="19636"/>
                  </a:cubicBezTo>
                  <a:cubicBezTo>
                    <a:pt x="7933" y="19636"/>
                    <a:pt x="7853" y="18851"/>
                    <a:pt x="7853" y="17673"/>
                  </a:cubicBezTo>
                  <a:cubicBezTo>
                    <a:pt x="7853" y="15316"/>
                    <a:pt x="7973" y="14138"/>
                    <a:pt x="8232" y="13353"/>
                  </a:cubicBezTo>
                  <a:lnTo>
                    <a:pt x="8232" y="17280"/>
                  </a:lnTo>
                  <a:close/>
                  <a:moveTo>
                    <a:pt x="8332" y="10604"/>
                  </a:moveTo>
                  <a:cubicBezTo>
                    <a:pt x="8332" y="7069"/>
                    <a:pt x="8192" y="5891"/>
                    <a:pt x="8073" y="5891"/>
                  </a:cubicBezTo>
                  <a:cubicBezTo>
                    <a:pt x="7913" y="5891"/>
                    <a:pt x="7833" y="7462"/>
                    <a:pt x="7773" y="9033"/>
                  </a:cubicBezTo>
                  <a:cubicBezTo>
                    <a:pt x="7873" y="10211"/>
                    <a:pt x="7873" y="10211"/>
                    <a:pt x="7873" y="10211"/>
                  </a:cubicBezTo>
                  <a:cubicBezTo>
                    <a:pt x="7893" y="9033"/>
                    <a:pt x="7953" y="7855"/>
                    <a:pt x="8073" y="7855"/>
                  </a:cubicBezTo>
                  <a:cubicBezTo>
                    <a:pt x="8152" y="7855"/>
                    <a:pt x="8232" y="8640"/>
                    <a:pt x="8232" y="10604"/>
                  </a:cubicBezTo>
                  <a:cubicBezTo>
                    <a:pt x="8232" y="11389"/>
                    <a:pt x="8232" y="11389"/>
                    <a:pt x="8232" y="11389"/>
                  </a:cubicBezTo>
                  <a:cubicBezTo>
                    <a:pt x="7893" y="12567"/>
                    <a:pt x="7753" y="14138"/>
                    <a:pt x="7753" y="17280"/>
                  </a:cubicBezTo>
                  <a:cubicBezTo>
                    <a:pt x="7753" y="20029"/>
                    <a:pt x="7853" y="21600"/>
                    <a:pt x="7973" y="21600"/>
                  </a:cubicBezTo>
                  <a:cubicBezTo>
                    <a:pt x="8093" y="21600"/>
                    <a:pt x="8172" y="20422"/>
                    <a:pt x="8232" y="19244"/>
                  </a:cubicBezTo>
                  <a:cubicBezTo>
                    <a:pt x="8232" y="21207"/>
                    <a:pt x="8232" y="21207"/>
                    <a:pt x="8232" y="21207"/>
                  </a:cubicBezTo>
                  <a:cubicBezTo>
                    <a:pt x="8352" y="21207"/>
                    <a:pt x="8352" y="21207"/>
                    <a:pt x="8352" y="21207"/>
                  </a:cubicBezTo>
                  <a:cubicBezTo>
                    <a:pt x="8332" y="20422"/>
                    <a:pt x="8332" y="19636"/>
                    <a:pt x="8332" y="18065"/>
                  </a:cubicBezTo>
                  <a:lnTo>
                    <a:pt x="8332" y="10604"/>
                  </a:lnTo>
                  <a:close/>
                  <a:moveTo>
                    <a:pt x="7353" y="18851"/>
                  </a:moveTo>
                  <a:cubicBezTo>
                    <a:pt x="7353" y="18851"/>
                    <a:pt x="7353" y="18851"/>
                    <a:pt x="7353" y="18851"/>
                  </a:cubicBezTo>
                  <a:cubicBezTo>
                    <a:pt x="7173" y="6284"/>
                    <a:pt x="7173" y="6284"/>
                    <a:pt x="7173" y="6284"/>
                  </a:cubicBezTo>
                  <a:cubicBezTo>
                    <a:pt x="7053" y="6284"/>
                    <a:pt x="7053" y="6284"/>
                    <a:pt x="7053" y="6284"/>
                  </a:cubicBezTo>
                  <a:cubicBezTo>
                    <a:pt x="7293" y="21207"/>
                    <a:pt x="7293" y="21207"/>
                    <a:pt x="7293" y="21207"/>
                  </a:cubicBezTo>
                  <a:cubicBezTo>
                    <a:pt x="7433" y="21207"/>
                    <a:pt x="7433" y="21207"/>
                    <a:pt x="7433" y="21207"/>
                  </a:cubicBezTo>
                  <a:cubicBezTo>
                    <a:pt x="7673" y="6284"/>
                    <a:pt x="7673" y="6284"/>
                    <a:pt x="7673" y="6284"/>
                  </a:cubicBezTo>
                  <a:cubicBezTo>
                    <a:pt x="7553" y="6284"/>
                    <a:pt x="7553" y="6284"/>
                    <a:pt x="7553" y="6284"/>
                  </a:cubicBezTo>
                  <a:lnTo>
                    <a:pt x="7353" y="18851"/>
                  </a:lnTo>
                  <a:close/>
                  <a:moveTo>
                    <a:pt x="6654" y="19636"/>
                  </a:moveTo>
                  <a:cubicBezTo>
                    <a:pt x="6534" y="19636"/>
                    <a:pt x="6454" y="17673"/>
                    <a:pt x="6454" y="13745"/>
                  </a:cubicBezTo>
                  <a:cubicBezTo>
                    <a:pt x="6454" y="9818"/>
                    <a:pt x="6534" y="7855"/>
                    <a:pt x="6654" y="7855"/>
                  </a:cubicBezTo>
                  <a:cubicBezTo>
                    <a:pt x="6794" y="7855"/>
                    <a:pt x="6874" y="9818"/>
                    <a:pt x="6874" y="13745"/>
                  </a:cubicBezTo>
                  <a:cubicBezTo>
                    <a:pt x="6874" y="17673"/>
                    <a:pt x="6794" y="19636"/>
                    <a:pt x="6654" y="19636"/>
                  </a:cubicBezTo>
                  <a:moveTo>
                    <a:pt x="6654" y="5891"/>
                  </a:moveTo>
                  <a:cubicBezTo>
                    <a:pt x="6454" y="5891"/>
                    <a:pt x="6354" y="9425"/>
                    <a:pt x="6354" y="13745"/>
                  </a:cubicBezTo>
                  <a:cubicBezTo>
                    <a:pt x="6354" y="18065"/>
                    <a:pt x="6454" y="21600"/>
                    <a:pt x="6654" y="21600"/>
                  </a:cubicBezTo>
                  <a:cubicBezTo>
                    <a:pt x="6874" y="21600"/>
                    <a:pt x="6974" y="18065"/>
                    <a:pt x="6974" y="13745"/>
                  </a:cubicBezTo>
                  <a:cubicBezTo>
                    <a:pt x="6974" y="9425"/>
                    <a:pt x="6874" y="5891"/>
                    <a:pt x="6654" y="5891"/>
                  </a:cubicBezTo>
                  <a:moveTo>
                    <a:pt x="5935" y="5891"/>
                  </a:moveTo>
                  <a:cubicBezTo>
                    <a:pt x="5855" y="5891"/>
                    <a:pt x="5775" y="7069"/>
                    <a:pt x="5715" y="8247"/>
                  </a:cubicBezTo>
                  <a:cubicBezTo>
                    <a:pt x="5695" y="8247"/>
                    <a:pt x="5695" y="8247"/>
                    <a:pt x="5695" y="8247"/>
                  </a:cubicBezTo>
                  <a:cubicBezTo>
                    <a:pt x="5695" y="6284"/>
                    <a:pt x="5695" y="6284"/>
                    <a:pt x="5695" y="6284"/>
                  </a:cubicBezTo>
                  <a:cubicBezTo>
                    <a:pt x="5595" y="6284"/>
                    <a:pt x="5595" y="6284"/>
                    <a:pt x="5595" y="6284"/>
                  </a:cubicBezTo>
                  <a:cubicBezTo>
                    <a:pt x="5595" y="21207"/>
                    <a:pt x="5595" y="21207"/>
                    <a:pt x="5595" y="21207"/>
                  </a:cubicBezTo>
                  <a:cubicBezTo>
                    <a:pt x="5695" y="21207"/>
                    <a:pt x="5695" y="21207"/>
                    <a:pt x="5695" y="21207"/>
                  </a:cubicBezTo>
                  <a:cubicBezTo>
                    <a:pt x="5695" y="10211"/>
                    <a:pt x="5695" y="10211"/>
                    <a:pt x="5695" y="10211"/>
                  </a:cubicBezTo>
                  <a:cubicBezTo>
                    <a:pt x="5755" y="9033"/>
                    <a:pt x="5835" y="7855"/>
                    <a:pt x="5915" y="7855"/>
                  </a:cubicBezTo>
                  <a:cubicBezTo>
                    <a:pt x="5994" y="7855"/>
                    <a:pt x="6054" y="8247"/>
                    <a:pt x="6054" y="10211"/>
                  </a:cubicBezTo>
                  <a:cubicBezTo>
                    <a:pt x="6054" y="21207"/>
                    <a:pt x="6054" y="21207"/>
                    <a:pt x="6054" y="21207"/>
                  </a:cubicBezTo>
                  <a:cubicBezTo>
                    <a:pt x="6154" y="21207"/>
                    <a:pt x="6154" y="21207"/>
                    <a:pt x="6154" y="21207"/>
                  </a:cubicBezTo>
                  <a:cubicBezTo>
                    <a:pt x="6154" y="10211"/>
                    <a:pt x="6154" y="10211"/>
                    <a:pt x="6154" y="10211"/>
                  </a:cubicBezTo>
                  <a:cubicBezTo>
                    <a:pt x="6154" y="7069"/>
                    <a:pt x="6054" y="5891"/>
                    <a:pt x="5935" y="5891"/>
                  </a:cubicBezTo>
                  <a:moveTo>
                    <a:pt x="5115" y="5891"/>
                  </a:moveTo>
                  <a:cubicBezTo>
                    <a:pt x="5015" y="5891"/>
                    <a:pt x="4935" y="7069"/>
                    <a:pt x="4875" y="8247"/>
                  </a:cubicBezTo>
                  <a:cubicBezTo>
                    <a:pt x="4875" y="8247"/>
                    <a:pt x="4875" y="8247"/>
                    <a:pt x="4875" y="8247"/>
                  </a:cubicBezTo>
                  <a:cubicBezTo>
                    <a:pt x="4875" y="6284"/>
                    <a:pt x="4875" y="6284"/>
                    <a:pt x="4875" y="6284"/>
                  </a:cubicBezTo>
                  <a:cubicBezTo>
                    <a:pt x="4776" y="6284"/>
                    <a:pt x="4776" y="6284"/>
                    <a:pt x="4776" y="6284"/>
                  </a:cubicBezTo>
                  <a:cubicBezTo>
                    <a:pt x="4776" y="21207"/>
                    <a:pt x="4776" y="21207"/>
                    <a:pt x="4776" y="21207"/>
                  </a:cubicBezTo>
                  <a:cubicBezTo>
                    <a:pt x="4875" y="21207"/>
                    <a:pt x="4875" y="21207"/>
                    <a:pt x="4875" y="21207"/>
                  </a:cubicBezTo>
                  <a:cubicBezTo>
                    <a:pt x="4875" y="10211"/>
                    <a:pt x="4875" y="10211"/>
                    <a:pt x="4875" y="10211"/>
                  </a:cubicBezTo>
                  <a:cubicBezTo>
                    <a:pt x="4915" y="9033"/>
                    <a:pt x="5015" y="7855"/>
                    <a:pt x="5095" y="7855"/>
                  </a:cubicBezTo>
                  <a:cubicBezTo>
                    <a:pt x="5175" y="7855"/>
                    <a:pt x="5215" y="8247"/>
                    <a:pt x="5215" y="10211"/>
                  </a:cubicBezTo>
                  <a:cubicBezTo>
                    <a:pt x="5215" y="21207"/>
                    <a:pt x="5215" y="21207"/>
                    <a:pt x="5215" y="21207"/>
                  </a:cubicBezTo>
                  <a:cubicBezTo>
                    <a:pt x="5335" y="21207"/>
                    <a:pt x="5335" y="21207"/>
                    <a:pt x="5335" y="21207"/>
                  </a:cubicBezTo>
                  <a:cubicBezTo>
                    <a:pt x="5335" y="10211"/>
                    <a:pt x="5335" y="10211"/>
                    <a:pt x="5335" y="10211"/>
                  </a:cubicBezTo>
                  <a:cubicBezTo>
                    <a:pt x="5335" y="7069"/>
                    <a:pt x="5215" y="5891"/>
                    <a:pt x="5115" y="5891"/>
                  </a:cubicBezTo>
                  <a:moveTo>
                    <a:pt x="4376" y="2749"/>
                  </a:moveTo>
                  <a:cubicBezTo>
                    <a:pt x="4476" y="2749"/>
                    <a:pt x="4476" y="2749"/>
                    <a:pt x="4476" y="2749"/>
                  </a:cubicBezTo>
                  <a:cubicBezTo>
                    <a:pt x="4476" y="0"/>
                    <a:pt x="4476" y="0"/>
                    <a:pt x="4476" y="0"/>
                  </a:cubicBezTo>
                  <a:cubicBezTo>
                    <a:pt x="4376" y="0"/>
                    <a:pt x="4376" y="0"/>
                    <a:pt x="4376" y="0"/>
                  </a:cubicBezTo>
                  <a:lnTo>
                    <a:pt x="4376" y="2749"/>
                  </a:lnTo>
                  <a:close/>
                  <a:moveTo>
                    <a:pt x="4376" y="21207"/>
                  </a:moveTo>
                  <a:cubicBezTo>
                    <a:pt x="4476" y="21207"/>
                    <a:pt x="4476" y="21207"/>
                    <a:pt x="4476" y="21207"/>
                  </a:cubicBezTo>
                  <a:cubicBezTo>
                    <a:pt x="4476" y="6284"/>
                    <a:pt x="4476" y="6284"/>
                    <a:pt x="4476" y="6284"/>
                  </a:cubicBezTo>
                  <a:cubicBezTo>
                    <a:pt x="4376" y="6284"/>
                    <a:pt x="4376" y="6284"/>
                    <a:pt x="4376" y="6284"/>
                  </a:cubicBezTo>
                  <a:lnTo>
                    <a:pt x="4376" y="21207"/>
                  </a:lnTo>
                  <a:close/>
                  <a:moveTo>
                    <a:pt x="3397" y="7855"/>
                  </a:moveTo>
                  <a:cubicBezTo>
                    <a:pt x="3517" y="7855"/>
                    <a:pt x="3577" y="9425"/>
                    <a:pt x="3577" y="12567"/>
                  </a:cubicBezTo>
                  <a:cubicBezTo>
                    <a:pt x="3197" y="12567"/>
                    <a:pt x="3197" y="12567"/>
                    <a:pt x="3197" y="12567"/>
                  </a:cubicBezTo>
                  <a:cubicBezTo>
                    <a:pt x="3197" y="9425"/>
                    <a:pt x="3277" y="7855"/>
                    <a:pt x="3397" y="7855"/>
                  </a:cubicBezTo>
                  <a:moveTo>
                    <a:pt x="3417" y="19636"/>
                  </a:moveTo>
                  <a:cubicBezTo>
                    <a:pt x="3297" y="19636"/>
                    <a:pt x="3197" y="17673"/>
                    <a:pt x="3197" y="14138"/>
                  </a:cubicBezTo>
                  <a:cubicBezTo>
                    <a:pt x="3697" y="14138"/>
                    <a:pt x="3697" y="14138"/>
                    <a:pt x="3697" y="14138"/>
                  </a:cubicBezTo>
                  <a:cubicBezTo>
                    <a:pt x="3697" y="12960"/>
                    <a:pt x="3697" y="12960"/>
                    <a:pt x="3697" y="12960"/>
                  </a:cubicBezTo>
                  <a:cubicBezTo>
                    <a:pt x="3697" y="7855"/>
                    <a:pt x="3557" y="5891"/>
                    <a:pt x="3397" y="5891"/>
                  </a:cubicBezTo>
                  <a:cubicBezTo>
                    <a:pt x="3217" y="5891"/>
                    <a:pt x="3077" y="9033"/>
                    <a:pt x="3077" y="13745"/>
                  </a:cubicBezTo>
                  <a:cubicBezTo>
                    <a:pt x="3077" y="19244"/>
                    <a:pt x="3257" y="21600"/>
                    <a:pt x="3417" y="21600"/>
                  </a:cubicBezTo>
                  <a:cubicBezTo>
                    <a:pt x="3597" y="21600"/>
                    <a:pt x="3657" y="19636"/>
                    <a:pt x="3717" y="18065"/>
                  </a:cubicBezTo>
                  <a:cubicBezTo>
                    <a:pt x="3637" y="17280"/>
                    <a:pt x="3637" y="17280"/>
                    <a:pt x="3637" y="17280"/>
                  </a:cubicBezTo>
                  <a:cubicBezTo>
                    <a:pt x="3597" y="18851"/>
                    <a:pt x="3517" y="19636"/>
                    <a:pt x="3417" y="19636"/>
                  </a:cubicBezTo>
                  <a:moveTo>
                    <a:pt x="2737" y="9033"/>
                  </a:moveTo>
                  <a:cubicBezTo>
                    <a:pt x="2737" y="9033"/>
                    <a:pt x="2737" y="9033"/>
                    <a:pt x="2737" y="9033"/>
                  </a:cubicBezTo>
                  <a:cubicBezTo>
                    <a:pt x="2737" y="6284"/>
                    <a:pt x="2737" y="6284"/>
                    <a:pt x="2737" y="6284"/>
                  </a:cubicBezTo>
                  <a:cubicBezTo>
                    <a:pt x="2638" y="6284"/>
                    <a:pt x="2638" y="6284"/>
                    <a:pt x="2638" y="6284"/>
                  </a:cubicBezTo>
                  <a:cubicBezTo>
                    <a:pt x="2638" y="21207"/>
                    <a:pt x="2638" y="21207"/>
                    <a:pt x="2638" y="21207"/>
                  </a:cubicBezTo>
                  <a:cubicBezTo>
                    <a:pt x="2737" y="21207"/>
                    <a:pt x="2737" y="21207"/>
                    <a:pt x="2737" y="21207"/>
                  </a:cubicBezTo>
                  <a:cubicBezTo>
                    <a:pt x="2737" y="12960"/>
                    <a:pt x="2737" y="12960"/>
                    <a:pt x="2737" y="12960"/>
                  </a:cubicBezTo>
                  <a:cubicBezTo>
                    <a:pt x="2797" y="9818"/>
                    <a:pt x="2857" y="8247"/>
                    <a:pt x="2997" y="8247"/>
                  </a:cubicBezTo>
                  <a:cubicBezTo>
                    <a:pt x="2997" y="5891"/>
                    <a:pt x="2997" y="5891"/>
                    <a:pt x="2997" y="5891"/>
                  </a:cubicBezTo>
                  <a:cubicBezTo>
                    <a:pt x="2857" y="5891"/>
                    <a:pt x="2797" y="7069"/>
                    <a:pt x="2737" y="9033"/>
                  </a:cubicBezTo>
                  <a:moveTo>
                    <a:pt x="2158" y="7855"/>
                  </a:moveTo>
                  <a:cubicBezTo>
                    <a:pt x="2278" y="7855"/>
                    <a:pt x="2338" y="9425"/>
                    <a:pt x="2338" y="12567"/>
                  </a:cubicBezTo>
                  <a:cubicBezTo>
                    <a:pt x="1958" y="12567"/>
                    <a:pt x="1958" y="12567"/>
                    <a:pt x="1958" y="12567"/>
                  </a:cubicBezTo>
                  <a:cubicBezTo>
                    <a:pt x="1958" y="9425"/>
                    <a:pt x="2038" y="7855"/>
                    <a:pt x="2158" y="7855"/>
                  </a:cubicBezTo>
                  <a:moveTo>
                    <a:pt x="2178" y="19636"/>
                  </a:moveTo>
                  <a:cubicBezTo>
                    <a:pt x="2058" y="19636"/>
                    <a:pt x="1958" y="17673"/>
                    <a:pt x="1958" y="14138"/>
                  </a:cubicBezTo>
                  <a:cubicBezTo>
                    <a:pt x="2458" y="14138"/>
                    <a:pt x="2458" y="14138"/>
                    <a:pt x="2458" y="14138"/>
                  </a:cubicBezTo>
                  <a:cubicBezTo>
                    <a:pt x="2458" y="12960"/>
                    <a:pt x="2458" y="12960"/>
                    <a:pt x="2458" y="12960"/>
                  </a:cubicBezTo>
                  <a:cubicBezTo>
                    <a:pt x="2458" y="7855"/>
                    <a:pt x="2318" y="5891"/>
                    <a:pt x="2158" y="5891"/>
                  </a:cubicBezTo>
                  <a:cubicBezTo>
                    <a:pt x="1978" y="5891"/>
                    <a:pt x="1838" y="9033"/>
                    <a:pt x="1838" y="13745"/>
                  </a:cubicBezTo>
                  <a:cubicBezTo>
                    <a:pt x="1838" y="19244"/>
                    <a:pt x="2018" y="21600"/>
                    <a:pt x="2178" y="21600"/>
                  </a:cubicBezTo>
                  <a:cubicBezTo>
                    <a:pt x="2358" y="21600"/>
                    <a:pt x="2418" y="19636"/>
                    <a:pt x="2478" y="18065"/>
                  </a:cubicBezTo>
                  <a:cubicBezTo>
                    <a:pt x="2398" y="17280"/>
                    <a:pt x="2398" y="17280"/>
                    <a:pt x="2398" y="17280"/>
                  </a:cubicBezTo>
                  <a:cubicBezTo>
                    <a:pt x="2358" y="18851"/>
                    <a:pt x="2278" y="19636"/>
                    <a:pt x="2178" y="19636"/>
                  </a:cubicBezTo>
                  <a:moveTo>
                    <a:pt x="1439" y="5891"/>
                  </a:moveTo>
                  <a:cubicBezTo>
                    <a:pt x="1339" y="5891"/>
                    <a:pt x="1259" y="7069"/>
                    <a:pt x="1199" y="8247"/>
                  </a:cubicBezTo>
                  <a:cubicBezTo>
                    <a:pt x="1199" y="8247"/>
                    <a:pt x="1199" y="8247"/>
                    <a:pt x="1199" y="8247"/>
                  </a:cubicBezTo>
                  <a:cubicBezTo>
                    <a:pt x="1199" y="393"/>
                    <a:pt x="1199" y="393"/>
                    <a:pt x="1199" y="393"/>
                  </a:cubicBezTo>
                  <a:cubicBezTo>
                    <a:pt x="1099" y="393"/>
                    <a:pt x="1099" y="393"/>
                    <a:pt x="1099" y="393"/>
                  </a:cubicBezTo>
                  <a:cubicBezTo>
                    <a:pt x="1099" y="21207"/>
                    <a:pt x="1099" y="21207"/>
                    <a:pt x="1099" y="21207"/>
                  </a:cubicBezTo>
                  <a:cubicBezTo>
                    <a:pt x="1199" y="21207"/>
                    <a:pt x="1199" y="21207"/>
                    <a:pt x="1199" y="21207"/>
                  </a:cubicBezTo>
                  <a:cubicBezTo>
                    <a:pt x="1199" y="10211"/>
                    <a:pt x="1199" y="10211"/>
                    <a:pt x="1199" y="10211"/>
                  </a:cubicBezTo>
                  <a:cubicBezTo>
                    <a:pt x="1239" y="9033"/>
                    <a:pt x="1339" y="7855"/>
                    <a:pt x="1419" y="7855"/>
                  </a:cubicBezTo>
                  <a:cubicBezTo>
                    <a:pt x="1499" y="7855"/>
                    <a:pt x="1539" y="8247"/>
                    <a:pt x="1539" y="10211"/>
                  </a:cubicBezTo>
                  <a:cubicBezTo>
                    <a:pt x="1539" y="21207"/>
                    <a:pt x="1539" y="21207"/>
                    <a:pt x="1539" y="21207"/>
                  </a:cubicBezTo>
                  <a:cubicBezTo>
                    <a:pt x="1658" y="21207"/>
                    <a:pt x="1658" y="21207"/>
                    <a:pt x="1658" y="21207"/>
                  </a:cubicBezTo>
                  <a:cubicBezTo>
                    <a:pt x="1658" y="10211"/>
                    <a:pt x="1658" y="10211"/>
                    <a:pt x="1658" y="10211"/>
                  </a:cubicBezTo>
                  <a:cubicBezTo>
                    <a:pt x="1658" y="7069"/>
                    <a:pt x="1539" y="5891"/>
                    <a:pt x="1439" y="5891"/>
                  </a:cubicBezTo>
                  <a:moveTo>
                    <a:pt x="679" y="18065"/>
                  </a:moveTo>
                  <a:cubicBezTo>
                    <a:pt x="679" y="18065"/>
                    <a:pt x="679" y="18065"/>
                    <a:pt x="679" y="18065"/>
                  </a:cubicBezTo>
                  <a:cubicBezTo>
                    <a:pt x="520" y="6284"/>
                    <a:pt x="520" y="6284"/>
                    <a:pt x="520" y="6284"/>
                  </a:cubicBezTo>
                  <a:cubicBezTo>
                    <a:pt x="420" y="6284"/>
                    <a:pt x="420" y="6284"/>
                    <a:pt x="420" y="6284"/>
                  </a:cubicBezTo>
                  <a:cubicBezTo>
                    <a:pt x="260" y="17673"/>
                    <a:pt x="260" y="17673"/>
                    <a:pt x="260" y="17673"/>
                  </a:cubicBezTo>
                  <a:cubicBezTo>
                    <a:pt x="260" y="17673"/>
                    <a:pt x="260" y="17673"/>
                    <a:pt x="260" y="17673"/>
                  </a:cubicBezTo>
                  <a:cubicBezTo>
                    <a:pt x="100" y="6284"/>
                    <a:pt x="100" y="6284"/>
                    <a:pt x="100" y="6284"/>
                  </a:cubicBezTo>
                  <a:cubicBezTo>
                    <a:pt x="0" y="6284"/>
                    <a:pt x="0" y="6284"/>
                    <a:pt x="0" y="6284"/>
                  </a:cubicBezTo>
                  <a:cubicBezTo>
                    <a:pt x="200" y="21207"/>
                    <a:pt x="200" y="21207"/>
                    <a:pt x="200" y="21207"/>
                  </a:cubicBezTo>
                  <a:cubicBezTo>
                    <a:pt x="320" y="21207"/>
                    <a:pt x="320" y="21207"/>
                    <a:pt x="320" y="21207"/>
                  </a:cubicBezTo>
                  <a:cubicBezTo>
                    <a:pt x="460" y="9818"/>
                    <a:pt x="460" y="9818"/>
                    <a:pt x="460" y="9818"/>
                  </a:cubicBezTo>
                  <a:cubicBezTo>
                    <a:pt x="460" y="9818"/>
                    <a:pt x="460" y="9818"/>
                    <a:pt x="460" y="9818"/>
                  </a:cubicBezTo>
                  <a:cubicBezTo>
                    <a:pt x="619" y="21207"/>
                    <a:pt x="619" y="21207"/>
                    <a:pt x="619" y="21207"/>
                  </a:cubicBezTo>
                  <a:cubicBezTo>
                    <a:pt x="719" y="21207"/>
                    <a:pt x="719" y="21207"/>
                    <a:pt x="719" y="21207"/>
                  </a:cubicBezTo>
                  <a:cubicBezTo>
                    <a:pt x="939" y="6284"/>
                    <a:pt x="939" y="6284"/>
                    <a:pt x="939" y="6284"/>
                  </a:cubicBezTo>
                  <a:cubicBezTo>
                    <a:pt x="819" y="6284"/>
                    <a:pt x="819" y="6284"/>
                    <a:pt x="819" y="6284"/>
                  </a:cubicBezTo>
                  <a:lnTo>
                    <a:pt x="679" y="18065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  <p:sp>
          <p:nvSpPr>
            <p:cNvPr id="376" name="Freeform 7"/>
            <p:cNvSpPr/>
            <p:nvPr/>
          </p:nvSpPr>
          <p:spPr>
            <a:xfrm>
              <a:off x="-1" y="82549"/>
              <a:ext cx="363539" cy="3032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095" y="5445"/>
                  </a:moveTo>
                  <a:cubicBezTo>
                    <a:pt x="20020" y="5445"/>
                    <a:pt x="20020" y="5445"/>
                    <a:pt x="20020" y="5445"/>
                  </a:cubicBezTo>
                  <a:cubicBezTo>
                    <a:pt x="19192" y="5445"/>
                    <a:pt x="18514" y="6353"/>
                    <a:pt x="18514" y="7351"/>
                  </a:cubicBezTo>
                  <a:cubicBezTo>
                    <a:pt x="18514" y="13160"/>
                    <a:pt x="14601" y="17879"/>
                    <a:pt x="9784" y="17879"/>
                  </a:cubicBezTo>
                  <a:cubicBezTo>
                    <a:pt x="6096" y="17879"/>
                    <a:pt x="3086" y="14249"/>
                    <a:pt x="3086" y="9802"/>
                  </a:cubicBezTo>
                  <a:cubicBezTo>
                    <a:pt x="3086" y="6444"/>
                    <a:pt x="5344" y="3721"/>
                    <a:pt x="8128" y="3721"/>
                  </a:cubicBezTo>
                  <a:cubicBezTo>
                    <a:pt x="10236" y="3721"/>
                    <a:pt x="11891" y="5718"/>
                    <a:pt x="11891" y="8168"/>
                  </a:cubicBezTo>
                  <a:cubicBezTo>
                    <a:pt x="11891" y="8440"/>
                    <a:pt x="11816" y="8531"/>
                    <a:pt x="11816" y="8622"/>
                  </a:cubicBezTo>
                  <a:cubicBezTo>
                    <a:pt x="11666" y="8713"/>
                    <a:pt x="11214" y="8713"/>
                    <a:pt x="10762" y="8713"/>
                  </a:cubicBezTo>
                  <a:cubicBezTo>
                    <a:pt x="10537" y="8713"/>
                    <a:pt x="10311" y="8713"/>
                    <a:pt x="10085" y="8713"/>
                  </a:cubicBezTo>
                  <a:cubicBezTo>
                    <a:pt x="9784" y="8713"/>
                    <a:pt x="9483" y="8713"/>
                    <a:pt x="9182" y="8713"/>
                  </a:cubicBezTo>
                  <a:cubicBezTo>
                    <a:pt x="8354" y="8713"/>
                    <a:pt x="7677" y="9529"/>
                    <a:pt x="7677" y="10528"/>
                  </a:cubicBezTo>
                  <a:cubicBezTo>
                    <a:pt x="7677" y="10528"/>
                    <a:pt x="7677" y="10528"/>
                    <a:pt x="7677" y="10528"/>
                  </a:cubicBezTo>
                  <a:cubicBezTo>
                    <a:pt x="7677" y="11526"/>
                    <a:pt x="8354" y="12434"/>
                    <a:pt x="9182" y="12434"/>
                  </a:cubicBezTo>
                  <a:cubicBezTo>
                    <a:pt x="9483" y="12434"/>
                    <a:pt x="9784" y="12434"/>
                    <a:pt x="10010" y="12434"/>
                  </a:cubicBezTo>
                  <a:cubicBezTo>
                    <a:pt x="10311" y="12434"/>
                    <a:pt x="10537" y="12434"/>
                    <a:pt x="10838" y="12434"/>
                  </a:cubicBezTo>
                  <a:cubicBezTo>
                    <a:pt x="12042" y="12434"/>
                    <a:pt x="13171" y="12252"/>
                    <a:pt x="13999" y="11254"/>
                  </a:cubicBezTo>
                  <a:cubicBezTo>
                    <a:pt x="14601" y="10528"/>
                    <a:pt x="14977" y="9529"/>
                    <a:pt x="14977" y="8168"/>
                  </a:cubicBezTo>
                  <a:cubicBezTo>
                    <a:pt x="14977" y="3721"/>
                    <a:pt x="11891" y="0"/>
                    <a:pt x="8128" y="0"/>
                  </a:cubicBezTo>
                  <a:cubicBezTo>
                    <a:pt x="3688" y="0"/>
                    <a:pt x="0" y="4447"/>
                    <a:pt x="0" y="9802"/>
                  </a:cubicBezTo>
                  <a:cubicBezTo>
                    <a:pt x="0" y="16245"/>
                    <a:pt x="4440" y="21600"/>
                    <a:pt x="9784" y="21600"/>
                  </a:cubicBezTo>
                  <a:cubicBezTo>
                    <a:pt x="16256" y="21600"/>
                    <a:pt x="21600" y="15156"/>
                    <a:pt x="21600" y="7351"/>
                  </a:cubicBezTo>
                  <a:cubicBezTo>
                    <a:pt x="21600" y="6353"/>
                    <a:pt x="20923" y="5445"/>
                    <a:pt x="20095" y="5445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  <p:sp>
          <p:nvSpPr>
            <p:cNvPr id="377" name="Freeform 8"/>
            <p:cNvSpPr/>
            <p:nvPr/>
          </p:nvSpPr>
          <p:spPr>
            <a:xfrm>
              <a:off x="295275" y="-1"/>
              <a:ext cx="85726" cy="873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5247"/>
                  </a:moveTo>
                  <a:cubicBezTo>
                    <a:pt x="8259" y="15247"/>
                    <a:pt x="6353" y="13341"/>
                    <a:pt x="6353" y="10800"/>
                  </a:cubicBezTo>
                  <a:cubicBezTo>
                    <a:pt x="6353" y="8576"/>
                    <a:pt x="8259" y="6671"/>
                    <a:pt x="10800" y="6671"/>
                  </a:cubicBezTo>
                  <a:cubicBezTo>
                    <a:pt x="13024" y="6671"/>
                    <a:pt x="14929" y="8576"/>
                    <a:pt x="14929" y="10800"/>
                  </a:cubicBezTo>
                  <a:cubicBezTo>
                    <a:pt x="14929" y="13341"/>
                    <a:pt x="13024" y="15247"/>
                    <a:pt x="10800" y="15247"/>
                  </a:cubicBezTo>
                  <a:moveTo>
                    <a:pt x="10800" y="0"/>
                  </a:moveTo>
                  <a:cubicBezTo>
                    <a:pt x="10800" y="0"/>
                    <a:pt x="10800" y="0"/>
                    <a:pt x="10800" y="0"/>
                  </a:cubicBezTo>
                  <a:cubicBezTo>
                    <a:pt x="4765" y="0"/>
                    <a:pt x="0" y="4765"/>
                    <a:pt x="0" y="10800"/>
                  </a:cubicBezTo>
                  <a:cubicBezTo>
                    <a:pt x="0" y="16835"/>
                    <a:pt x="4765" y="21600"/>
                    <a:pt x="10800" y="21600"/>
                  </a:cubicBezTo>
                  <a:cubicBezTo>
                    <a:pt x="16835" y="21600"/>
                    <a:pt x="21600" y="16835"/>
                    <a:pt x="21600" y="10800"/>
                  </a:cubicBezTo>
                  <a:cubicBezTo>
                    <a:pt x="21600" y="4765"/>
                    <a:pt x="16835" y="0"/>
                    <a:pt x="10800" y="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</p:grpSp>
      <p:sp>
        <p:nvSpPr>
          <p:cNvPr id="37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12118" y="6400413"/>
            <a:ext cx="279883" cy="276999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Title and Content">
    <p:bg>
      <p:bgPr>
        <a:solidFill>
          <a:srgbClr val="70BE4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6" name="Picture 7" descr="Picture 7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864"/>
            <a:ext cx="12192000" cy="6856273"/>
          </a:xfrm>
          <a:prstGeom prst="rect">
            <a:avLst/>
          </a:prstGeom>
          <a:ln w="12700">
            <a:miter lim="400000"/>
          </a:ln>
        </p:spPr>
      </p:pic>
      <p:sp>
        <p:nvSpPr>
          <p:cNvPr id="387" name="Rectangle 15"/>
          <p:cNvSpPr/>
          <p:nvPr/>
        </p:nvSpPr>
        <p:spPr>
          <a:xfrm>
            <a:off x="0" y="430200"/>
            <a:ext cx="12192000" cy="54000"/>
          </a:xfrm>
          <a:prstGeom prst="rect">
            <a:avLst/>
          </a:prstGeom>
          <a:solidFill>
            <a:srgbClr val="A9D58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b="0" i="0" dirty="0">
              <a:latin typeface="Arial Regular"/>
            </a:endParaRPr>
          </a:p>
        </p:txBody>
      </p:sp>
      <p:sp>
        <p:nvSpPr>
          <p:cNvPr id="388" name="Title Text"/>
          <p:cNvSpPr txBox="1">
            <a:spLocks noGrp="1"/>
          </p:cNvSpPr>
          <p:nvPr>
            <p:ph type="title"/>
          </p:nvPr>
        </p:nvSpPr>
        <p:spPr>
          <a:xfrm>
            <a:off x="619538" y="430201"/>
            <a:ext cx="3475384" cy="325175"/>
          </a:xfrm>
          <a:prstGeom prst="rect">
            <a:avLst/>
          </a:prstGeom>
          <a:solidFill>
            <a:srgbClr val="235F2C"/>
          </a:solidFill>
        </p:spPr>
        <p:txBody>
          <a:bodyPr/>
          <a:lstStyle>
            <a:lvl1pPr>
              <a:defRPr sz="1800">
                <a:solidFill>
                  <a:srgbClr val="FFFFFF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Title Text</a:t>
            </a:r>
          </a:p>
        </p:txBody>
      </p:sp>
      <p:sp>
        <p:nvSpPr>
          <p:cNvPr id="38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12118" y="6400413"/>
            <a:ext cx="279883" cy="276999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Slide">
    <p:bg>
      <p:bgPr>
        <a:gradFill flip="none" rotWithShape="1">
          <a:gsLst>
            <a:gs pos="50000">
              <a:srgbClr val="E5E5E2"/>
            </a:gs>
            <a:gs pos="100000">
              <a:srgbClr val="CECEC7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6" name="Title Text"/>
          <p:cNvSpPr txBox="1">
            <a:spLocks noGrp="1"/>
          </p:cNvSpPr>
          <p:nvPr>
            <p:ph type="title"/>
          </p:nvPr>
        </p:nvSpPr>
        <p:spPr>
          <a:xfrm>
            <a:off x="1498072" y="3127280"/>
            <a:ext cx="8419542" cy="230911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6000">
                <a:solidFill>
                  <a:srgbClr val="44546A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Title Text</a:t>
            </a:r>
          </a:p>
        </p:txBody>
      </p:sp>
      <p:sp>
        <p:nvSpPr>
          <p:cNvPr id="397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498072" y="5528469"/>
            <a:ext cx="8419542" cy="8278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SzTx/>
              <a:buFontTx/>
              <a:buNone/>
              <a:defRPr b="0" i="0"/>
            </a:lvl1pPr>
            <a:lvl2pPr marL="0" indent="457200">
              <a:buSzTx/>
              <a:buFontTx/>
              <a:buNone/>
              <a:defRPr b="0" i="0"/>
            </a:lvl2pPr>
            <a:lvl3pPr marL="0" indent="914400">
              <a:buSzTx/>
              <a:buFontTx/>
              <a:buNone/>
              <a:defRPr b="0" i="0"/>
            </a:lvl3pPr>
            <a:lvl4pPr marL="0" indent="1371600">
              <a:buSzTx/>
              <a:buFontTx/>
              <a:buNone/>
              <a:defRPr b="0" i="0"/>
            </a:lvl4pPr>
            <a:lvl5pPr marL="0" indent="1828800">
              <a:buSzTx/>
              <a:buFontTx/>
              <a:buNone/>
              <a:defRPr b="0" i="0"/>
            </a:lvl5pPr>
          </a:lstStyle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pic>
        <p:nvPicPr>
          <p:cNvPr id="398" name="Picture 42" descr="Picture 42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437518" y="425298"/>
            <a:ext cx="4296408" cy="1139864"/>
          </a:xfrm>
          <a:prstGeom prst="rect">
            <a:avLst/>
          </a:prstGeom>
          <a:ln w="12700">
            <a:miter lim="400000"/>
          </a:ln>
        </p:spPr>
      </p:pic>
      <p:sp>
        <p:nvSpPr>
          <p:cNvPr id="39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12118" y="6400413"/>
            <a:ext cx="279883" cy="276999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and Table">
    <p:bg>
      <p:bgPr>
        <a:gradFill flip="none" rotWithShape="1">
          <a:gsLst>
            <a:gs pos="50000">
              <a:srgbClr val="E5E5E2"/>
            </a:gs>
            <a:gs pos="100000">
              <a:srgbClr val="CECEC7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6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rcRect b="9396"/>
          <a:stretch>
            <a:fillRect/>
          </a:stretch>
        </p:blipFill>
        <p:spPr>
          <a:xfrm>
            <a:off x="0" y="-1"/>
            <a:ext cx="12192000" cy="6858002"/>
          </a:xfrm>
          <a:prstGeom prst="rect">
            <a:avLst/>
          </a:prstGeom>
          <a:ln w="12700">
            <a:miter lim="400000"/>
          </a:ln>
        </p:spPr>
      </p:pic>
      <p:pic>
        <p:nvPicPr>
          <p:cNvPr id="407" name="Picture 6" descr="Picture 6"/>
          <p:cNvPicPr>
            <a:picLocks noChangeAspect="1"/>
          </p:cNvPicPr>
          <p:nvPr/>
        </p:nvPicPr>
        <p:blipFill>
          <a:blip r:embed="rId3">
            <a:extLst/>
          </a:blip>
          <a:srcRect b="87606"/>
          <a:stretch>
            <a:fillRect/>
          </a:stretch>
        </p:blipFill>
        <p:spPr>
          <a:xfrm>
            <a:off x="0" y="-1"/>
            <a:ext cx="12192000" cy="931818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412" name="Group 4"/>
          <p:cNvGrpSpPr/>
          <p:nvPr/>
        </p:nvGrpSpPr>
        <p:grpSpPr>
          <a:xfrm>
            <a:off x="10056814" y="238125"/>
            <a:ext cx="1858965" cy="496889"/>
            <a:chOff x="0" y="0"/>
            <a:chExt cx="1858963" cy="496887"/>
          </a:xfrm>
        </p:grpSpPr>
        <p:sp>
          <p:nvSpPr>
            <p:cNvPr id="408" name="Freeform 5"/>
            <p:cNvSpPr/>
            <p:nvPr/>
          </p:nvSpPr>
          <p:spPr>
            <a:xfrm>
              <a:off x="465137" y="-1"/>
              <a:ext cx="1393827" cy="369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53" y="16982"/>
                  </a:moveTo>
                  <a:cubicBezTo>
                    <a:pt x="14753" y="18621"/>
                    <a:pt x="14439" y="19738"/>
                    <a:pt x="14008" y="19738"/>
                  </a:cubicBezTo>
                  <a:cubicBezTo>
                    <a:pt x="13596" y="19738"/>
                    <a:pt x="13596" y="19738"/>
                    <a:pt x="13596" y="19738"/>
                  </a:cubicBezTo>
                  <a:cubicBezTo>
                    <a:pt x="13596" y="14152"/>
                    <a:pt x="13596" y="14152"/>
                    <a:pt x="13596" y="14152"/>
                  </a:cubicBezTo>
                  <a:cubicBezTo>
                    <a:pt x="14008" y="14152"/>
                    <a:pt x="14008" y="14152"/>
                    <a:pt x="14008" y="14152"/>
                  </a:cubicBezTo>
                  <a:cubicBezTo>
                    <a:pt x="14439" y="14152"/>
                    <a:pt x="14753" y="15269"/>
                    <a:pt x="14753" y="16908"/>
                  </a:cubicBezTo>
                  <a:lnTo>
                    <a:pt x="14753" y="16982"/>
                  </a:lnTo>
                  <a:close/>
                  <a:moveTo>
                    <a:pt x="14008" y="12290"/>
                  </a:moveTo>
                  <a:cubicBezTo>
                    <a:pt x="13046" y="12290"/>
                    <a:pt x="13046" y="12290"/>
                    <a:pt x="13046" y="12290"/>
                  </a:cubicBezTo>
                  <a:cubicBezTo>
                    <a:pt x="13046" y="21600"/>
                    <a:pt x="13046" y="21600"/>
                    <a:pt x="13046" y="21600"/>
                  </a:cubicBezTo>
                  <a:cubicBezTo>
                    <a:pt x="14008" y="21600"/>
                    <a:pt x="14008" y="21600"/>
                    <a:pt x="14008" y="21600"/>
                  </a:cubicBezTo>
                  <a:cubicBezTo>
                    <a:pt x="14773" y="21600"/>
                    <a:pt x="15302" y="19589"/>
                    <a:pt x="15302" y="16908"/>
                  </a:cubicBezTo>
                  <a:cubicBezTo>
                    <a:pt x="15302" y="16908"/>
                    <a:pt x="15302" y="16908"/>
                    <a:pt x="15302" y="16908"/>
                  </a:cubicBezTo>
                  <a:cubicBezTo>
                    <a:pt x="15302" y="14301"/>
                    <a:pt x="14773" y="12290"/>
                    <a:pt x="14008" y="12290"/>
                  </a:cubicBezTo>
                  <a:moveTo>
                    <a:pt x="12105" y="18025"/>
                  </a:moveTo>
                  <a:cubicBezTo>
                    <a:pt x="10967" y="12290"/>
                    <a:pt x="10967" y="12290"/>
                    <a:pt x="10967" y="12290"/>
                  </a:cubicBezTo>
                  <a:cubicBezTo>
                    <a:pt x="10476" y="12290"/>
                    <a:pt x="10476" y="12290"/>
                    <a:pt x="10476" y="12290"/>
                  </a:cubicBezTo>
                  <a:cubicBezTo>
                    <a:pt x="10476" y="21600"/>
                    <a:pt x="10476" y="21600"/>
                    <a:pt x="10476" y="21600"/>
                  </a:cubicBezTo>
                  <a:cubicBezTo>
                    <a:pt x="11006" y="21600"/>
                    <a:pt x="11006" y="21600"/>
                    <a:pt x="11006" y="21600"/>
                  </a:cubicBezTo>
                  <a:cubicBezTo>
                    <a:pt x="11006" y="15716"/>
                    <a:pt x="11006" y="15716"/>
                    <a:pt x="11006" y="15716"/>
                  </a:cubicBezTo>
                  <a:cubicBezTo>
                    <a:pt x="12183" y="21600"/>
                    <a:pt x="12183" y="21600"/>
                    <a:pt x="12183" y="21600"/>
                  </a:cubicBezTo>
                  <a:cubicBezTo>
                    <a:pt x="12634" y="21600"/>
                    <a:pt x="12634" y="21600"/>
                    <a:pt x="12634" y="21600"/>
                  </a:cubicBezTo>
                  <a:cubicBezTo>
                    <a:pt x="12634" y="12290"/>
                    <a:pt x="12634" y="12290"/>
                    <a:pt x="12634" y="12290"/>
                  </a:cubicBezTo>
                  <a:cubicBezTo>
                    <a:pt x="12105" y="12290"/>
                    <a:pt x="12105" y="12290"/>
                    <a:pt x="12105" y="12290"/>
                  </a:cubicBezTo>
                  <a:lnTo>
                    <a:pt x="12105" y="18025"/>
                  </a:lnTo>
                  <a:close/>
                  <a:moveTo>
                    <a:pt x="8573" y="17727"/>
                  </a:moveTo>
                  <a:cubicBezTo>
                    <a:pt x="8907" y="14673"/>
                    <a:pt x="8907" y="14673"/>
                    <a:pt x="8907" y="14673"/>
                  </a:cubicBezTo>
                  <a:cubicBezTo>
                    <a:pt x="9221" y="17727"/>
                    <a:pt x="9221" y="17727"/>
                    <a:pt x="9221" y="17727"/>
                  </a:cubicBezTo>
                  <a:lnTo>
                    <a:pt x="8573" y="17727"/>
                  </a:lnTo>
                  <a:close/>
                  <a:moveTo>
                    <a:pt x="8671" y="12215"/>
                  </a:moveTo>
                  <a:cubicBezTo>
                    <a:pt x="7612" y="21600"/>
                    <a:pt x="7612" y="21600"/>
                    <a:pt x="7612" y="21600"/>
                  </a:cubicBezTo>
                  <a:cubicBezTo>
                    <a:pt x="8161" y="21600"/>
                    <a:pt x="8161" y="21600"/>
                    <a:pt x="8161" y="21600"/>
                  </a:cubicBezTo>
                  <a:cubicBezTo>
                    <a:pt x="8397" y="19514"/>
                    <a:pt x="8397" y="19514"/>
                    <a:pt x="8397" y="19514"/>
                  </a:cubicBezTo>
                  <a:cubicBezTo>
                    <a:pt x="9417" y="19514"/>
                    <a:pt x="9417" y="19514"/>
                    <a:pt x="9417" y="19514"/>
                  </a:cubicBezTo>
                  <a:cubicBezTo>
                    <a:pt x="9652" y="21600"/>
                    <a:pt x="9652" y="21600"/>
                    <a:pt x="9652" y="21600"/>
                  </a:cubicBezTo>
                  <a:cubicBezTo>
                    <a:pt x="10202" y="21600"/>
                    <a:pt x="10202" y="21600"/>
                    <a:pt x="10202" y="21600"/>
                  </a:cubicBezTo>
                  <a:cubicBezTo>
                    <a:pt x="9162" y="12215"/>
                    <a:pt x="9162" y="12215"/>
                    <a:pt x="9162" y="12215"/>
                  </a:cubicBezTo>
                  <a:lnTo>
                    <a:pt x="8671" y="12215"/>
                  </a:lnTo>
                  <a:close/>
                  <a:moveTo>
                    <a:pt x="6180" y="12290"/>
                  </a:moveTo>
                  <a:cubicBezTo>
                    <a:pt x="5650" y="12290"/>
                    <a:pt x="5650" y="12290"/>
                    <a:pt x="5650" y="12290"/>
                  </a:cubicBezTo>
                  <a:cubicBezTo>
                    <a:pt x="5650" y="21600"/>
                    <a:pt x="5650" y="21600"/>
                    <a:pt x="5650" y="21600"/>
                  </a:cubicBezTo>
                  <a:cubicBezTo>
                    <a:pt x="7396" y="21600"/>
                    <a:pt x="7396" y="21600"/>
                    <a:pt x="7396" y="21600"/>
                  </a:cubicBezTo>
                  <a:cubicBezTo>
                    <a:pt x="7396" y="19738"/>
                    <a:pt x="7396" y="19738"/>
                    <a:pt x="7396" y="19738"/>
                  </a:cubicBezTo>
                  <a:cubicBezTo>
                    <a:pt x="6180" y="19738"/>
                    <a:pt x="6180" y="19738"/>
                    <a:pt x="6180" y="19738"/>
                  </a:cubicBezTo>
                  <a:lnTo>
                    <a:pt x="6180" y="12290"/>
                  </a:lnTo>
                  <a:close/>
                  <a:moveTo>
                    <a:pt x="3943" y="17801"/>
                  </a:moveTo>
                  <a:cubicBezTo>
                    <a:pt x="5081" y="17801"/>
                    <a:pt x="5081" y="17801"/>
                    <a:pt x="5081" y="17801"/>
                  </a:cubicBezTo>
                  <a:cubicBezTo>
                    <a:pt x="5081" y="16014"/>
                    <a:pt x="5081" y="16014"/>
                    <a:pt x="5081" y="16014"/>
                  </a:cubicBezTo>
                  <a:cubicBezTo>
                    <a:pt x="3943" y="16014"/>
                    <a:pt x="3943" y="16014"/>
                    <a:pt x="3943" y="16014"/>
                  </a:cubicBezTo>
                  <a:cubicBezTo>
                    <a:pt x="3943" y="14152"/>
                    <a:pt x="3943" y="14152"/>
                    <a:pt x="3943" y="14152"/>
                  </a:cubicBezTo>
                  <a:cubicBezTo>
                    <a:pt x="5238" y="14152"/>
                    <a:pt x="5238" y="14152"/>
                    <a:pt x="5238" y="14152"/>
                  </a:cubicBezTo>
                  <a:cubicBezTo>
                    <a:pt x="5238" y="12290"/>
                    <a:pt x="5238" y="12290"/>
                    <a:pt x="5238" y="12290"/>
                  </a:cubicBezTo>
                  <a:cubicBezTo>
                    <a:pt x="3394" y="12290"/>
                    <a:pt x="3394" y="12290"/>
                    <a:pt x="3394" y="12290"/>
                  </a:cubicBezTo>
                  <a:cubicBezTo>
                    <a:pt x="3394" y="21600"/>
                    <a:pt x="3394" y="21600"/>
                    <a:pt x="3394" y="21600"/>
                  </a:cubicBezTo>
                  <a:cubicBezTo>
                    <a:pt x="5258" y="21600"/>
                    <a:pt x="5258" y="21600"/>
                    <a:pt x="5258" y="21600"/>
                  </a:cubicBezTo>
                  <a:cubicBezTo>
                    <a:pt x="5258" y="19738"/>
                    <a:pt x="5258" y="19738"/>
                    <a:pt x="5258" y="19738"/>
                  </a:cubicBezTo>
                  <a:cubicBezTo>
                    <a:pt x="3943" y="19738"/>
                    <a:pt x="3943" y="19738"/>
                    <a:pt x="3943" y="19738"/>
                  </a:cubicBezTo>
                  <a:lnTo>
                    <a:pt x="3943" y="17801"/>
                  </a:lnTo>
                  <a:close/>
                  <a:moveTo>
                    <a:pt x="2472" y="15492"/>
                  </a:moveTo>
                  <a:cubicBezTo>
                    <a:pt x="2472" y="16312"/>
                    <a:pt x="2315" y="16833"/>
                    <a:pt x="2060" y="16833"/>
                  </a:cubicBezTo>
                  <a:cubicBezTo>
                    <a:pt x="1511" y="16833"/>
                    <a:pt x="1511" y="16833"/>
                    <a:pt x="1511" y="16833"/>
                  </a:cubicBezTo>
                  <a:cubicBezTo>
                    <a:pt x="1511" y="14152"/>
                    <a:pt x="1511" y="14152"/>
                    <a:pt x="1511" y="14152"/>
                  </a:cubicBezTo>
                  <a:cubicBezTo>
                    <a:pt x="2040" y="14152"/>
                    <a:pt x="2040" y="14152"/>
                    <a:pt x="2040" y="14152"/>
                  </a:cubicBezTo>
                  <a:cubicBezTo>
                    <a:pt x="2295" y="14152"/>
                    <a:pt x="2472" y="14599"/>
                    <a:pt x="2472" y="15492"/>
                  </a:cubicBezTo>
                  <a:close/>
                  <a:moveTo>
                    <a:pt x="3002" y="15418"/>
                  </a:moveTo>
                  <a:cubicBezTo>
                    <a:pt x="3002" y="15343"/>
                    <a:pt x="3002" y="15343"/>
                    <a:pt x="3002" y="15343"/>
                  </a:cubicBezTo>
                  <a:cubicBezTo>
                    <a:pt x="3002" y="14524"/>
                    <a:pt x="2943" y="13779"/>
                    <a:pt x="2805" y="13258"/>
                  </a:cubicBezTo>
                  <a:cubicBezTo>
                    <a:pt x="2629" y="12662"/>
                    <a:pt x="2393" y="12290"/>
                    <a:pt x="2080" y="12290"/>
                  </a:cubicBezTo>
                  <a:cubicBezTo>
                    <a:pt x="961" y="12290"/>
                    <a:pt x="961" y="12290"/>
                    <a:pt x="961" y="12290"/>
                  </a:cubicBezTo>
                  <a:cubicBezTo>
                    <a:pt x="961" y="21600"/>
                    <a:pt x="961" y="21600"/>
                    <a:pt x="961" y="21600"/>
                  </a:cubicBezTo>
                  <a:cubicBezTo>
                    <a:pt x="1511" y="21600"/>
                    <a:pt x="1511" y="21600"/>
                    <a:pt x="1511" y="21600"/>
                  </a:cubicBezTo>
                  <a:cubicBezTo>
                    <a:pt x="1511" y="18621"/>
                    <a:pt x="1511" y="18621"/>
                    <a:pt x="1511" y="18621"/>
                  </a:cubicBezTo>
                  <a:cubicBezTo>
                    <a:pt x="1923" y="18621"/>
                    <a:pt x="1923" y="18621"/>
                    <a:pt x="1923" y="18621"/>
                  </a:cubicBezTo>
                  <a:cubicBezTo>
                    <a:pt x="2452" y="21600"/>
                    <a:pt x="2452" y="21600"/>
                    <a:pt x="2452" y="21600"/>
                  </a:cubicBezTo>
                  <a:cubicBezTo>
                    <a:pt x="3080" y="21600"/>
                    <a:pt x="3080" y="21600"/>
                    <a:pt x="3080" y="21600"/>
                  </a:cubicBezTo>
                  <a:cubicBezTo>
                    <a:pt x="2492" y="18248"/>
                    <a:pt x="2492" y="18248"/>
                    <a:pt x="2492" y="18248"/>
                  </a:cubicBezTo>
                  <a:cubicBezTo>
                    <a:pt x="2786" y="17801"/>
                    <a:pt x="3002" y="16908"/>
                    <a:pt x="3002" y="15418"/>
                  </a:cubicBezTo>
                  <a:moveTo>
                    <a:pt x="20" y="21600"/>
                  </a:moveTo>
                  <a:cubicBezTo>
                    <a:pt x="549" y="21600"/>
                    <a:pt x="549" y="21600"/>
                    <a:pt x="549" y="21600"/>
                  </a:cubicBezTo>
                  <a:cubicBezTo>
                    <a:pt x="549" y="12290"/>
                    <a:pt x="549" y="12290"/>
                    <a:pt x="549" y="12290"/>
                  </a:cubicBezTo>
                  <a:cubicBezTo>
                    <a:pt x="20" y="12290"/>
                    <a:pt x="20" y="12290"/>
                    <a:pt x="20" y="12290"/>
                  </a:cubicBezTo>
                  <a:lnTo>
                    <a:pt x="20" y="21600"/>
                  </a:lnTo>
                  <a:close/>
                  <a:moveTo>
                    <a:pt x="20266" y="7597"/>
                  </a:moveTo>
                  <a:cubicBezTo>
                    <a:pt x="20266" y="5661"/>
                    <a:pt x="20266" y="5661"/>
                    <a:pt x="20266" y="5661"/>
                  </a:cubicBezTo>
                  <a:cubicBezTo>
                    <a:pt x="21423" y="5661"/>
                    <a:pt x="21423" y="5661"/>
                    <a:pt x="21423" y="5661"/>
                  </a:cubicBezTo>
                  <a:cubicBezTo>
                    <a:pt x="21423" y="3873"/>
                    <a:pt x="21423" y="3873"/>
                    <a:pt x="21423" y="3873"/>
                  </a:cubicBezTo>
                  <a:cubicBezTo>
                    <a:pt x="20266" y="3873"/>
                    <a:pt x="20266" y="3873"/>
                    <a:pt x="20266" y="3873"/>
                  </a:cubicBezTo>
                  <a:cubicBezTo>
                    <a:pt x="20266" y="1937"/>
                    <a:pt x="20266" y="1937"/>
                    <a:pt x="20266" y="1937"/>
                  </a:cubicBezTo>
                  <a:cubicBezTo>
                    <a:pt x="21580" y="1937"/>
                    <a:pt x="21580" y="1937"/>
                    <a:pt x="21580" y="1937"/>
                  </a:cubicBezTo>
                  <a:cubicBezTo>
                    <a:pt x="21580" y="149"/>
                    <a:pt x="21580" y="149"/>
                    <a:pt x="21580" y="149"/>
                  </a:cubicBezTo>
                  <a:cubicBezTo>
                    <a:pt x="19736" y="149"/>
                    <a:pt x="19736" y="149"/>
                    <a:pt x="19736" y="149"/>
                  </a:cubicBezTo>
                  <a:cubicBezTo>
                    <a:pt x="19736" y="9385"/>
                    <a:pt x="19736" y="9385"/>
                    <a:pt x="19736" y="9385"/>
                  </a:cubicBezTo>
                  <a:cubicBezTo>
                    <a:pt x="21600" y="9385"/>
                    <a:pt x="21600" y="9385"/>
                    <a:pt x="21600" y="9385"/>
                  </a:cubicBezTo>
                  <a:cubicBezTo>
                    <a:pt x="21600" y="7597"/>
                    <a:pt x="21600" y="7597"/>
                    <a:pt x="21600" y="7597"/>
                  </a:cubicBezTo>
                  <a:lnTo>
                    <a:pt x="20266" y="7597"/>
                  </a:lnTo>
                  <a:close/>
                  <a:moveTo>
                    <a:pt x="18598" y="3873"/>
                  </a:moveTo>
                  <a:cubicBezTo>
                    <a:pt x="18186" y="3426"/>
                    <a:pt x="18069" y="3277"/>
                    <a:pt x="18069" y="2607"/>
                  </a:cubicBezTo>
                  <a:cubicBezTo>
                    <a:pt x="18069" y="2607"/>
                    <a:pt x="18069" y="2607"/>
                    <a:pt x="18069" y="2607"/>
                  </a:cubicBezTo>
                  <a:cubicBezTo>
                    <a:pt x="18069" y="2160"/>
                    <a:pt x="18186" y="1788"/>
                    <a:pt x="18383" y="1788"/>
                  </a:cubicBezTo>
                  <a:cubicBezTo>
                    <a:pt x="18598" y="1788"/>
                    <a:pt x="18814" y="2160"/>
                    <a:pt x="19030" y="2756"/>
                  </a:cubicBezTo>
                  <a:cubicBezTo>
                    <a:pt x="19305" y="1192"/>
                    <a:pt x="19305" y="1192"/>
                    <a:pt x="19305" y="1192"/>
                  </a:cubicBezTo>
                  <a:cubicBezTo>
                    <a:pt x="19050" y="447"/>
                    <a:pt x="18755" y="0"/>
                    <a:pt x="18402" y="0"/>
                  </a:cubicBezTo>
                  <a:cubicBezTo>
                    <a:pt x="17892" y="0"/>
                    <a:pt x="17539" y="1117"/>
                    <a:pt x="17539" y="2830"/>
                  </a:cubicBezTo>
                  <a:cubicBezTo>
                    <a:pt x="17539" y="2830"/>
                    <a:pt x="17539" y="2830"/>
                    <a:pt x="17539" y="2830"/>
                  </a:cubicBezTo>
                  <a:cubicBezTo>
                    <a:pt x="17539" y="4692"/>
                    <a:pt x="17853" y="5214"/>
                    <a:pt x="18343" y="5661"/>
                  </a:cubicBezTo>
                  <a:cubicBezTo>
                    <a:pt x="18755" y="6033"/>
                    <a:pt x="18834" y="6331"/>
                    <a:pt x="18834" y="6852"/>
                  </a:cubicBezTo>
                  <a:cubicBezTo>
                    <a:pt x="18834" y="6852"/>
                    <a:pt x="18834" y="6852"/>
                    <a:pt x="18834" y="6852"/>
                  </a:cubicBezTo>
                  <a:cubicBezTo>
                    <a:pt x="18834" y="7448"/>
                    <a:pt x="18716" y="7746"/>
                    <a:pt x="18481" y="7746"/>
                  </a:cubicBezTo>
                  <a:cubicBezTo>
                    <a:pt x="18206" y="7746"/>
                    <a:pt x="17990" y="7299"/>
                    <a:pt x="17755" y="6629"/>
                  </a:cubicBezTo>
                  <a:cubicBezTo>
                    <a:pt x="17441" y="8044"/>
                    <a:pt x="17441" y="8044"/>
                    <a:pt x="17441" y="8044"/>
                  </a:cubicBezTo>
                  <a:cubicBezTo>
                    <a:pt x="17735" y="9087"/>
                    <a:pt x="18108" y="9534"/>
                    <a:pt x="18481" y="9534"/>
                  </a:cubicBezTo>
                  <a:cubicBezTo>
                    <a:pt x="19010" y="9534"/>
                    <a:pt x="19383" y="8491"/>
                    <a:pt x="19383" y="6703"/>
                  </a:cubicBezTo>
                  <a:cubicBezTo>
                    <a:pt x="19383" y="6629"/>
                    <a:pt x="19383" y="6629"/>
                    <a:pt x="19383" y="6629"/>
                  </a:cubicBezTo>
                  <a:cubicBezTo>
                    <a:pt x="19383" y="5065"/>
                    <a:pt x="19089" y="4320"/>
                    <a:pt x="18598" y="3873"/>
                  </a:cubicBezTo>
                  <a:moveTo>
                    <a:pt x="16538" y="9385"/>
                  </a:moveTo>
                  <a:cubicBezTo>
                    <a:pt x="17088" y="9385"/>
                    <a:pt x="17088" y="9385"/>
                    <a:pt x="17088" y="9385"/>
                  </a:cubicBezTo>
                  <a:cubicBezTo>
                    <a:pt x="17088" y="149"/>
                    <a:pt x="17088" y="149"/>
                    <a:pt x="17088" y="149"/>
                  </a:cubicBezTo>
                  <a:cubicBezTo>
                    <a:pt x="16538" y="149"/>
                    <a:pt x="16538" y="149"/>
                    <a:pt x="16538" y="149"/>
                  </a:cubicBezTo>
                  <a:lnTo>
                    <a:pt x="16538" y="9385"/>
                  </a:lnTo>
                  <a:close/>
                  <a:moveTo>
                    <a:pt x="15557" y="3352"/>
                  </a:moveTo>
                  <a:cubicBezTo>
                    <a:pt x="15557" y="4097"/>
                    <a:pt x="15420" y="4618"/>
                    <a:pt x="15146" y="4618"/>
                  </a:cubicBezTo>
                  <a:cubicBezTo>
                    <a:pt x="14616" y="4618"/>
                    <a:pt x="14616" y="4618"/>
                    <a:pt x="14616" y="4618"/>
                  </a:cubicBezTo>
                  <a:cubicBezTo>
                    <a:pt x="14616" y="2011"/>
                    <a:pt x="14616" y="2011"/>
                    <a:pt x="14616" y="2011"/>
                  </a:cubicBezTo>
                  <a:cubicBezTo>
                    <a:pt x="15146" y="2011"/>
                    <a:pt x="15146" y="2011"/>
                    <a:pt x="15146" y="2011"/>
                  </a:cubicBezTo>
                  <a:cubicBezTo>
                    <a:pt x="15401" y="2011"/>
                    <a:pt x="15557" y="2458"/>
                    <a:pt x="15557" y="3277"/>
                  </a:cubicBezTo>
                  <a:lnTo>
                    <a:pt x="15557" y="3352"/>
                  </a:lnTo>
                  <a:close/>
                  <a:moveTo>
                    <a:pt x="16107" y="3203"/>
                  </a:moveTo>
                  <a:cubicBezTo>
                    <a:pt x="16107" y="3203"/>
                    <a:pt x="16107" y="3203"/>
                    <a:pt x="16107" y="3203"/>
                  </a:cubicBezTo>
                  <a:cubicBezTo>
                    <a:pt x="16107" y="2309"/>
                    <a:pt x="16028" y="1564"/>
                    <a:pt x="15911" y="1043"/>
                  </a:cubicBezTo>
                  <a:cubicBezTo>
                    <a:pt x="15734" y="447"/>
                    <a:pt x="15499" y="149"/>
                    <a:pt x="15185" y="149"/>
                  </a:cubicBezTo>
                  <a:cubicBezTo>
                    <a:pt x="14066" y="149"/>
                    <a:pt x="14066" y="149"/>
                    <a:pt x="14066" y="149"/>
                  </a:cubicBezTo>
                  <a:cubicBezTo>
                    <a:pt x="14066" y="9385"/>
                    <a:pt x="14066" y="9385"/>
                    <a:pt x="14066" y="9385"/>
                  </a:cubicBezTo>
                  <a:cubicBezTo>
                    <a:pt x="14616" y="9385"/>
                    <a:pt x="14616" y="9385"/>
                    <a:pt x="14616" y="9385"/>
                  </a:cubicBezTo>
                  <a:cubicBezTo>
                    <a:pt x="14616" y="6480"/>
                    <a:pt x="14616" y="6480"/>
                    <a:pt x="14616" y="6480"/>
                  </a:cubicBezTo>
                  <a:cubicBezTo>
                    <a:pt x="15028" y="6480"/>
                    <a:pt x="15028" y="6480"/>
                    <a:pt x="15028" y="6480"/>
                  </a:cubicBezTo>
                  <a:cubicBezTo>
                    <a:pt x="15557" y="9385"/>
                    <a:pt x="15557" y="9385"/>
                    <a:pt x="15557" y="9385"/>
                  </a:cubicBezTo>
                  <a:cubicBezTo>
                    <a:pt x="16185" y="9385"/>
                    <a:pt x="16185" y="9385"/>
                    <a:pt x="16185" y="9385"/>
                  </a:cubicBezTo>
                  <a:cubicBezTo>
                    <a:pt x="15597" y="6108"/>
                    <a:pt x="15597" y="6108"/>
                    <a:pt x="15597" y="6108"/>
                  </a:cubicBezTo>
                  <a:cubicBezTo>
                    <a:pt x="15891" y="5661"/>
                    <a:pt x="16107" y="4692"/>
                    <a:pt x="16107" y="3203"/>
                  </a:cubicBezTo>
                  <a:moveTo>
                    <a:pt x="13203" y="3426"/>
                  </a:moveTo>
                  <a:cubicBezTo>
                    <a:pt x="13203" y="4171"/>
                    <a:pt x="13046" y="4841"/>
                    <a:pt x="12772" y="4841"/>
                  </a:cubicBezTo>
                  <a:cubicBezTo>
                    <a:pt x="12360" y="4841"/>
                    <a:pt x="12360" y="4841"/>
                    <a:pt x="12360" y="4841"/>
                  </a:cubicBezTo>
                  <a:cubicBezTo>
                    <a:pt x="12360" y="2011"/>
                    <a:pt x="12360" y="2011"/>
                    <a:pt x="12360" y="2011"/>
                  </a:cubicBezTo>
                  <a:cubicBezTo>
                    <a:pt x="12772" y="2011"/>
                    <a:pt x="12772" y="2011"/>
                    <a:pt x="12772" y="2011"/>
                  </a:cubicBezTo>
                  <a:cubicBezTo>
                    <a:pt x="13027" y="2011"/>
                    <a:pt x="13203" y="2458"/>
                    <a:pt x="13203" y="3352"/>
                  </a:cubicBezTo>
                  <a:lnTo>
                    <a:pt x="13203" y="3426"/>
                  </a:lnTo>
                  <a:close/>
                  <a:moveTo>
                    <a:pt x="13753" y="3352"/>
                  </a:moveTo>
                  <a:cubicBezTo>
                    <a:pt x="13753" y="3352"/>
                    <a:pt x="13753" y="3352"/>
                    <a:pt x="13753" y="3352"/>
                  </a:cubicBezTo>
                  <a:cubicBezTo>
                    <a:pt x="13753" y="1415"/>
                    <a:pt x="13399" y="149"/>
                    <a:pt x="12811" y="149"/>
                  </a:cubicBezTo>
                  <a:cubicBezTo>
                    <a:pt x="11810" y="149"/>
                    <a:pt x="11810" y="149"/>
                    <a:pt x="11810" y="149"/>
                  </a:cubicBezTo>
                  <a:cubicBezTo>
                    <a:pt x="11810" y="9385"/>
                    <a:pt x="11810" y="9385"/>
                    <a:pt x="11810" y="9385"/>
                  </a:cubicBezTo>
                  <a:cubicBezTo>
                    <a:pt x="12360" y="9385"/>
                    <a:pt x="12360" y="9385"/>
                    <a:pt x="12360" y="9385"/>
                  </a:cubicBezTo>
                  <a:cubicBezTo>
                    <a:pt x="12360" y="6629"/>
                    <a:pt x="12360" y="6629"/>
                    <a:pt x="12360" y="6629"/>
                  </a:cubicBezTo>
                  <a:cubicBezTo>
                    <a:pt x="12752" y="6629"/>
                    <a:pt x="12752" y="6629"/>
                    <a:pt x="12752" y="6629"/>
                  </a:cubicBezTo>
                  <a:cubicBezTo>
                    <a:pt x="13301" y="6629"/>
                    <a:pt x="13753" y="5512"/>
                    <a:pt x="13753" y="3352"/>
                  </a:cubicBezTo>
                  <a:moveTo>
                    <a:pt x="10457" y="4618"/>
                  </a:moveTo>
                  <a:cubicBezTo>
                    <a:pt x="9907" y="4618"/>
                    <a:pt x="9907" y="4618"/>
                    <a:pt x="9907" y="4618"/>
                  </a:cubicBezTo>
                  <a:cubicBezTo>
                    <a:pt x="9907" y="2011"/>
                    <a:pt x="9907" y="2011"/>
                    <a:pt x="9907" y="2011"/>
                  </a:cubicBezTo>
                  <a:cubicBezTo>
                    <a:pt x="10457" y="2011"/>
                    <a:pt x="10457" y="2011"/>
                    <a:pt x="10457" y="2011"/>
                  </a:cubicBezTo>
                  <a:cubicBezTo>
                    <a:pt x="10712" y="2011"/>
                    <a:pt x="10869" y="2458"/>
                    <a:pt x="10869" y="3277"/>
                  </a:cubicBezTo>
                  <a:cubicBezTo>
                    <a:pt x="10869" y="3352"/>
                    <a:pt x="10869" y="3352"/>
                    <a:pt x="10869" y="3352"/>
                  </a:cubicBezTo>
                  <a:cubicBezTo>
                    <a:pt x="10869" y="4097"/>
                    <a:pt x="10712" y="4618"/>
                    <a:pt x="10457" y="4618"/>
                  </a:cubicBezTo>
                  <a:moveTo>
                    <a:pt x="11496" y="9385"/>
                  </a:moveTo>
                  <a:cubicBezTo>
                    <a:pt x="10888" y="6108"/>
                    <a:pt x="10888" y="6108"/>
                    <a:pt x="10888" y="6108"/>
                  </a:cubicBezTo>
                  <a:cubicBezTo>
                    <a:pt x="11202" y="5661"/>
                    <a:pt x="11418" y="4692"/>
                    <a:pt x="11418" y="3203"/>
                  </a:cubicBezTo>
                  <a:cubicBezTo>
                    <a:pt x="11418" y="3203"/>
                    <a:pt x="11418" y="3203"/>
                    <a:pt x="11418" y="3203"/>
                  </a:cubicBezTo>
                  <a:cubicBezTo>
                    <a:pt x="11418" y="2309"/>
                    <a:pt x="11340" y="1564"/>
                    <a:pt x="11202" y="1043"/>
                  </a:cubicBezTo>
                  <a:cubicBezTo>
                    <a:pt x="11045" y="447"/>
                    <a:pt x="10810" y="149"/>
                    <a:pt x="10496" y="149"/>
                  </a:cubicBezTo>
                  <a:cubicBezTo>
                    <a:pt x="9378" y="149"/>
                    <a:pt x="9378" y="149"/>
                    <a:pt x="9378" y="149"/>
                  </a:cubicBezTo>
                  <a:cubicBezTo>
                    <a:pt x="9378" y="9385"/>
                    <a:pt x="9378" y="9385"/>
                    <a:pt x="9378" y="9385"/>
                  </a:cubicBezTo>
                  <a:cubicBezTo>
                    <a:pt x="9907" y="9385"/>
                    <a:pt x="9907" y="9385"/>
                    <a:pt x="9907" y="9385"/>
                  </a:cubicBezTo>
                  <a:cubicBezTo>
                    <a:pt x="9907" y="6480"/>
                    <a:pt x="9907" y="6480"/>
                    <a:pt x="9907" y="6480"/>
                  </a:cubicBezTo>
                  <a:cubicBezTo>
                    <a:pt x="10339" y="6480"/>
                    <a:pt x="10339" y="6480"/>
                    <a:pt x="10339" y="6480"/>
                  </a:cubicBezTo>
                  <a:cubicBezTo>
                    <a:pt x="10869" y="9385"/>
                    <a:pt x="10869" y="9385"/>
                    <a:pt x="10869" y="9385"/>
                  </a:cubicBezTo>
                  <a:lnTo>
                    <a:pt x="11496" y="9385"/>
                  </a:lnTo>
                  <a:close/>
                  <a:moveTo>
                    <a:pt x="9025" y="7597"/>
                  </a:moveTo>
                  <a:cubicBezTo>
                    <a:pt x="7690" y="7597"/>
                    <a:pt x="7690" y="7597"/>
                    <a:pt x="7690" y="7597"/>
                  </a:cubicBezTo>
                  <a:cubicBezTo>
                    <a:pt x="7690" y="5661"/>
                    <a:pt x="7690" y="5661"/>
                    <a:pt x="7690" y="5661"/>
                  </a:cubicBezTo>
                  <a:cubicBezTo>
                    <a:pt x="8848" y="5661"/>
                    <a:pt x="8848" y="5661"/>
                    <a:pt x="8848" y="5661"/>
                  </a:cubicBezTo>
                  <a:cubicBezTo>
                    <a:pt x="8848" y="3873"/>
                    <a:pt x="8848" y="3873"/>
                    <a:pt x="8848" y="3873"/>
                  </a:cubicBezTo>
                  <a:cubicBezTo>
                    <a:pt x="7690" y="3873"/>
                    <a:pt x="7690" y="3873"/>
                    <a:pt x="7690" y="3873"/>
                  </a:cubicBezTo>
                  <a:cubicBezTo>
                    <a:pt x="7690" y="1937"/>
                    <a:pt x="7690" y="1937"/>
                    <a:pt x="7690" y="1937"/>
                  </a:cubicBezTo>
                  <a:cubicBezTo>
                    <a:pt x="9005" y="1937"/>
                    <a:pt x="9005" y="1937"/>
                    <a:pt x="9005" y="1937"/>
                  </a:cubicBezTo>
                  <a:cubicBezTo>
                    <a:pt x="9005" y="149"/>
                    <a:pt x="9005" y="149"/>
                    <a:pt x="9005" y="149"/>
                  </a:cubicBezTo>
                  <a:cubicBezTo>
                    <a:pt x="7161" y="149"/>
                    <a:pt x="7161" y="149"/>
                    <a:pt x="7161" y="149"/>
                  </a:cubicBezTo>
                  <a:cubicBezTo>
                    <a:pt x="7161" y="9385"/>
                    <a:pt x="7161" y="9385"/>
                    <a:pt x="7161" y="9385"/>
                  </a:cubicBezTo>
                  <a:cubicBezTo>
                    <a:pt x="9025" y="9385"/>
                    <a:pt x="9025" y="9385"/>
                    <a:pt x="9025" y="9385"/>
                  </a:cubicBezTo>
                  <a:lnTo>
                    <a:pt x="9025" y="7597"/>
                  </a:lnTo>
                  <a:close/>
                  <a:moveTo>
                    <a:pt x="6043" y="9385"/>
                  </a:moveTo>
                  <a:cubicBezTo>
                    <a:pt x="6043" y="2011"/>
                    <a:pt x="6043" y="2011"/>
                    <a:pt x="6043" y="2011"/>
                  </a:cubicBezTo>
                  <a:cubicBezTo>
                    <a:pt x="6788" y="2011"/>
                    <a:pt x="6788" y="2011"/>
                    <a:pt x="6788" y="2011"/>
                  </a:cubicBezTo>
                  <a:cubicBezTo>
                    <a:pt x="6788" y="149"/>
                    <a:pt x="6788" y="149"/>
                    <a:pt x="6788" y="149"/>
                  </a:cubicBezTo>
                  <a:cubicBezTo>
                    <a:pt x="4767" y="149"/>
                    <a:pt x="4767" y="149"/>
                    <a:pt x="4767" y="149"/>
                  </a:cubicBezTo>
                  <a:cubicBezTo>
                    <a:pt x="4767" y="2011"/>
                    <a:pt x="4767" y="2011"/>
                    <a:pt x="4767" y="2011"/>
                  </a:cubicBezTo>
                  <a:cubicBezTo>
                    <a:pt x="5513" y="2011"/>
                    <a:pt x="5513" y="2011"/>
                    <a:pt x="5513" y="2011"/>
                  </a:cubicBezTo>
                  <a:cubicBezTo>
                    <a:pt x="5513" y="9385"/>
                    <a:pt x="5513" y="9385"/>
                    <a:pt x="5513" y="9385"/>
                  </a:cubicBezTo>
                  <a:lnTo>
                    <a:pt x="6043" y="9385"/>
                  </a:lnTo>
                  <a:close/>
                  <a:moveTo>
                    <a:pt x="2766" y="3501"/>
                  </a:moveTo>
                  <a:cubicBezTo>
                    <a:pt x="3943" y="9385"/>
                    <a:pt x="3943" y="9385"/>
                    <a:pt x="3943" y="9385"/>
                  </a:cubicBezTo>
                  <a:cubicBezTo>
                    <a:pt x="4414" y="9385"/>
                    <a:pt x="4414" y="9385"/>
                    <a:pt x="4414" y="9385"/>
                  </a:cubicBezTo>
                  <a:cubicBezTo>
                    <a:pt x="4414" y="149"/>
                    <a:pt x="4414" y="149"/>
                    <a:pt x="4414" y="149"/>
                  </a:cubicBezTo>
                  <a:cubicBezTo>
                    <a:pt x="3865" y="149"/>
                    <a:pt x="3865" y="149"/>
                    <a:pt x="3865" y="149"/>
                  </a:cubicBezTo>
                  <a:cubicBezTo>
                    <a:pt x="3865" y="5884"/>
                    <a:pt x="3865" y="5884"/>
                    <a:pt x="3865" y="5884"/>
                  </a:cubicBezTo>
                  <a:cubicBezTo>
                    <a:pt x="2727" y="149"/>
                    <a:pt x="2727" y="149"/>
                    <a:pt x="2727" y="149"/>
                  </a:cubicBezTo>
                  <a:cubicBezTo>
                    <a:pt x="2237" y="149"/>
                    <a:pt x="2237" y="149"/>
                    <a:pt x="2237" y="149"/>
                  </a:cubicBezTo>
                  <a:cubicBezTo>
                    <a:pt x="2237" y="9385"/>
                    <a:pt x="2237" y="9385"/>
                    <a:pt x="2237" y="9385"/>
                  </a:cubicBezTo>
                  <a:cubicBezTo>
                    <a:pt x="2766" y="9385"/>
                    <a:pt x="2766" y="9385"/>
                    <a:pt x="2766" y="9385"/>
                  </a:cubicBezTo>
                  <a:lnTo>
                    <a:pt x="2766" y="3501"/>
                  </a:lnTo>
                  <a:close/>
                  <a:moveTo>
                    <a:pt x="1864" y="7597"/>
                  </a:moveTo>
                  <a:cubicBezTo>
                    <a:pt x="530" y="7597"/>
                    <a:pt x="530" y="7597"/>
                    <a:pt x="530" y="7597"/>
                  </a:cubicBezTo>
                  <a:cubicBezTo>
                    <a:pt x="530" y="5661"/>
                    <a:pt x="530" y="5661"/>
                    <a:pt x="530" y="5661"/>
                  </a:cubicBezTo>
                  <a:cubicBezTo>
                    <a:pt x="1687" y="5661"/>
                    <a:pt x="1687" y="5661"/>
                    <a:pt x="1687" y="5661"/>
                  </a:cubicBezTo>
                  <a:cubicBezTo>
                    <a:pt x="1687" y="3873"/>
                    <a:pt x="1687" y="3873"/>
                    <a:pt x="1687" y="3873"/>
                  </a:cubicBezTo>
                  <a:cubicBezTo>
                    <a:pt x="530" y="3873"/>
                    <a:pt x="530" y="3873"/>
                    <a:pt x="530" y="3873"/>
                  </a:cubicBezTo>
                  <a:cubicBezTo>
                    <a:pt x="530" y="1937"/>
                    <a:pt x="530" y="1937"/>
                    <a:pt x="530" y="1937"/>
                  </a:cubicBezTo>
                  <a:cubicBezTo>
                    <a:pt x="1844" y="1937"/>
                    <a:pt x="1844" y="1937"/>
                    <a:pt x="1844" y="1937"/>
                  </a:cubicBezTo>
                  <a:cubicBezTo>
                    <a:pt x="1844" y="149"/>
                    <a:pt x="1844" y="149"/>
                    <a:pt x="1844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9385"/>
                    <a:pt x="0" y="9385"/>
                    <a:pt x="0" y="9385"/>
                  </a:cubicBezTo>
                  <a:cubicBezTo>
                    <a:pt x="1864" y="9385"/>
                    <a:pt x="1864" y="9385"/>
                    <a:pt x="1864" y="9385"/>
                  </a:cubicBezTo>
                  <a:lnTo>
                    <a:pt x="1864" y="7597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  <p:sp>
          <p:nvSpPr>
            <p:cNvPr id="409" name="Freeform 6"/>
            <p:cNvSpPr/>
            <p:nvPr/>
          </p:nvSpPr>
          <p:spPr>
            <a:xfrm>
              <a:off x="466725" y="427037"/>
              <a:ext cx="1368426" cy="698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60" y="9818"/>
                  </a:moveTo>
                  <a:cubicBezTo>
                    <a:pt x="21160" y="8640"/>
                    <a:pt x="21200" y="7855"/>
                    <a:pt x="21280" y="7855"/>
                  </a:cubicBezTo>
                  <a:cubicBezTo>
                    <a:pt x="21380" y="7855"/>
                    <a:pt x="21420" y="8247"/>
                    <a:pt x="21480" y="9818"/>
                  </a:cubicBezTo>
                  <a:cubicBezTo>
                    <a:pt x="21560" y="8640"/>
                    <a:pt x="21560" y="8640"/>
                    <a:pt x="21560" y="8640"/>
                  </a:cubicBezTo>
                  <a:cubicBezTo>
                    <a:pt x="21500" y="7069"/>
                    <a:pt x="21400" y="5891"/>
                    <a:pt x="21300" y="5891"/>
                  </a:cubicBezTo>
                  <a:cubicBezTo>
                    <a:pt x="21160" y="5891"/>
                    <a:pt x="21041" y="7462"/>
                    <a:pt x="21041" y="9818"/>
                  </a:cubicBezTo>
                  <a:cubicBezTo>
                    <a:pt x="21041" y="15316"/>
                    <a:pt x="21500" y="13353"/>
                    <a:pt x="21500" y="17280"/>
                  </a:cubicBezTo>
                  <a:cubicBezTo>
                    <a:pt x="21500" y="18458"/>
                    <a:pt x="21440" y="19636"/>
                    <a:pt x="21320" y="19636"/>
                  </a:cubicBezTo>
                  <a:cubicBezTo>
                    <a:pt x="21220" y="19636"/>
                    <a:pt x="21160" y="18851"/>
                    <a:pt x="21100" y="17673"/>
                  </a:cubicBezTo>
                  <a:cubicBezTo>
                    <a:pt x="21021" y="18851"/>
                    <a:pt x="21021" y="18851"/>
                    <a:pt x="21021" y="18851"/>
                  </a:cubicBezTo>
                  <a:cubicBezTo>
                    <a:pt x="21100" y="20422"/>
                    <a:pt x="21200" y="21600"/>
                    <a:pt x="21320" y="21600"/>
                  </a:cubicBezTo>
                  <a:cubicBezTo>
                    <a:pt x="21460" y="21600"/>
                    <a:pt x="21600" y="20029"/>
                    <a:pt x="21600" y="17280"/>
                  </a:cubicBezTo>
                  <a:cubicBezTo>
                    <a:pt x="21600" y="11389"/>
                    <a:pt x="21160" y="13353"/>
                    <a:pt x="21160" y="9818"/>
                  </a:cubicBezTo>
                  <a:moveTo>
                    <a:pt x="20481" y="9818"/>
                  </a:moveTo>
                  <a:cubicBezTo>
                    <a:pt x="20481" y="8640"/>
                    <a:pt x="20541" y="7855"/>
                    <a:pt x="20621" y="7855"/>
                  </a:cubicBezTo>
                  <a:cubicBezTo>
                    <a:pt x="20721" y="7855"/>
                    <a:pt x="20761" y="8247"/>
                    <a:pt x="20821" y="9818"/>
                  </a:cubicBezTo>
                  <a:cubicBezTo>
                    <a:pt x="20901" y="8640"/>
                    <a:pt x="20901" y="8640"/>
                    <a:pt x="20901" y="8640"/>
                  </a:cubicBezTo>
                  <a:cubicBezTo>
                    <a:pt x="20841" y="7069"/>
                    <a:pt x="20741" y="5891"/>
                    <a:pt x="20641" y="5891"/>
                  </a:cubicBezTo>
                  <a:cubicBezTo>
                    <a:pt x="20481" y="5891"/>
                    <a:pt x="20381" y="7462"/>
                    <a:pt x="20381" y="9818"/>
                  </a:cubicBezTo>
                  <a:cubicBezTo>
                    <a:pt x="20381" y="15316"/>
                    <a:pt x="20821" y="13353"/>
                    <a:pt x="20821" y="17280"/>
                  </a:cubicBezTo>
                  <a:cubicBezTo>
                    <a:pt x="20821" y="18458"/>
                    <a:pt x="20781" y="19636"/>
                    <a:pt x="20661" y="19636"/>
                  </a:cubicBezTo>
                  <a:cubicBezTo>
                    <a:pt x="20561" y="19636"/>
                    <a:pt x="20501" y="18851"/>
                    <a:pt x="20441" y="17673"/>
                  </a:cubicBezTo>
                  <a:cubicBezTo>
                    <a:pt x="20361" y="18851"/>
                    <a:pt x="20361" y="18851"/>
                    <a:pt x="20361" y="18851"/>
                  </a:cubicBezTo>
                  <a:cubicBezTo>
                    <a:pt x="20441" y="20422"/>
                    <a:pt x="20541" y="21600"/>
                    <a:pt x="20661" y="21600"/>
                  </a:cubicBezTo>
                  <a:cubicBezTo>
                    <a:pt x="20801" y="21600"/>
                    <a:pt x="20941" y="20029"/>
                    <a:pt x="20941" y="17280"/>
                  </a:cubicBezTo>
                  <a:cubicBezTo>
                    <a:pt x="20941" y="11389"/>
                    <a:pt x="20481" y="13353"/>
                    <a:pt x="20481" y="9818"/>
                  </a:cubicBezTo>
                  <a:moveTo>
                    <a:pt x="19962" y="7855"/>
                  </a:moveTo>
                  <a:cubicBezTo>
                    <a:pt x="20081" y="7855"/>
                    <a:pt x="20141" y="9425"/>
                    <a:pt x="20141" y="12567"/>
                  </a:cubicBezTo>
                  <a:cubicBezTo>
                    <a:pt x="19742" y="12567"/>
                    <a:pt x="19742" y="12567"/>
                    <a:pt x="19742" y="12567"/>
                  </a:cubicBezTo>
                  <a:cubicBezTo>
                    <a:pt x="19762" y="9425"/>
                    <a:pt x="19822" y="7855"/>
                    <a:pt x="19962" y="7855"/>
                  </a:cubicBezTo>
                  <a:moveTo>
                    <a:pt x="19981" y="19636"/>
                  </a:moveTo>
                  <a:cubicBezTo>
                    <a:pt x="19842" y="19636"/>
                    <a:pt x="19742" y="17673"/>
                    <a:pt x="19742" y="14138"/>
                  </a:cubicBezTo>
                  <a:cubicBezTo>
                    <a:pt x="20241" y="14138"/>
                    <a:pt x="20241" y="14138"/>
                    <a:pt x="20241" y="14138"/>
                  </a:cubicBezTo>
                  <a:cubicBezTo>
                    <a:pt x="20241" y="12960"/>
                    <a:pt x="20241" y="12960"/>
                    <a:pt x="20241" y="12960"/>
                  </a:cubicBezTo>
                  <a:cubicBezTo>
                    <a:pt x="20241" y="7855"/>
                    <a:pt x="20121" y="5891"/>
                    <a:pt x="19962" y="5891"/>
                  </a:cubicBezTo>
                  <a:cubicBezTo>
                    <a:pt x="19762" y="5891"/>
                    <a:pt x="19642" y="9033"/>
                    <a:pt x="19642" y="13745"/>
                  </a:cubicBezTo>
                  <a:cubicBezTo>
                    <a:pt x="19642" y="19244"/>
                    <a:pt x="19802" y="21600"/>
                    <a:pt x="19981" y="21600"/>
                  </a:cubicBezTo>
                  <a:cubicBezTo>
                    <a:pt x="20141" y="21600"/>
                    <a:pt x="20221" y="19636"/>
                    <a:pt x="20261" y="18065"/>
                  </a:cubicBezTo>
                  <a:cubicBezTo>
                    <a:pt x="20181" y="17280"/>
                    <a:pt x="20181" y="17280"/>
                    <a:pt x="20181" y="17280"/>
                  </a:cubicBezTo>
                  <a:cubicBezTo>
                    <a:pt x="20141" y="18851"/>
                    <a:pt x="20061" y="19636"/>
                    <a:pt x="19981" y="19636"/>
                  </a:cubicBezTo>
                  <a:moveTo>
                    <a:pt x="19222" y="5891"/>
                  </a:moveTo>
                  <a:cubicBezTo>
                    <a:pt x="19142" y="5891"/>
                    <a:pt x="19062" y="7069"/>
                    <a:pt x="19002" y="8247"/>
                  </a:cubicBezTo>
                  <a:cubicBezTo>
                    <a:pt x="19002" y="8247"/>
                    <a:pt x="19002" y="8247"/>
                    <a:pt x="19002" y="8247"/>
                  </a:cubicBezTo>
                  <a:cubicBezTo>
                    <a:pt x="19002" y="6284"/>
                    <a:pt x="19002" y="6284"/>
                    <a:pt x="19002" y="6284"/>
                  </a:cubicBezTo>
                  <a:cubicBezTo>
                    <a:pt x="18883" y="6284"/>
                    <a:pt x="18883" y="6284"/>
                    <a:pt x="18883" y="6284"/>
                  </a:cubicBezTo>
                  <a:cubicBezTo>
                    <a:pt x="18883" y="21207"/>
                    <a:pt x="18883" y="21207"/>
                    <a:pt x="18883" y="21207"/>
                  </a:cubicBezTo>
                  <a:cubicBezTo>
                    <a:pt x="19002" y="21207"/>
                    <a:pt x="19002" y="21207"/>
                    <a:pt x="19002" y="21207"/>
                  </a:cubicBezTo>
                  <a:cubicBezTo>
                    <a:pt x="19002" y="10211"/>
                    <a:pt x="19002" y="10211"/>
                    <a:pt x="19002" y="10211"/>
                  </a:cubicBezTo>
                  <a:cubicBezTo>
                    <a:pt x="19042" y="9033"/>
                    <a:pt x="19142" y="7855"/>
                    <a:pt x="19222" y="7855"/>
                  </a:cubicBezTo>
                  <a:cubicBezTo>
                    <a:pt x="19282" y="7855"/>
                    <a:pt x="19342" y="8247"/>
                    <a:pt x="19342" y="10211"/>
                  </a:cubicBezTo>
                  <a:cubicBezTo>
                    <a:pt x="19342" y="21207"/>
                    <a:pt x="19342" y="21207"/>
                    <a:pt x="19342" y="21207"/>
                  </a:cubicBezTo>
                  <a:cubicBezTo>
                    <a:pt x="19442" y="21207"/>
                    <a:pt x="19442" y="21207"/>
                    <a:pt x="19442" y="21207"/>
                  </a:cubicBezTo>
                  <a:cubicBezTo>
                    <a:pt x="19442" y="10211"/>
                    <a:pt x="19442" y="10211"/>
                    <a:pt x="19442" y="10211"/>
                  </a:cubicBezTo>
                  <a:cubicBezTo>
                    <a:pt x="19442" y="7069"/>
                    <a:pt x="19342" y="5891"/>
                    <a:pt x="19222" y="5891"/>
                  </a:cubicBezTo>
                  <a:moveTo>
                    <a:pt x="18503" y="21207"/>
                  </a:moveTo>
                  <a:cubicBezTo>
                    <a:pt x="18603" y="21207"/>
                    <a:pt x="18603" y="21207"/>
                    <a:pt x="18603" y="21207"/>
                  </a:cubicBezTo>
                  <a:cubicBezTo>
                    <a:pt x="18603" y="6284"/>
                    <a:pt x="18603" y="6284"/>
                    <a:pt x="18603" y="6284"/>
                  </a:cubicBezTo>
                  <a:cubicBezTo>
                    <a:pt x="18503" y="6284"/>
                    <a:pt x="18503" y="6284"/>
                    <a:pt x="18503" y="6284"/>
                  </a:cubicBezTo>
                  <a:lnTo>
                    <a:pt x="18503" y="21207"/>
                  </a:lnTo>
                  <a:close/>
                  <a:moveTo>
                    <a:pt x="18503" y="2749"/>
                  </a:moveTo>
                  <a:cubicBezTo>
                    <a:pt x="18603" y="2749"/>
                    <a:pt x="18603" y="2749"/>
                    <a:pt x="18603" y="2749"/>
                  </a:cubicBezTo>
                  <a:cubicBezTo>
                    <a:pt x="18603" y="0"/>
                    <a:pt x="18603" y="0"/>
                    <a:pt x="18603" y="0"/>
                  </a:cubicBezTo>
                  <a:cubicBezTo>
                    <a:pt x="18503" y="0"/>
                    <a:pt x="18503" y="0"/>
                    <a:pt x="18503" y="0"/>
                  </a:cubicBezTo>
                  <a:lnTo>
                    <a:pt x="18503" y="2749"/>
                  </a:lnTo>
                  <a:close/>
                  <a:moveTo>
                    <a:pt x="17843" y="9818"/>
                  </a:moveTo>
                  <a:cubicBezTo>
                    <a:pt x="17843" y="8640"/>
                    <a:pt x="17903" y="7855"/>
                    <a:pt x="17983" y="7855"/>
                  </a:cubicBezTo>
                  <a:cubicBezTo>
                    <a:pt x="18063" y="7855"/>
                    <a:pt x="18123" y="8247"/>
                    <a:pt x="18183" y="9818"/>
                  </a:cubicBezTo>
                  <a:cubicBezTo>
                    <a:pt x="18263" y="8640"/>
                    <a:pt x="18263" y="8640"/>
                    <a:pt x="18263" y="8640"/>
                  </a:cubicBezTo>
                  <a:cubicBezTo>
                    <a:pt x="18203" y="7069"/>
                    <a:pt x="18103" y="5891"/>
                    <a:pt x="18003" y="5891"/>
                  </a:cubicBezTo>
                  <a:cubicBezTo>
                    <a:pt x="17843" y="5891"/>
                    <a:pt x="17744" y="7462"/>
                    <a:pt x="17744" y="9818"/>
                  </a:cubicBezTo>
                  <a:cubicBezTo>
                    <a:pt x="17724" y="15316"/>
                    <a:pt x="18183" y="13353"/>
                    <a:pt x="18183" y="17280"/>
                  </a:cubicBezTo>
                  <a:cubicBezTo>
                    <a:pt x="18183" y="18458"/>
                    <a:pt x="18143" y="19636"/>
                    <a:pt x="18023" y="19636"/>
                  </a:cubicBezTo>
                  <a:cubicBezTo>
                    <a:pt x="17923" y="19636"/>
                    <a:pt x="17843" y="18851"/>
                    <a:pt x="17804" y="17673"/>
                  </a:cubicBezTo>
                  <a:cubicBezTo>
                    <a:pt x="17724" y="18851"/>
                    <a:pt x="17724" y="18851"/>
                    <a:pt x="17724" y="18851"/>
                  </a:cubicBezTo>
                  <a:cubicBezTo>
                    <a:pt x="17784" y="20422"/>
                    <a:pt x="17903" y="21600"/>
                    <a:pt x="18023" y="21600"/>
                  </a:cubicBezTo>
                  <a:cubicBezTo>
                    <a:pt x="18163" y="21600"/>
                    <a:pt x="18283" y="20029"/>
                    <a:pt x="18283" y="17280"/>
                  </a:cubicBezTo>
                  <a:cubicBezTo>
                    <a:pt x="18283" y="11389"/>
                    <a:pt x="17843" y="13353"/>
                    <a:pt x="17843" y="9818"/>
                  </a:cubicBezTo>
                  <a:moveTo>
                    <a:pt x="17444" y="17673"/>
                  </a:moveTo>
                  <a:cubicBezTo>
                    <a:pt x="17384" y="18458"/>
                    <a:pt x="17304" y="19636"/>
                    <a:pt x="17224" y="19636"/>
                  </a:cubicBezTo>
                  <a:cubicBezTo>
                    <a:pt x="17144" y="19636"/>
                    <a:pt x="17104" y="19244"/>
                    <a:pt x="17104" y="17280"/>
                  </a:cubicBezTo>
                  <a:cubicBezTo>
                    <a:pt x="17104" y="6284"/>
                    <a:pt x="17104" y="6284"/>
                    <a:pt x="17104" y="6284"/>
                  </a:cubicBezTo>
                  <a:cubicBezTo>
                    <a:pt x="16984" y="6284"/>
                    <a:pt x="16984" y="6284"/>
                    <a:pt x="16984" y="6284"/>
                  </a:cubicBezTo>
                  <a:cubicBezTo>
                    <a:pt x="16984" y="17280"/>
                    <a:pt x="16984" y="17280"/>
                    <a:pt x="16984" y="17280"/>
                  </a:cubicBezTo>
                  <a:cubicBezTo>
                    <a:pt x="16984" y="20422"/>
                    <a:pt x="17104" y="21600"/>
                    <a:pt x="17204" y="21600"/>
                  </a:cubicBezTo>
                  <a:cubicBezTo>
                    <a:pt x="17304" y="21600"/>
                    <a:pt x="17384" y="20422"/>
                    <a:pt x="17444" y="19244"/>
                  </a:cubicBezTo>
                  <a:cubicBezTo>
                    <a:pt x="17444" y="19244"/>
                    <a:pt x="17444" y="19244"/>
                    <a:pt x="17444" y="19244"/>
                  </a:cubicBezTo>
                  <a:cubicBezTo>
                    <a:pt x="17444" y="21207"/>
                    <a:pt x="17444" y="21207"/>
                    <a:pt x="17444" y="21207"/>
                  </a:cubicBezTo>
                  <a:cubicBezTo>
                    <a:pt x="17544" y="21207"/>
                    <a:pt x="17544" y="21207"/>
                    <a:pt x="17544" y="21207"/>
                  </a:cubicBezTo>
                  <a:cubicBezTo>
                    <a:pt x="17544" y="6284"/>
                    <a:pt x="17544" y="6284"/>
                    <a:pt x="17544" y="6284"/>
                  </a:cubicBezTo>
                  <a:cubicBezTo>
                    <a:pt x="17444" y="6284"/>
                    <a:pt x="17444" y="6284"/>
                    <a:pt x="17444" y="6284"/>
                  </a:cubicBezTo>
                  <a:lnTo>
                    <a:pt x="17444" y="17673"/>
                  </a:lnTo>
                  <a:close/>
                  <a:moveTo>
                    <a:pt x="16465" y="19636"/>
                  </a:moveTo>
                  <a:cubicBezTo>
                    <a:pt x="16385" y="19636"/>
                    <a:pt x="16345" y="19244"/>
                    <a:pt x="16265" y="17673"/>
                  </a:cubicBezTo>
                  <a:cubicBezTo>
                    <a:pt x="16265" y="9818"/>
                    <a:pt x="16265" y="9818"/>
                    <a:pt x="16265" y="9818"/>
                  </a:cubicBezTo>
                  <a:cubicBezTo>
                    <a:pt x="16325" y="8640"/>
                    <a:pt x="16405" y="7855"/>
                    <a:pt x="16465" y="7855"/>
                  </a:cubicBezTo>
                  <a:cubicBezTo>
                    <a:pt x="16585" y="7855"/>
                    <a:pt x="16685" y="9425"/>
                    <a:pt x="16685" y="13745"/>
                  </a:cubicBezTo>
                  <a:cubicBezTo>
                    <a:pt x="16685" y="17673"/>
                    <a:pt x="16585" y="19636"/>
                    <a:pt x="16465" y="19636"/>
                  </a:cubicBezTo>
                  <a:moveTo>
                    <a:pt x="16485" y="5891"/>
                  </a:moveTo>
                  <a:cubicBezTo>
                    <a:pt x="16405" y="5891"/>
                    <a:pt x="16325" y="6676"/>
                    <a:pt x="16265" y="7462"/>
                  </a:cubicBezTo>
                  <a:cubicBezTo>
                    <a:pt x="16265" y="7855"/>
                    <a:pt x="16265" y="7855"/>
                    <a:pt x="16265" y="7855"/>
                  </a:cubicBezTo>
                  <a:cubicBezTo>
                    <a:pt x="16265" y="393"/>
                    <a:pt x="16265" y="393"/>
                    <a:pt x="16265" y="393"/>
                  </a:cubicBezTo>
                  <a:cubicBezTo>
                    <a:pt x="16165" y="393"/>
                    <a:pt x="16165" y="393"/>
                    <a:pt x="16165" y="393"/>
                  </a:cubicBezTo>
                  <a:cubicBezTo>
                    <a:pt x="16165" y="18065"/>
                    <a:pt x="16165" y="18065"/>
                    <a:pt x="16165" y="18065"/>
                  </a:cubicBezTo>
                  <a:cubicBezTo>
                    <a:pt x="16165" y="19244"/>
                    <a:pt x="16165" y="20029"/>
                    <a:pt x="16145" y="21207"/>
                  </a:cubicBezTo>
                  <a:cubicBezTo>
                    <a:pt x="16225" y="21207"/>
                    <a:pt x="16225" y="21207"/>
                    <a:pt x="16225" y="21207"/>
                  </a:cubicBezTo>
                  <a:cubicBezTo>
                    <a:pt x="16245" y="19636"/>
                    <a:pt x="16245" y="19636"/>
                    <a:pt x="16245" y="19636"/>
                  </a:cubicBezTo>
                  <a:cubicBezTo>
                    <a:pt x="16305" y="20815"/>
                    <a:pt x="16385" y="21600"/>
                    <a:pt x="16465" y="21600"/>
                  </a:cubicBezTo>
                  <a:cubicBezTo>
                    <a:pt x="16605" y="21600"/>
                    <a:pt x="16784" y="19636"/>
                    <a:pt x="16784" y="13745"/>
                  </a:cubicBezTo>
                  <a:cubicBezTo>
                    <a:pt x="16784" y="7855"/>
                    <a:pt x="16605" y="5891"/>
                    <a:pt x="16485" y="5891"/>
                  </a:cubicBezTo>
                  <a:moveTo>
                    <a:pt x="15086" y="9818"/>
                  </a:moveTo>
                  <a:cubicBezTo>
                    <a:pt x="15086" y="8640"/>
                    <a:pt x="15126" y="7855"/>
                    <a:pt x="15226" y="7855"/>
                  </a:cubicBezTo>
                  <a:cubicBezTo>
                    <a:pt x="15306" y="7855"/>
                    <a:pt x="15366" y="8247"/>
                    <a:pt x="15426" y="9818"/>
                  </a:cubicBezTo>
                  <a:cubicBezTo>
                    <a:pt x="15486" y="8640"/>
                    <a:pt x="15486" y="8640"/>
                    <a:pt x="15486" y="8640"/>
                  </a:cubicBezTo>
                  <a:cubicBezTo>
                    <a:pt x="15446" y="7069"/>
                    <a:pt x="15326" y="5891"/>
                    <a:pt x="15226" y="5891"/>
                  </a:cubicBezTo>
                  <a:cubicBezTo>
                    <a:pt x="15086" y="5891"/>
                    <a:pt x="14986" y="7462"/>
                    <a:pt x="14966" y="9818"/>
                  </a:cubicBezTo>
                  <a:cubicBezTo>
                    <a:pt x="14966" y="15316"/>
                    <a:pt x="15426" y="13353"/>
                    <a:pt x="15426" y="17280"/>
                  </a:cubicBezTo>
                  <a:cubicBezTo>
                    <a:pt x="15426" y="18458"/>
                    <a:pt x="15366" y="19636"/>
                    <a:pt x="15246" y="19636"/>
                  </a:cubicBezTo>
                  <a:cubicBezTo>
                    <a:pt x="15166" y="19636"/>
                    <a:pt x="15086" y="18851"/>
                    <a:pt x="15026" y="17673"/>
                  </a:cubicBezTo>
                  <a:cubicBezTo>
                    <a:pt x="14946" y="18851"/>
                    <a:pt x="14946" y="18851"/>
                    <a:pt x="14946" y="18851"/>
                  </a:cubicBezTo>
                  <a:cubicBezTo>
                    <a:pt x="15026" y="20422"/>
                    <a:pt x="15146" y="21600"/>
                    <a:pt x="15266" y="21600"/>
                  </a:cubicBezTo>
                  <a:cubicBezTo>
                    <a:pt x="15406" y="21600"/>
                    <a:pt x="15526" y="20029"/>
                    <a:pt x="15526" y="17280"/>
                  </a:cubicBezTo>
                  <a:cubicBezTo>
                    <a:pt x="15526" y="11389"/>
                    <a:pt x="15086" y="13353"/>
                    <a:pt x="15086" y="9818"/>
                  </a:cubicBezTo>
                  <a:moveTo>
                    <a:pt x="14567" y="5891"/>
                  </a:moveTo>
                  <a:cubicBezTo>
                    <a:pt x="14467" y="5891"/>
                    <a:pt x="14387" y="7069"/>
                    <a:pt x="14327" y="8247"/>
                  </a:cubicBezTo>
                  <a:cubicBezTo>
                    <a:pt x="14327" y="8247"/>
                    <a:pt x="14327" y="8247"/>
                    <a:pt x="14327" y="8247"/>
                  </a:cubicBezTo>
                  <a:cubicBezTo>
                    <a:pt x="14327" y="6284"/>
                    <a:pt x="14327" y="6284"/>
                    <a:pt x="14327" y="6284"/>
                  </a:cubicBezTo>
                  <a:cubicBezTo>
                    <a:pt x="14227" y="6284"/>
                    <a:pt x="14227" y="6284"/>
                    <a:pt x="14227" y="6284"/>
                  </a:cubicBezTo>
                  <a:cubicBezTo>
                    <a:pt x="14227" y="21207"/>
                    <a:pt x="14227" y="21207"/>
                    <a:pt x="14227" y="21207"/>
                  </a:cubicBezTo>
                  <a:cubicBezTo>
                    <a:pt x="14327" y="21207"/>
                    <a:pt x="14327" y="21207"/>
                    <a:pt x="14327" y="21207"/>
                  </a:cubicBezTo>
                  <a:cubicBezTo>
                    <a:pt x="14327" y="10211"/>
                    <a:pt x="14327" y="10211"/>
                    <a:pt x="14327" y="10211"/>
                  </a:cubicBezTo>
                  <a:cubicBezTo>
                    <a:pt x="14367" y="9033"/>
                    <a:pt x="14467" y="7855"/>
                    <a:pt x="14547" y="7855"/>
                  </a:cubicBezTo>
                  <a:cubicBezTo>
                    <a:pt x="14626" y="7855"/>
                    <a:pt x="14666" y="8247"/>
                    <a:pt x="14666" y="10211"/>
                  </a:cubicBezTo>
                  <a:cubicBezTo>
                    <a:pt x="14666" y="21207"/>
                    <a:pt x="14666" y="21207"/>
                    <a:pt x="14666" y="21207"/>
                  </a:cubicBezTo>
                  <a:cubicBezTo>
                    <a:pt x="14786" y="21207"/>
                    <a:pt x="14786" y="21207"/>
                    <a:pt x="14786" y="21207"/>
                  </a:cubicBezTo>
                  <a:cubicBezTo>
                    <a:pt x="14786" y="10211"/>
                    <a:pt x="14786" y="10211"/>
                    <a:pt x="14786" y="10211"/>
                  </a:cubicBezTo>
                  <a:cubicBezTo>
                    <a:pt x="14786" y="7069"/>
                    <a:pt x="14666" y="5891"/>
                    <a:pt x="14567" y="5891"/>
                  </a:cubicBezTo>
                  <a:moveTo>
                    <a:pt x="13887" y="17280"/>
                  </a:moveTo>
                  <a:cubicBezTo>
                    <a:pt x="13807" y="18851"/>
                    <a:pt x="13727" y="19636"/>
                    <a:pt x="13647" y="19636"/>
                  </a:cubicBezTo>
                  <a:cubicBezTo>
                    <a:pt x="13587" y="19636"/>
                    <a:pt x="13507" y="18851"/>
                    <a:pt x="13507" y="17673"/>
                  </a:cubicBezTo>
                  <a:cubicBezTo>
                    <a:pt x="13507" y="15316"/>
                    <a:pt x="13627" y="14138"/>
                    <a:pt x="13887" y="13353"/>
                  </a:cubicBezTo>
                  <a:lnTo>
                    <a:pt x="13887" y="17280"/>
                  </a:lnTo>
                  <a:close/>
                  <a:moveTo>
                    <a:pt x="13987" y="10604"/>
                  </a:moveTo>
                  <a:cubicBezTo>
                    <a:pt x="13987" y="7069"/>
                    <a:pt x="13847" y="5891"/>
                    <a:pt x="13727" y="5891"/>
                  </a:cubicBezTo>
                  <a:cubicBezTo>
                    <a:pt x="13567" y="5891"/>
                    <a:pt x="13488" y="7462"/>
                    <a:pt x="13428" y="9033"/>
                  </a:cubicBezTo>
                  <a:cubicBezTo>
                    <a:pt x="13527" y="10211"/>
                    <a:pt x="13527" y="10211"/>
                    <a:pt x="13527" y="10211"/>
                  </a:cubicBezTo>
                  <a:cubicBezTo>
                    <a:pt x="13547" y="9033"/>
                    <a:pt x="13607" y="7855"/>
                    <a:pt x="13727" y="7855"/>
                  </a:cubicBezTo>
                  <a:cubicBezTo>
                    <a:pt x="13807" y="7855"/>
                    <a:pt x="13887" y="8640"/>
                    <a:pt x="13887" y="10604"/>
                  </a:cubicBezTo>
                  <a:cubicBezTo>
                    <a:pt x="13887" y="11389"/>
                    <a:pt x="13887" y="11389"/>
                    <a:pt x="13887" y="11389"/>
                  </a:cubicBezTo>
                  <a:cubicBezTo>
                    <a:pt x="13547" y="12567"/>
                    <a:pt x="13408" y="14138"/>
                    <a:pt x="13408" y="17280"/>
                  </a:cubicBezTo>
                  <a:cubicBezTo>
                    <a:pt x="13408" y="20029"/>
                    <a:pt x="13507" y="21600"/>
                    <a:pt x="13627" y="21600"/>
                  </a:cubicBezTo>
                  <a:cubicBezTo>
                    <a:pt x="13747" y="21600"/>
                    <a:pt x="13827" y="20422"/>
                    <a:pt x="13887" y="19244"/>
                  </a:cubicBezTo>
                  <a:cubicBezTo>
                    <a:pt x="13887" y="21207"/>
                    <a:pt x="13887" y="21207"/>
                    <a:pt x="13887" y="21207"/>
                  </a:cubicBezTo>
                  <a:cubicBezTo>
                    <a:pt x="14007" y="21207"/>
                    <a:pt x="14007" y="21207"/>
                    <a:pt x="14007" y="21207"/>
                  </a:cubicBezTo>
                  <a:cubicBezTo>
                    <a:pt x="13987" y="20422"/>
                    <a:pt x="13987" y="19636"/>
                    <a:pt x="13987" y="18065"/>
                  </a:cubicBezTo>
                  <a:lnTo>
                    <a:pt x="13987" y="10604"/>
                  </a:lnTo>
                  <a:close/>
                  <a:moveTo>
                    <a:pt x="12988" y="7855"/>
                  </a:moveTo>
                  <a:cubicBezTo>
                    <a:pt x="13088" y="7855"/>
                    <a:pt x="13168" y="9425"/>
                    <a:pt x="13168" y="12567"/>
                  </a:cubicBezTo>
                  <a:cubicBezTo>
                    <a:pt x="12768" y="12567"/>
                    <a:pt x="12768" y="12567"/>
                    <a:pt x="12768" y="12567"/>
                  </a:cubicBezTo>
                  <a:cubicBezTo>
                    <a:pt x="12788" y="9425"/>
                    <a:pt x="12848" y="7855"/>
                    <a:pt x="12988" y="7855"/>
                  </a:cubicBezTo>
                  <a:moveTo>
                    <a:pt x="12988" y="19636"/>
                  </a:moveTo>
                  <a:cubicBezTo>
                    <a:pt x="12868" y="19636"/>
                    <a:pt x="12768" y="17673"/>
                    <a:pt x="12768" y="14138"/>
                  </a:cubicBezTo>
                  <a:cubicBezTo>
                    <a:pt x="13268" y="14138"/>
                    <a:pt x="13268" y="14138"/>
                    <a:pt x="13268" y="14138"/>
                  </a:cubicBezTo>
                  <a:cubicBezTo>
                    <a:pt x="13268" y="12960"/>
                    <a:pt x="13268" y="12960"/>
                    <a:pt x="13268" y="12960"/>
                  </a:cubicBezTo>
                  <a:cubicBezTo>
                    <a:pt x="13268" y="7855"/>
                    <a:pt x="13128" y="5891"/>
                    <a:pt x="12968" y="5891"/>
                  </a:cubicBezTo>
                  <a:cubicBezTo>
                    <a:pt x="12788" y="5891"/>
                    <a:pt x="12668" y="9033"/>
                    <a:pt x="12668" y="13745"/>
                  </a:cubicBezTo>
                  <a:cubicBezTo>
                    <a:pt x="12668" y="19244"/>
                    <a:pt x="12828" y="21600"/>
                    <a:pt x="12988" y="21600"/>
                  </a:cubicBezTo>
                  <a:cubicBezTo>
                    <a:pt x="13168" y="21600"/>
                    <a:pt x="13248" y="19636"/>
                    <a:pt x="13288" y="18065"/>
                  </a:cubicBezTo>
                  <a:cubicBezTo>
                    <a:pt x="13208" y="17280"/>
                    <a:pt x="13208" y="17280"/>
                    <a:pt x="13208" y="17280"/>
                  </a:cubicBezTo>
                  <a:cubicBezTo>
                    <a:pt x="13168" y="18851"/>
                    <a:pt x="13088" y="19636"/>
                    <a:pt x="12988" y="19636"/>
                  </a:cubicBezTo>
                  <a:moveTo>
                    <a:pt x="12269" y="5891"/>
                  </a:moveTo>
                  <a:cubicBezTo>
                    <a:pt x="12169" y="5891"/>
                    <a:pt x="12089" y="7069"/>
                    <a:pt x="12029" y="8247"/>
                  </a:cubicBezTo>
                  <a:cubicBezTo>
                    <a:pt x="11989" y="7069"/>
                    <a:pt x="11929" y="5891"/>
                    <a:pt x="11829" y="5891"/>
                  </a:cubicBezTo>
                  <a:cubicBezTo>
                    <a:pt x="11749" y="5891"/>
                    <a:pt x="11669" y="6676"/>
                    <a:pt x="11609" y="8247"/>
                  </a:cubicBezTo>
                  <a:cubicBezTo>
                    <a:pt x="11589" y="8247"/>
                    <a:pt x="11589" y="8247"/>
                    <a:pt x="11589" y="8247"/>
                  </a:cubicBezTo>
                  <a:cubicBezTo>
                    <a:pt x="11589" y="6284"/>
                    <a:pt x="11589" y="6284"/>
                    <a:pt x="11589" y="6284"/>
                  </a:cubicBezTo>
                  <a:cubicBezTo>
                    <a:pt x="11489" y="6284"/>
                    <a:pt x="11489" y="6284"/>
                    <a:pt x="11489" y="6284"/>
                  </a:cubicBezTo>
                  <a:cubicBezTo>
                    <a:pt x="11489" y="21207"/>
                    <a:pt x="11489" y="21207"/>
                    <a:pt x="11489" y="21207"/>
                  </a:cubicBezTo>
                  <a:cubicBezTo>
                    <a:pt x="11589" y="21207"/>
                    <a:pt x="11589" y="21207"/>
                    <a:pt x="11589" y="21207"/>
                  </a:cubicBezTo>
                  <a:cubicBezTo>
                    <a:pt x="11589" y="10211"/>
                    <a:pt x="11589" y="10211"/>
                    <a:pt x="11589" y="10211"/>
                  </a:cubicBezTo>
                  <a:cubicBezTo>
                    <a:pt x="11649" y="9033"/>
                    <a:pt x="11709" y="7855"/>
                    <a:pt x="11809" y="7855"/>
                  </a:cubicBezTo>
                  <a:cubicBezTo>
                    <a:pt x="11889" y="7855"/>
                    <a:pt x="11929" y="8640"/>
                    <a:pt x="11929" y="10604"/>
                  </a:cubicBezTo>
                  <a:cubicBezTo>
                    <a:pt x="11929" y="21207"/>
                    <a:pt x="11929" y="21207"/>
                    <a:pt x="11929" y="21207"/>
                  </a:cubicBezTo>
                  <a:cubicBezTo>
                    <a:pt x="12029" y="21207"/>
                    <a:pt x="12029" y="21207"/>
                    <a:pt x="12029" y="21207"/>
                  </a:cubicBezTo>
                  <a:cubicBezTo>
                    <a:pt x="12029" y="10211"/>
                    <a:pt x="12029" y="10211"/>
                    <a:pt x="12029" y="10211"/>
                  </a:cubicBezTo>
                  <a:cubicBezTo>
                    <a:pt x="12089" y="9033"/>
                    <a:pt x="12149" y="7855"/>
                    <a:pt x="12249" y="7855"/>
                  </a:cubicBezTo>
                  <a:cubicBezTo>
                    <a:pt x="12329" y="7855"/>
                    <a:pt x="12369" y="8640"/>
                    <a:pt x="12369" y="10604"/>
                  </a:cubicBezTo>
                  <a:cubicBezTo>
                    <a:pt x="12369" y="21207"/>
                    <a:pt x="12369" y="21207"/>
                    <a:pt x="12369" y="21207"/>
                  </a:cubicBezTo>
                  <a:cubicBezTo>
                    <a:pt x="12468" y="21207"/>
                    <a:pt x="12468" y="21207"/>
                    <a:pt x="12468" y="21207"/>
                  </a:cubicBezTo>
                  <a:cubicBezTo>
                    <a:pt x="12468" y="10604"/>
                    <a:pt x="12468" y="10604"/>
                    <a:pt x="12468" y="10604"/>
                  </a:cubicBezTo>
                  <a:cubicBezTo>
                    <a:pt x="12468" y="6676"/>
                    <a:pt x="12369" y="5891"/>
                    <a:pt x="12269" y="5891"/>
                  </a:cubicBezTo>
                  <a:moveTo>
                    <a:pt x="10550" y="5891"/>
                  </a:moveTo>
                  <a:cubicBezTo>
                    <a:pt x="10470" y="5891"/>
                    <a:pt x="10390" y="7069"/>
                    <a:pt x="10330" y="8247"/>
                  </a:cubicBezTo>
                  <a:cubicBezTo>
                    <a:pt x="10330" y="8247"/>
                    <a:pt x="10330" y="8247"/>
                    <a:pt x="10330" y="8247"/>
                  </a:cubicBezTo>
                  <a:cubicBezTo>
                    <a:pt x="10330" y="6284"/>
                    <a:pt x="10330" y="6284"/>
                    <a:pt x="10330" y="6284"/>
                  </a:cubicBezTo>
                  <a:cubicBezTo>
                    <a:pt x="10231" y="6284"/>
                    <a:pt x="10231" y="6284"/>
                    <a:pt x="10231" y="6284"/>
                  </a:cubicBezTo>
                  <a:cubicBezTo>
                    <a:pt x="10231" y="21207"/>
                    <a:pt x="10231" y="21207"/>
                    <a:pt x="10231" y="21207"/>
                  </a:cubicBezTo>
                  <a:cubicBezTo>
                    <a:pt x="10330" y="21207"/>
                    <a:pt x="10330" y="21207"/>
                    <a:pt x="10330" y="21207"/>
                  </a:cubicBezTo>
                  <a:cubicBezTo>
                    <a:pt x="10330" y="10211"/>
                    <a:pt x="10330" y="10211"/>
                    <a:pt x="10330" y="10211"/>
                  </a:cubicBezTo>
                  <a:cubicBezTo>
                    <a:pt x="10370" y="9033"/>
                    <a:pt x="10470" y="7855"/>
                    <a:pt x="10550" y="7855"/>
                  </a:cubicBezTo>
                  <a:cubicBezTo>
                    <a:pt x="10630" y="7855"/>
                    <a:pt x="10670" y="8247"/>
                    <a:pt x="10670" y="10211"/>
                  </a:cubicBezTo>
                  <a:cubicBezTo>
                    <a:pt x="10670" y="21207"/>
                    <a:pt x="10670" y="21207"/>
                    <a:pt x="10670" y="21207"/>
                  </a:cubicBezTo>
                  <a:cubicBezTo>
                    <a:pt x="10770" y="21207"/>
                    <a:pt x="10770" y="21207"/>
                    <a:pt x="10770" y="21207"/>
                  </a:cubicBezTo>
                  <a:cubicBezTo>
                    <a:pt x="10770" y="10211"/>
                    <a:pt x="10770" y="10211"/>
                    <a:pt x="10770" y="10211"/>
                  </a:cubicBezTo>
                  <a:cubicBezTo>
                    <a:pt x="10770" y="7069"/>
                    <a:pt x="10670" y="5891"/>
                    <a:pt x="10550" y="5891"/>
                  </a:cubicBezTo>
                  <a:moveTo>
                    <a:pt x="9711" y="19636"/>
                  </a:moveTo>
                  <a:cubicBezTo>
                    <a:pt x="9591" y="19636"/>
                    <a:pt x="9511" y="17673"/>
                    <a:pt x="9511" y="13745"/>
                  </a:cubicBezTo>
                  <a:cubicBezTo>
                    <a:pt x="9511" y="9818"/>
                    <a:pt x="9591" y="7855"/>
                    <a:pt x="9711" y="7855"/>
                  </a:cubicBezTo>
                  <a:cubicBezTo>
                    <a:pt x="9851" y="7855"/>
                    <a:pt x="9931" y="9818"/>
                    <a:pt x="9931" y="13745"/>
                  </a:cubicBezTo>
                  <a:cubicBezTo>
                    <a:pt x="9931" y="17673"/>
                    <a:pt x="9851" y="19636"/>
                    <a:pt x="9711" y="19636"/>
                  </a:cubicBezTo>
                  <a:moveTo>
                    <a:pt x="9711" y="5891"/>
                  </a:moveTo>
                  <a:cubicBezTo>
                    <a:pt x="9511" y="5891"/>
                    <a:pt x="9411" y="9425"/>
                    <a:pt x="9411" y="13745"/>
                  </a:cubicBezTo>
                  <a:cubicBezTo>
                    <a:pt x="9411" y="18065"/>
                    <a:pt x="9511" y="21600"/>
                    <a:pt x="9711" y="21600"/>
                  </a:cubicBezTo>
                  <a:cubicBezTo>
                    <a:pt x="9931" y="21600"/>
                    <a:pt x="10031" y="18065"/>
                    <a:pt x="10031" y="13745"/>
                  </a:cubicBezTo>
                  <a:cubicBezTo>
                    <a:pt x="10031" y="9425"/>
                    <a:pt x="9931" y="5891"/>
                    <a:pt x="9711" y="5891"/>
                  </a:cubicBezTo>
                  <a:moveTo>
                    <a:pt x="9092" y="21207"/>
                  </a:moveTo>
                  <a:cubicBezTo>
                    <a:pt x="9191" y="21207"/>
                    <a:pt x="9191" y="21207"/>
                    <a:pt x="9191" y="21207"/>
                  </a:cubicBezTo>
                  <a:cubicBezTo>
                    <a:pt x="9191" y="6284"/>
                    <a:pt x="9191" y="6284"/>
                    <a:pt x="9191" y="6284"/>
                  </a:cubicBezTo>
                  <a:cubicBezTo>
                    <a:pt x="9092" y="6284"/>
                    <a:pt x="9092" y="6284"/>
                    <a:pt x="9092" y="6284"/>
                  </a:cubicBezTo>
                  <a:lnTo>
                    <a:pt x="9092" y="21207"/>
                  </a:lnTo>
                  <a:close/>
                  <a:moveTo>
                    <a:pt x="9092" y="2749"/>
                  </a:moveTo>
                  <a:cubicBezTo>
                    <a:pt x="9191" y="2749"/>
                    <a:pt x="9191" y="2749"/>
                    <a:pt x="9191" y="2749"/>
                  </a:cubicBezTo>
                  <a:cubicBezTo>
                    <a:pt x="9191" y="0"/>
                    <a:pt x="9191" y="0"/>
                    <a:pt x="9191" y="0"/>
                  </a:cubicBezTo>
                  <a:cubicBezTo>
                    <a:pt x="9092" y="0"/>
                    <a:pt x="9092" y="0"/>
                    <a:pt x="9092" y="0"/>
                  </a:cubicBezTo>
                  <a:lnTo>
                    <a:pt x="9092" y="2749"/>
                  </a:lnTo>
                  <a:close/>
                  <a:moveTo>
                    <a:pt x="8692" y="18851"/>
                  </a:moveTo>
                  <a:cubicBezTo>
                    <a:pt x="8692" y="7855"/>
                    <a:pt x="8692" y="7855"/>
                    <a:pt x="8692" y="7855"/>
                  </a:cubicBezTo>
                  <a:cubicBezTo>
                    <a:pt x="8872" y="7855"/>
                    <a:pt x="8872" y="7855"/>
                    <a:pt x="8872" y="7855"/>
                  </a:cubicBezTo>
                  <a:cubicBezTo>
                    <a:pt x="8872" y="6284"/>
                    <a:pt x="8872" y="6284"/>
                    <a:pt x="8872" y="6284"/>
                  </a:cubicBezTo>
                  <a:cubicBezTo>
                    <a:pt x="8692" y="6284"/>
                    <a:pt x="8692" y="6284"/>
                    <a:pt x="8692" y="6284"/>
                  </a:cubicBezTo>
                  <a:cubicBezTo>
                    <a:pt x="8692" y="1178"/>
                    <a:pt x="8692" y="1178"/>
                    <a:pt x="8692" y="1178"/>
                  </a:cubicBezTo>
                  <a:cubicBezTo>
                    <a:pt x="8592" y="1178"/>
                    <a:pt x="8592" y="1178"/>
                    <a:pt x="8592" y="1178"/>
                  </a:cubicBezTo>
                  <a:cubicBezTo>
                    <a:pt x="8592" y="6284"/>
                    <a:pt x="8592" y="6284"/>
                    <a:pt x="8592" y="6284"/>
                  </a:cubicBezTo>
                  <a:cubicBezTo>
                    <a:pt x="8452" y="6284"/>
                    <a:pt x="8452" y="6284"/>
                    <a:pt x="8452" y="6284"/>
                  </a:cubicBezTo>
                  <a:cubicBezTo>
                    <a:pt x="8452" y="7855"/>
                    <a:pt x="8452" y="7855"/>
                    <a:pt x="8452" y="7855"/>
                  </a:cubicBezTo>
                  <a:cubicBezTo>
                    <a:pt x="8592" y="7855"/>
                    <a:pt x="8592" y="7855"/>
                    <a:pt x="8592" y="7855"/>
                  </a:cubicBezTo>
                  <a:cubicBezTo>
                    <a:pt x="8592" y="19244"/>
                    <a:pt x="8592" y="19244"/>
                    <a:pt x="8592" y="19244"/>
                  </a:cubicBezTo>
                  <a:cubicBezTo>
                    <a:pt x="8592" y="21207"/>
                    <a:pt x="8632" y="21600"/>
                    <a:pt x="8752" y="21600"/>
                  </a:cubicBezTo>
                  <a:cubicBezTo>
                    <a:pt x="8812" y="21600"/>
                    <a:pt x="8852" y="21600"/>
                    <a:pt x="8872" y="21207"/>
                  </a:cubicBezTo>
                  <a:cubicBezTo>
                    <a:pt x="8872" y="19636"/>
                    <a:pt x="8872" y="19636"/>
                    <a:pt x="8872" y="19636"/>
                  </a:cubicBezTo>
                  <a:cubicBezTo>
                    <a:pt x="8852" y="19636"/>
                    <a:pt x="8812" y="19636"/>
                    <a:pt x="8772" y="19636"/>
                  </a:cubicBezTo>
                  <a:cubicBezTo>
                    <a:pt x="8712" y="19636"/>
                    <a:pt x="8692" y="19636"/>
                    <a:pt x="8692" y="18851"/>
                  </a:cubicBezTo>
                  <a:moveTo>
                    <a:pt x="8232" y="17280"/>
                  </a:moveTo>
                  <a:cubicBezTo>
                    <a:pt x="8152" y="18851"/>
                    <a:pt x="8073" y="19636"/>
                    <a:pt x="7993" y="19636"/>
                  </a:cubicBezTo>
                  <a:cubicBezTo>
                    <a:pt x="7933" y="19636"/>
                    <a:pt x="7853" y="18851"/>
                    <a:pt x="7853" y="17673"/>
                  </a:cubicBezTo>
                  <a:cubicBezTo>
                    <a:pt x="7853" y="15316"/>
                    <a:pt x="7973" y="14138"/>
                    <a:pt x="8232" y="13353"/>
                  </a:cubicBezTo>
                  <a:lnTo>
                    <a:pt x="8232" y="17280"/>
                  </a:lnTo>
                  <a:close/>
                  <a:moveTo>
                    <a:pt x="8332" y="10604"/>
                  </a:moveTo>
                  <a:cubicBezTo>
                    <a:pt x="8332" y="7069"/>
                    <a:pt x="8192" y="5891"/>
                    <a:pt x="8073" y="5891"/>
                  </a:cubicBezTo>
                  <a:cubicBezTo>
                    <a:pt x="7913" y="5891"/>
                    <a:pt x="7833" y="7462"/>
                    <a:pt x="7773" y="9033"/>
                  </a:cubicBezTo>
                  <a:cubicBezTo>
                    <a:pt x="7873" y="10211"/>
                    <a:pt x="7873" y="10211"/>
                    <a:pt x="7873" y="10211"/>
                  </a:cubicBezTo>
                  <a:cubicBezTo>
                    <a:pt x="7893" y="9033"/>
                    <a:pt x="7953" y="7855"/>
                    <a:pt x="8073" y="7855"/>
                  </a:cubicBezTo>
                  <a:cubicBezTo>
                    <a:pt x="8152" y="7855"/>
                    <a:pt x="8232" y="8640"/>
                    <a:pt x="8232" y="10604"/>
                  </a:cubicBezTo>
                  <a:cubicBezTo>
                    <a:pt x="8232" y="11389"/>
                    <a:pt x="8232" y="11389"/>
                    <a:pt x="8232" y="11389"/>
                  </a:cubicBezTo>
                  <a:cubicBezTo>
                    <a:pt x="7893" y="12567"/>
                    <a:pt x="7753" y="14138"/>
                    <a:pt x="7753" y="17280"/>
                  </a:cubicBezTo>
                  <a:cubicBezTo>
                    <a:pt x="7753" y="20029"/>
                    <a:pt x="7853" y="21600"/>
                    <a:pt x="7973" y="21600"/>
                  </a:cubicBezTo>
                  <a:cubicBezTo>
                    <a:pt x="8093" y="21600"/>
                    <a:pt x="8172" y="20422"/>
                    <a:pt x="8232" y="19244"/>
                  </a:cubicBezTo>
                  <a:cubicBezTo>
                    <a:pt x="8232" y="21207"/>
                    <a:pt x="8232" y="21207"/>
                    <a:pt x="8232" y="21207"/>
                  </a:cubicBezTo>
                  <a:cubicBezTo>
                    <a:pt x="8352" y="21207"/>
                    <a:pt x="8352" y="21207"/>
                    <a:pt x="8352" y="21207"/>
                  </a:cubicBezTo>
                  <a:cubicBezTo>
                    <a:pt x="8332" y="20422"/>
                    <a:pt x="8332" y="19636"/>
                    <a:pt x="8332" y="18065"/>
                  </a:cubicBezTo>
                  <a:lnTo>
                    <a:pt x="8332" y="10604"/>
                  </a:lnTo>
                  <a:close/>
                  <a:moveTo>
                    <a:pt x="7353" y="18851"/>
                  </a:moveTo>
                  <a:cubicBezTo>
                    <a:pt x="7353" y="18851"/>
                    <a:pt x="7353" y="18851"/>
                    <a:pt x="7353" y="18851"/>
                  </a:cubicBezTo>
                  <a:cubicBezTo>
                    <a:pt x="7173" y="6284"/>
                    <a:pt x="7173" y="6284"/>
                    <a:pt x="7173" y="6284"/>
                  </a:cubicBezTo>
                  <a:cubicBezTo>
                    <a:pt x="7053" y="6284"/>
                    <a:pt x="7053" y="6284"/>
                    <a:pt x="7053" y="6284"/>
                  </a:cubicBezTo>
                  <a:cubicBezTo>
                    <a:pt x="7293" y="21207"/>
                    <a:pt x="7293" y="21207"/>
                    <a:pt x="7293" y="21207"/>
                  </a:cubicBezTo>
                  <a:cubicBezTo>
                    <a:pt x="7433" y="21207"/>
                    <a:pt x="7433" y="21207"/>
                    <a:pt x="7433" y="21207"/>
                  </a:cubicBezTo>
                  <a:cubicBezTo>
                    <a:pt x="7673" y="6284"/>
                    <a:pt x="7673" y="6284"/>
                    <a:pt x="7673" y="6284"/>
                  </a:cubicBezTo>
                  <a:cubicBezTo>
                    <a:pt x="7553" y="6284"/>
                    <a:pt x="7553" y="6284"/>
                    <a:pt x="7553" y="6284"/>
                  </a:cubicBezTo>
                  <a:lnTo>
                    <a:pt x="7353" y="18851"/>
                  </a:lnTo>
                  <a:close/>
                  <a:moveTo>
                    <a:pt x="6654" y="19636"/>
                  </a:moveTo>
                  <a:cubicBezTo>
                    <a:pt x="6534" y="19636"/>
                    <a:pt x="6454" y="17673"/>
                    <a:pt x="6454" y="13745"/>
                  </a:cubicBezTo>
                  <a:cubicBezTo>
                    <a:pt x="6454" y="9818"/>
                    <a:pt x="6534" y="7855"/>
                    <a:pt x="6654" y="7855"/>
                  </a:cubicBezTo>
                  <a:cubicBezTo>
                    <a:pt x="6794" y="7855"/>
                    <a:pt x="6874" y="9818"/>
                    <a:pt x="6874" y="13745"/>
                  </a:cubicBezTo>
                  <a:cubicBezTo>
                    <a:pt x="6874" y="17673"/>
                    <a:pt x="6794" y="19636"/>
                    <a:pt x="6654" y="19636"/>
                  </a:cubicBezTo>
                  <a:moveTo>
                    <a:pt x="6654" y="5891"/>
                  </a:moveTo>
                  <a:cubicBezTo>
                    <a:pt x="6454" y="5891"/>
                    <a:pt x="6354" y="9425"/>
                    <a:pt x="6354" y="13745"/>
                  </a:cubicBezTo>
                  <a:cubicBezTo>
                    <a:pt x="6354" y="18065"/>
                    <a:pt x="6454" y="21600"/>
                    <a:pt x="6654" y="21600"/>
                  </a:cubicBezTo>
                  <a:cubicBezTo>
                    <a:pt x="6874" y="21600"/>
                    <a:pt x="6974" y="18065"/>
                    <a:pt x="6974" y="13745"/>
                  </a:cubicBezTo>
                  <a:cubicBezTo>
                    <a:pt x="6974" y="9425"/>
                    <a:pt x="6874" y="5891"/>
                    <a:pt x="6654" y="5891"/>
                  </a:cubicBezTo>
                  <a:moveTo>
                    <a:pt x="5935" y="5891"/>
                  </a:moveTo>
                  <a:cubicBezTo>
                    <a:pt x="5855" y="5891"/>
                    <a:pt x="5775" y="7069"/>
                    <a:pt x="5715" y="8247"/>
                  </a:cubicBezTo>
                  <a:cubicBezTo>
                    <a:pt x="5695" y="8247"/>
                    <a:pt x="5695" y="8247"/>
                    <a:pt x="5695" y="8247"/>
                  </a:cubicBezTo>
                  <a:cubicBezTo>
                    <a:pt x="5695" y="6284"/>
                    <a:pt x="5695" y="6284"/>
                    <a:pt x="5695" y="6284"/>
                  </a:cubicBezTo>
                  <a:cubicBezTo>
                    <a:pt x="5595" y="6284"/>
                    <a:pt x="5595" y="6284"/>
                    <a:pt x="5595" y="6284"/>
                  </a:cubicBezTo>
                  <a:cubicBezTo>
                    <a:pt x="5595" y="21207"/>
                    <a:pt x="5595" y="21207"/>
                    <a:pt x="5595" y="21207"/>
                  </a:cubicBezTo>
                  <a:cubicBezTo>
                    <a:pt x="5695" y="21207"/>
                    <a:pt x="5695" y="21207"/>
                    <a:pt x="5695" y="21207"/>
                  </a:cubicBezTo>
                  <a:cubicBezTo>
                    <a:pt x="5695" y="10211"/>
                    <a:pt x="5695" y="10211"/>
                    <a:pt x="5695" y="10211"/>
                  </a:cubicBezTo>
                  <a:cubicBezTo>
                    <a:pt x="5755" y="9033"/>
                    <a:pt x="5835" y="7855"/>
                    <a:pt x="5915" y="7855"/>
                  </a:cubicBezTo>
                  <a:cubicBezTo>
                    <a:pt x="5994" y="7855"/>
                    <a:pt x="6054" y="8247"/>
                    <a:pt x="6054" y="10211"/>
                  </a:cubicBezTo>
                  <a:cubicBezTo>
                    <a:pt x="6054" y="21207"/>
                    <a:pt x="6054" y="21207"/>
                    <a:pt x="6054" y="21207"/>
                  </a:cubicBezTo>
                  <a:cubicBezTo>
                    <a:pt x="6154" y="21207"/>
                    <a:pt x="6154" y="21207"/>
                    <a:pt x="6154" y="21207"/>
                  </a:cubicBezTo>
                  <a:cubicBezTo>
                    <a:pt x="6154" y="10211"/>
                    <a:pt x="6154" y="10211"/>
                    <a:pt x="6154" y="10211"/>
                  </a:cubicBezTo>
                  <a:cubicBezTo>
                    <a:pt x="6154" y="7069"/>
                    <a:pt x="6054" y="5891"/>
                    <a:pt x="5935" y="5891"/>
                  </a:cubicBezTo>
                  <a:moveTo>
                    <a:pt x="5115" y="5891"/>
                  </a:moveTo>
                  <a:cubicBezTo>
                    <a:pt x="5015" y="5891"/>
                    <a:pt x="4935" y="7069"/>
                    <a:pt x="4875" y="8247"/>
                  </a:cubicBezTo>
                  <a:cubicBezTo>
                    <a:pt x="4875" y="8247"/>
                    <a:pt x="4875" y="8247"/>
                    <a:pt x="4875" y="8247"/>
                  </a:cubicBezTo>
                  <a:cubicBezTo>
                    <a:pt x="4875" y="6284"/>
                    <a:pt x="4875" y="6284"/>
                    <a:pt x="4875" y="6284"/>
                  </a:cubicBezTo>
                  <a:cubicBezTo>
                    <a:pt x="4776" y="6284"/>
                    <a:pt x="4776" y="6284"/>
                    <a:pt x="4776" y="6284"/>
                  </a:cubicBezTo>
                  <a:cubicBezTo>
                    <a:pt x="4776" y="21207"/>
                    <a:pt x="4776" y="21207"/>
                    <a:pt x="4776" y="21207"/>
                  </a:cubicBezTo>
                  <a:cubicBezTo>
                    <a:pt x="4875" y="21207"/>
                    <a:pt x="4875" y="21207"/>
                    <a:pt x="4875" y="21207"/>
                  </a:cubicBezTo>
                  <a:cubicBezTo>
                    <a:pt x="4875" y="10211"/>
                    <a:pt x="4875" y="10211"/>
                    <a:pt x="4875" y="10211"/>
                  </a:cubicBezTo>
                  <a:cubicBezTo>
                    <a:pt x="4915" y="9033"/>
                    <a:pt x="5015" y="7855"/>
                    <a:pt x="5095" y="7855"/>
                  </a:cubicBezTo>
                  <a:cubicBezTo>
                    <a:pt x="5175" y="7855"/>
                    <a:pt x="5215" y="8247"/>
                    <a:pt x="5215" y="10211"/>
                  </a:cubicBezTo>
                  <a:cubicBezTo>
                    <a:pt x="5215" y="21207"/>
                    <a:pt x="5215" y="21207"/>
                    <a:pt x="5215" y="21207"/>
                  </a:cubicBezTo>
                  <a:cubicBezTo>
                    <a:pt x="5335" y="21207"/>
                    <a:pt x="5335" y="21207"/>
                    <a:pt x="5335" y="21207"/>
                  </a:cubicBezTo>
                  <a:cubicBezTo>
                    <a:pt x="5335" y="10211"/>
                    <a:pt x="5335" y="10211"/>
                    <a:pt x="5335" y="10211"/>
                  </a:cubicBezTo>
                  <a:cubicBezTo>
                    <a:pt x="5335" y="7069"/>
                    <a:pt x="5215" y="5891"/>
                    <a:pt x="5115" y="5891"/>
                  </a:cubicBezTo>
                  <a:moveTo>
                    <a:pt x="4376" y="2749"/>
                  </a:moveTo>
                  <a:cubicBezTo>
                    <a:pt x="4476" y="2749"/>
                    <a:pt x="4476" y="2749"/>
                    <a:pt x="4476" y="2749"/>
                  </a:cubicBezTo>
                  <a:cubicBezTo>
                    <a:pt x="4476" y="0"/>
                    <a:pt x="4476" y="0"/>
                    <a:pt x="4476" y="0"/>
                  </a:cubicBezTo>
                  <a:cubicBezTo>
                    <a:pt x="4376" y="0"/>
                    <a:pt x="4376" y="0"/>
                    <a:pt x="4376" y="0"/>
                  </a:cubicBezTo>
                  <a:lnTo>
                    <a:pt x="4376" y="2749"/>
                  </a:lnTo>
                  <a:close/>
                  <a:moveTo>
                    <a:pt x="4376" y="21207"/>
                  </a:moveTo>
                  <a:cubicBezTo>
                    <a:pt x="4476" y="21207"/>
                    <a:pt x="4476" y="21207"/>
                    <a:pt x="4476" y="21207"/>
                  </a:cubicBezTo>
                  <a:cubicBezTo>
                    <a:pt x="4476" y="6284"/>
                    <a:pt x="4476" y="6284"/>
                    <a:pt x="4476" y="6284"/>
                  </a:cubicBezTo>
                  <a:cubicBezTo>
                    <a:pt x="4376" y="6284"/>
                    <a:pt x="4376" y="6284"/>
                    <a:pt x="4376" y="6284"/>
                  </a:cubicBezTo>
                  <a:lnTo>
                    <a:pt x="4376" y="21207"/>
                  </a:lnTo>
                  <a:close/>
                  <a:moveTo>
                    <a:pt x="3397" y="7855"/>
                  </a:moveTo>
                  <a:cubicBezTo>
                    <a:pt x="3517" y="7855"/>
                    <a:pt x="3577" y="9425"/>
                    <a:pt x="3577" y="12567"/>
                  </a:cubicBezTo>
                  <a:cubicBezTo>
                    <a:pt x="3197" y="12567"/>
                    <a:pt x="3197" y="12567"/>
                    <a:pt x="3197" y="12567"/>
                  </a:cubicBezTo>
                  <a:cubicBezTo>
                    <a:pt x="3197" y="9425"/>
                    <a:pt x="3277" y="7855"/>
                    <a:pt x="3397" y="7855"/>
                  </a:cubicBezTo>
                  <a:moveTo>
                    <a:pt x="3417" y="19636"/>
                  </a:moveTo>
                  <a:cubicBezTo>
                    <a:pt x="3297" y="19636"/>
                    <a:pt x="3197" y="17673"/>
                    <a:pt x="3197" y="14138"/>
                  </a:cubicBezTo>
                  <a:cubicBezTo>
                    <a:pt x="3697" y="14138"/>
                    <a:pt x="3697" y="14138"/>
                    <a:pt x="3697" y="14138"/>
                  </a:cubicBezTo>
                  <a:cubicBezTo>
                    <a:pt x="3697" y="12960"/>
                    <a:pt x="3697" y="12960"/>
                    <a:pt x="3697" y="12960"/>
                  </a:cubicBezTo>
                  <a:cubicBezTo>
                    <a:pt x="3697" y="7855"/>
                    <a:pt x="3557" y="5891"/>
                    <a:pt x="3397" y="5891"/>
                  </a:cubicBezTo>
                  <a:cubicBezTo>
                    <a:pt x="3217" y="5891"/>
                    <a:pt x="3077" y="9033"/>
                    <a:pt x="3077" y="13745"/>
                  </a:cubicBezTo>
                  <a:cubicBezTo>
                    <a:pt x="3077" y="19244"/>
                    <a:pt x="3257" y="21600"/>
                    <a:pt x="3417" y="21600"/>
                  </a:cubicBezTo>
                  <a:cubicBezTo>
                    <a:pt x="3597" y="21600"/>
                    <a:pt x="3657" y="19636"/>
                    <a:pt x="3717" y="18065"/>
                  </a:cubicBezTo>
                  <a:cubicBezTo>
                    <a:pt x="3637" y="17280"/>
                    <a:pt x="3637" y="17280"/>
                    <a:pt x="3637" y="17280"/>
                  </a:cubicBezTo>
                  <a:cubicBezTo>
                    <a:pt x="3597" y="18851"/>
                    <a:pt x="3517" y="19636"/>
                    <a:pt x="3417" y="19636"/>
                  </a:cubicBezTo>
                  <a:moveTo>
                    <a:pt x="2737" y="9033"/>
                  </a:moveTo>
                  <a:cubicBezTo>
                    <a:pt x="2737" y="9033"/>
                    <a:pt x="2737" y="9033"/>
                    <a:pt x="2737" y="9033"/>
                  </a:cubicBezTo>
                  <a:cubicBezTo>
                    <a:pt x="2737" y="6284"/>
                    <a:pt x="2737" y="6284"/>
                    <a:pt x="2737" y="6284"/>
                  </a:cubicBezTo>
                  <a:cubicBezTo>
                    <a:pt x="2638" y="6284"/>
                    <a:pt x="2638" y="6284"/>
                    <a:pt x="2638" y="6284"/>
                  </a:cubicBezTo>
                  <a:cubicBezTo>
                    <a:pt x="2638" y="21207"/>
                    <a:pt x="2638" y="21207"/>
                    <a:pt x="2638" y="21207"/>
                  </a:cubicBezTo>
                  <a:cubicBezTo>
                    <a:pt x="2737" y="21207"/>
                    <a:pt x="2737" y="21207"/>
                    <a:pt x="2737" y="21207"/>
                  </a:cubicBezTo>
                  <a:cubicBezTo>
                    <a:pt x="2737" y="12960"/>
                    <a:pt x="2737" y="12960"/>
                    <a:pt x="2737" y="12960"/>
                  </a:cubicBezTo>
                  <a:cubicBezTo>
                    <a:pt x="2797" y="9818"/>
                    <a:pt x="2857" y="8247"/>
                    <a:pt x="2997" y="8247"/>
                  </a:cubicBezTo>
                  <a:cubicBezTo>
                    <a:pt x="2997" y="5891"/>
                    <a:pt x="2997" y="5891"/>
                    <a:pt x="2997" y="5891"/>
                  </a:cubicBezTo>
                  <a:cubicBezTo>
                    <a:pt x="2857" y="5891"/>
                    <a:pt x="2797" y="7069"/>
                    <a:pt x="2737" y="9033"/>
                  </a:cubicBezTo>
                  <a:moveTo>
                    <a:pt x="2158" y="7855"/>
                  </a:moveTo>
                  <a:cubicBezTo>
                    <a:pt x="2278" y="7855"/>
                    <a:pt x="2338" y="9425"/>
                    <a:pt x="2338" y="12567"/>
                  </a:cubicBezTo>
                  <a:cubicBezTo>
                    <a:pt x="1958" y="12567"/>
                    <a:pt x="1958" y="12567"/>
                    <a:pt x="1958" y="12567"/>
                  </a:cubicBezTo>
                  <a:cubicBezTo>
                    <a:pt x="1958" y="9425"/>
                    <a:pt x="2038" y="7855"/>
                    <a:pt x="2158" y="7855"/>
                  </a:cubicBezTo>
                  <a:moveTo>
                    <a:pt x="2178" y="19636"/>
                  </a:moveTo>
                  <a:cubicBezTo>
                    <a:pt x="2058" y="19636"/>
                    <a:pt x="1958" y="17673"/>
                    <a:pt x="1958" y="14138"/>
                  </a:cubicBezTo>
                  <a:cubicBezTo>
                    <a:pt x="2458" y="14138"/>
                    <a:pt x="2458" y="14138"/>
                    <a:pt x="2458" y="14138"/>
                  </a:cubicBezTo>
                  <a:cubicBezTo>
                    <a:pt x="2458" y="12960"/>
                    <a:pt x="2458" y="12960"/>
                    <a:pt x="2458" y="12960"/>
                  </a:cubicBezTo>
                  <a:cubicBezTo>
                    <a:pt x="2458" y="7855"/>
                    <a:pt x="2318" y="5891"/>
                    <a:pt x="2158" y="5891"/>
                  </a:cubicBezTo>
                  <a:cubicBezTo>
                    <a:pt x="1978" y="5891"/>
                    <a:pt x="1838" y="9033"/>
                    <a:pt x="1838" y="13745"/>
                  </a:cubicBezTo>
                  <a:cubicBezTo>
                    <a:pt x="1838" y="19244"/>
                    <a:pt x="2018" y="21600"/>
                    <a:pt x="2178" y="21600"/>
                  </a:cubicBezTo>
                  <a:cubicBezTo>
                    <a:pt x="2358" y="21600"/>
                    <a:pt x="2418" y="19636"/>
                    <a:pt x="2478" y="18065"/>
                  </a:cubicBezTo>
                  <a:cubicBezTo>
                    <a:pt x="2398" y="17280"/>
                    <a:pt x="2398" y="17280"/>
                    <a:pt x="2398" y="17280"/>
                  </a:cubicBezTo>
                  <a:cubicBezTo>
                    <a:pt x="2358" y="18851"/>
                    <a:pt x="2278" y="19636"/>
                    <a:pt x="2178" y="19636"/>
                  </a:cubicBezTo>
                  <a:moveTo>
                    <a:pt x="1439" y="5891"/>
                  </a:moveTo>
                  <a:cubicBezTo>
                    <a:pt x="1339" y="5891"/>
                    <a:pt x="1259" y="7069"/>
                    <a:pt x="1199" y="8247"/>
                  </a:cubicBezTo>
                  <a:cubicBezTo>
                    <a:pt x="1199" y="8247"/>
                    <a:pt x="1199" y="8247"/>
                    <a:pt x="1199" y="8247"/>
                  </a:cubicBezTo>
                  <a:cubicBezTo>
                    <a:pt x="1199" y="393"/>
                    <a:pt x="1199" y="393"/>
                    <a:pt x="1199" y="393"/>
                  </a:cubicBezTo>
                  <a:cubicBezTo>
                    <a:pt x="1099" y="393"/>
                    <a:pt x="1099" y="393"/>
                    <a:pt x="1099" y="393"/>
                  </a:cubicBezTo>
                  <a:cubicBezTo>
                    <a:pt x="1099" y="21207"/>
                    <a:pt x="1099" y="21207"/>
                    <a:pt x="1099" y="21207"/>
                  </a:cubicBezTo>
                  <a:cubicBezTo>
                    <a:pt x="1199" y="21207"/>
                    <a:pt x="1199" y="21207"/>
                    <a:pt x="1199" y="21207"/>
                  </a:cubicBezTo>
                  <a:cubicBezTo>
                    <a:pt x="1199" y="10211"/>
                    <a:pt x="1199" y="10211"/>
                    <a:pt x="1199" y="10211"/>
                  </a:cubicBezTo>
                  <a:cubicBezTo>
                    <a:pt x="1239" y="9033"/>
                    <a:pt x="1339" y="7855"/>
                    <a:pt x="1419" y="7855"/>
                  </a:cubicBezTo>
                  <a:cubicBezTo>
                    <a:pt x="1499" y="7855"/>
                    <a:pt x="1539" y="8247"/>
                    <a:pt x="1539" y="10211"/>
                  </a:cubicBezTo>
                  <a:cubicBezTo>
                    <a:pt x="1539" y="21207"/>
                    <a:pt x="1539" y="21207"/>
                    <a:pt x="1539" y="21207"/>
                  </a:cubicBezTo>
                  <a:cubicBezTo>
                    <a:pt x="1658" y="21207"/>
                    <a:pt x="1658" y="21207"/>
                    <a:pt x="1658" y="21207"/>
                  </a:cubicBezTo>
                  <a:cubicBezTo>
                    <a:pt x="1658" y="10211"/>
                    <a:pt x="1658" y="10211"/>
                    <a:pt x="1658" y="10211"/>
                  </a:cubicBezTo>
                  <a:cubicBezTo>
                    <a:pt x="1658" y="7069"/>
                    <a:pt x="1539" y="5891"/>
                    <a:pt x="1439" y="5891"/>
                  </a:cubicBezTo>
                  <a:moveTo>
                    <a:pt x="679" y="18065"/>
                  </a:moveTo>
                  <a:cubicBezTo>
                    <a:pt x="679" y="18065"/>
                    <a:pt x="679" y="18065"/>
                    <a:pt x="679" y="18065"/>
                  </a:cubicBezTo>
                  <a:cubicBezTo>
                    <a:pt x="520" y="6284"/>
                    <a:pt x="520" y="6284"/>
                    <a:pt x="520" y="6284"/>
                  </a:cubicBezTo>
                  <a:cubicBezTo>
                    <a:pt x="420" y="6284"/>
                    <a:pt x="420" y="6284"/>
                    <a:pt x="420" y="6284"/>
                  </a:cubicBezTo>
                  <a:cubicBezTo>
                    <a:pt x="260" y="17673"/>
                    <a:pt x="260" y="17673"/>
                    <a:pt x="260" y="17673"/>
                  </a:cubicBezTo>
                  <a:cubicBezTo>
                    <a:pt x="260" y="17673"/>
                    <a:pt x="260" y="17673"/>
                    <a:pt x="260" y="17673"/>
                  </a:cubicBezTo>
                  <a:cubicBezTo>
                    <a:pt x="100" y="6284"/>
                    <a:pt x="100" y="6284"/>
                    <a:pt x="100" y="6284"/>
                  </a:cubicBezTo>
                  <a:cubicBezTo>
                    <a:pt x="0" y="6284"/>
                    <a:pt x="0" y="6284"/>
                    <a:pt x="0" y="6284"/>
                  </a:cubicBezTo>
                  <a:cubicBezTo>
                    <a:pt x="200" y="21207"/>
                    <a:pt x="200" y="21207"/>
                    <a:pt x="200" y="21207"/>
                  </a:cubicBezTo>
                  <a:cubicBezTo>
                    <a:pt x="320" y="21207"/>
                    <a:pt x="320" y="21207"/>
                    <a:pt x="320" y="21207"/>
                  </a:cubicBezTo>
                  <a:cubicBezTo>
                    <a:pt x="460" y="9818"/>
                    <a:pt x="460" y="9818"/>
                    <a:pt x="460" y="9818"/>
                  </a:cubicBezTo>
                  <a:cubicBezTo>
                    <a:pt x="460" y="9818"/>
                    <a:pt x="460" y="9818"/>
                    <a:pt x="460" y="9818"/>
                  </a:cubicBezTo>
                  <a:cubicBezTo>
                    <a:pt x="619" y="21207"/>
                    <a:pt x="619" y="21207"/>
                    <a:pt x="619" y="21207"/>
                  </a:cubicBezTo>
                  <a:cubicBezTo>
                    <a:pt x="719" y="21207"/>
                    <a:pt x="719" y="21207"/>
                    <a:pt x="719" y="21207"/>
                  </a:cubicBezTo>
                  <a:cubicBezTo>
                    <a:pt x="939" y="6284"/>
                    <a:pt x="939" y="6284"/>
                    <a:pt x="939" y="6284"/>
                  </a:cubicBezTo>
                  <a:cubicBezTo>
                    <a:pt x="819" y="6284"/>
                    <a:pt x="819" y="6284"/>
                    <a:pt x="819" y="6284"/>
                  </a:cubicBezTo>
                  <a:lnTo>
                    <a:pt x="679" y="18065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  <p:sp>
          <p:nvSpPr>
            <p:cNvPr id="410" name="Freeform 7"/>
            <p:cNvSpPr/>
            <p:nvPr/>
          </p:nvSpPr>
          <p:spPr>
            <a:xfrm>
              <a:off x="-1" y="82549"/>
              <a:ext cx="363539" cy="3032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095" y="5445"/>
                  </a:moveTo>
                  <a:cubicBezTo>
                    <a:pt x="20020" y="5445"/>
                    <a:pt x="20020" y="5445"/>
                    <a:pt x="20020" y="5445"/>
                  </a:cubicBezTo>
                  <a:cubicBezTo>
                    <a:pt x="19192" y="5445"/>
                    <a:pt x="18514" y="6353"/>
                    <a:pt x="18514" y="7351"/>
                  </a:cubicBezTo>
                  <a:cubicBezTo>
                    <a:pt x="18514" y="13160"/>
                    <a:pt x="14601" y="17879"/>
                    <a:pt x="9784" y="17879"/>
                  </a:cubicBezTo>
                  <a:cubicBezTo>
                    <a:pt x="6096" y="17879"/>
                    <a:pt x="3086" y="14249"/>
                    <a:pt x="3086" y="9802"/>
                  </a:cubicBezTo>
                  <a:cubicBezTo>
                    <a:pt x="3086" y="6444"/>
                    <a:pt x="5344" y="3721"/>
                    <a:pt x="8128" y="3721"/>
                  </a:cubicBezTo>
                  <a:cubicBezTo>
                    <a:pt x="10236" y="3721"/>
                    <a:pt x="11891" y="5718"/>
                    <a:pt x="11891" y="8168"/>
                  </a:cubicBezTo>
                  <a:cubicBezTo>
                    <a:pt x="11891" y="8440"/>
                    <a:pt x="11816" y="8531"/>
                    <a:pt x="11816" y="8622"/>
                  </a:cubicBezTo>
                  <a:cubicBezTo>
                    <a:pt x="11666" y="8713"/>
                    <a:pt x="11214" y="8713"/>
                    <a:pt x="10762" y="8713"/>
                  </a:cubicBezTo>
                  <a:cubicBezTo>
                    <a:pt x="10537" y="8713"/>
                    <a:pt x="10311" y="8713"/>
                    <a:pt x="10085" y="8713"/>
                  </a:cubicBezTo>
                  <a:cubicBezTo>
                    <a:pt x="9784" y="8713"/>
                    <a:pt x="9483" y="8713"/>
                    <a:pt x="9182" y="8713"/>
                  </a:cubicBezTo>
                  <a:cubicBezTo>
                    <a:pt x="8354" y="8713"/>
                    <a:pt x="7677" y="9529"/>
                    <a:pt x="7677" y="10528"/>
                  </a:cubicBezTo>
                  <a:cubicBezTo>
                    <a:pt x="7677" y="10528"/>
                    <a:pt x="7677" y="10528"/>
                    <a:pt x="7677" y="10528"/>
                  </a:cubicBezTo>
                  <a:cubicBezTo>
                    <a:pt x="7677" y="11526"/>
                    <a:pt x="8354" y="12434"/>
                    <a:pt x="9182" y="12434"/>
                  </a:cubicBezTo>
                  <a:cubicBezTo>
                    <a:pt x="9483" y="12434"/>
                    <a:pt x="9784" y="12434"/>
                    <a:pt x="10010" y="12434"/>
                  </a:cubicBezTo>
                  <a:cubicBezTo>
                    <a:pt x="10311" y="12434"/>
                    <a:pt x="10537" y="12434"/>
                    <a:pt x="10838" y="12434"/>
                  </a:cubicBezTo>
                  <a:cubicBezTo>
                    <a:pt x="12042" y="12434"/>
                    <a:pt x="13171" y="12252"/>
                    <a:pt x="13999" y="11254"/>
                  </a:cubicBezTo>
                  <a:cubicBezTo>
                    <a:pt x="14601" y="10528"/>
                    <a:pt x="14977" y="9529"/>
                    <a:pt x="14977" y="8168"/>
                  </a:cubicBezTo>
                  <a:cubicBezTo>
                    <a:pt x="14977" y="3721"/>
                    <a:pt x="11891" y="0"/>
                    <a:pt x="8128" y="0"/>
                  </a:cubicBezTo>
                  <a:cubicBezTo>
                    <a:pt x="3688" y="0"/>
                    <a:pt x="0" y="4447"/>
                    <a:pt x="0" y="9802"/>
                  </a:cubicBezTo>
                  <a:cubicBezTo>
                    <a:pt x="0" y="16245"/>
                    <a:pt x="4440" y="21600"/>
                    <a:pt x="9784" y="21600"/>
                  </a:cubicBezTo>
                  <a:cubicBezTo>
                    <a:pt x="16256" y="21600"/>
                    <a:pt x="21600" y="15156"/>
                    <a:pt x="21600" y="7351"/>
                  </a:cubicBezTo>
                  <a:cubicBezTo>
                    <a:pt x="21600" y="6353"/>
                    <a:pt x="20923" y="5445"/>
                    <a:pt x="20095" y="5445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  <p:sp>
          <p:nvSpPr>
            <p:cNvPr id="411" name="Freeform 8"/>
            <p:cNvSpPr/>
            <p:nvPr/>
          </p:nvSpPr>
          <p:spPr>
            <a:xfrm>
              <a:off x="295275" y="-1"/>
              <a:ext cx="85726" cy="873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5247"/>
                  </a:moveTo>
                  <a:cubicBezTo>
                    <a:pt x="8259" y="15247"/>
                    <a:pt x="6353" y="13341"/>
                    <a:pt x="6353" y="10800"/>
                  </a:cubicBezTo>
                  <a:cubicBezTo>
                    <a:pt x="6353" y="8576"/>
                    <a:pt x="8259" y="6671"/>
                    <a:pt x="10800" y="6671"/>
                  </a:cubicBezTo>
                  <a:cubicBezTo>
                    <a:pt x="13024" y="6671"/>
                    <a:pt x="14929" y="8576"/>
                    <a:pt x="14929" y="10800"/>
                  </a:cubicBezTo>
                  <a:cubicBezTo>
                    <a:pt x="14929" y="13341"/>
                    <a:pt x="13024" y="15247"/>
                    <a:pt x="10800" y="15247"/>
                  </a:cubicBezTo>
                  <a:moveTo>
                    <a:pt x="10800" y="0"/>
                  </a:moveTo>
                  <a:cubicBezTo>
                    <a:pt x="10800" y="0"/>
                    <a:pt x="10800" y="0"/>
                    <a:pt x="10800" y="0"/>
                  </a:cubicBezTo>
                  <a:cubicBezTo>
                    <a:pt x="4765" y="0"/>
                    <a:pt x="0" y="4765"/>
                    <a:pt x="0" y="10800"/>
                  </a:cubicBezTo>
                  <a:cubicBezTo>
                    <a:pt x="0" y="16835"/>
                    <a:pt x="4765" y="21600"/>
                    <a:pt x="10800" y="21600"/>
                  </a:cubicBezTo>
                  <a:cubicBezTo>
                    <a:pt x="16835" y="21600"/>
                    <a:pt x="21600" y="16835"/>
                    <a:pt x="21600" y="10800"/>
                  </a:cubicBezTo>
                  <a:cubicBezTo>
                    <a:pt x="21600" y="4765"/>
                    <a:pt x="16835" y="0"/>
                    <a:pt x="10800" y="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</p:grpSp>
      <p:sp>
        <p:nvSpPr>
          <p:cNvPr id="413" name="Title Text"/>
          <p:cNvSpPr txBox="1">
            <a:spLocks noGrp="1"/>
          </p:cNvSpPr>
          <p:nvPr>
            <p:ph type="title"/>
          </p:nvPr>
        </p:nvSpPr>
        <p:spPr>
          <a:xfrm>
            <a:off x="609600" y="274638"/>
            <a:ext cx="10972800" cy="1143001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rgbClr val="FFFFFF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Title Text</a:t>
            </a:r>
          </a:p>
        </p:txBody>
      </p:sp>
      <p:sp>
        <p:nvSpPr>
          <p:cNvPr id="41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12118" y="6400413"/>
            <a:ext cx="279883" cy="276999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Only">
    <p:bg>
      <p:bgPr>
        <a:gradFill flip="none" rotWithShape="1">
          <a:gsLst>
            <a:gs pos="50000">
              <a:srgbClr val="E5E5E2"/>
            </a:gs>
            <a:gs pos="100000">
              <a:srgbClr val="CECEC7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1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rcRect b="9396"/>
          <a:stretch>
            <a:fillRect/>
          </a:stretch>
        </p:blipFill>
        <p:spPr>
          <a:xfrm>
            <a:off x="0" y="-1"/>
            <a:ext cx="12192000" cy="6858002"/>
          </a:xfrm>
          <a:prstGeom prst="rect">
            <a:avLst/>
          </a:prstGeom>
          <a:ln w="12700">
            <a:miter lim="400000"/>
          </a:ln>
        </p:spPr>
      </p:pic>
      <p:pic>
        <p:nvPicPr>
          <p:cNvPr id="422" name="Picture 6" descr="Picture 6"/>
          <p:cNvPicPr>
            <a:picLocks noChangeAspect="1"/>
          </p:cNvPicPr>
          <p:nvPr/>
        </p:nvPicPr>
        <p:blipFill>
          <a:blip r:embed="rId3">
            <a:extLst/>
          </a:blip>
          <a:srcRect b="87606"/>
          <a:stretch>
            <a:fillRect/>
          </a:stretch>
        </p:blipFill>
        <p:spPr>
          <a:xfrm>
            <a:off x="0" y="-1"/>
            <a:ext cx="12192000" cy="931818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427" name="Group 4"/>
          <p:cNvGrpSpPr/>
          <p:nvPr/>
        </p:nvGrpSpPr>
        <p:grpSpPr>
          <a:xfrm>
            <a:off x="10056814" y="238125"/>
            <a:ext cx="1858965" cy="496889"/>
            <a:chOff x="0" y="0"/>
            <a:chExt cx="1858963" cy="496887"/>
          </a:xfrm>
        </p:grpSpPr>
        <p:sp>
          <p:nvSpPr>
            <p:cNvPr id="423" name="Freeform 5"/>
            <p:cNvSpPr/>
            <p:nvPr/>
          </p:nvSpPr>
          <p:spPr>
            <a:xfrm>
              <a:off x="465137" y="-1"/>
              <a:ext cx="1393827" cy="369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53" y="16982"/>
                  </a:moveTo>
                  <a:cubicBezTo>
                    <a:pt x="14753" y="18621"/>
                    <a:pt x="14439" y="19738"/>
                    <a:pt x="14008" y="19738"/>
                  </a:cubicBezTo>
                  <a:cubicBezTo>
                    <a:pt x="13596" y="19738"/>
                    <a:pt x="13596" y="19738"/>
                    <a:pt x="13596" y="19738"/>
                  </a:cubicBezTo>
                  <a:cubicBezTo>
                    <a:pt x="13596" y="14152"/>
                    <a:pt x="13596" y="14152"/>
                    <a:pt x="13596" y="14152"/>
                  </a:cubicBezTo>
                  <a:cubicBezTo>
                    <a:pt x="14008" y="14152"/>
                    <a:pt x="14008" y="14152"/>
                    <a:pt x="14008" y="14152"/>
                  </a:cubicBezTo>
                  <a:cubicBezTo>
                    <a:pt x="14439" y="14152"/>
                    <a:pt x="14753" y="15269"/>
                    <a:pt x="14753" y="16908"/>
                  </a:cubicBezTo>
                  <a:lnTo>
                    <a:pt x="14753" y="16982"/>
                  </a:lnTo>
                  <a:close/>
                  <a:moveTo>
                    <a:pt x="14008" y="12290"/>
                  </a:moveTo>
                  <a:cubicBezTo>
                    <a:pt x="13046" y="12290"/>
                    <a:pt x="13046" y="12290"/>
                    <a:pt x="13046" y="12290"/>
                  </a:cubicBezTo>
                  <a:cubicBezTo>
                    <a:pt x="13046" y="21600"/>
                    <a:pt x="13046" y="21600"/>
                    <a:pt x="13046" y="21600"/>
                  </a:cubicBezTo>
                  <a:cubicBezTo>
                    <a:pt x="14008" y="21600"/>
                    <a:pt x="14008" y="21600"/>
                    <a:pt x="14008" y="21600"/>
                  </a:cubicBezTo>
                  <a:cubicBezTo>
                    <a:pt x="14773" y="21600"/>
                    <a:pt x="15302" y="19589"/>
                    <a:pt x="15302" y="16908"/>
                  </a:cubicBezTo>
                  <a:cubicBezTo>
                    <a:pt x="15302" y="16908"/>
                    <a:pt x="15302" y="16908"/>
                    <a:pt x="15302" y="16908"/>
                  </a:cubicBezTo>
                  <a:cubicBezTo>
                    <a:pt x="15302" y="14301"/>
                    <a:pt x="14773" y="12290"/>
                    <a:pt x="14008" y="12290"/>
                  </a:cubicBezTo>
                  <a:moveTo>
                    <a:pt x="12105" y="18025"/>
                  </a:moveTo>
                  <a:cubicBezTo>
                    <a:pt x="10967" y="12290"/>
                    <a:pt x="10967" y="12290"/>
                    <a:pt x="10967" y="12290"/>
                  </a:cubicBezTo>
                  <a:cubicBezTo>
                    <a:pt x="10476" y="12290"/>
                    <a:pt x="10476" y="12290"/>
                    <a:pt x="10476" y="12290"/>
                  </a:cubicBezTo>
                  <a:cubicBezTo>
                    <a:pt x="10476" y="21600"/>
                    <a:pt x="10476" y="21600"/>
                    <a:pt x="10476" y="21600"/>
                  </a:cubicBezTo>
                  <a:cubicBezTo>
                    <a:pt x="11006" y="21600"/>
                    <a:pt x="11006" y="21600"/>
                    <a:pt x="11006" y="21600"/>
                  </a:cubicBezTo>
                  <a:cubicBezTo>
                    <a:pt x="11006" y="15716"/>
                    <a:pt x="11006" y="15716"/>
                    <a:pt x="11006" y="15716"/>
                  </a:cubicBezTo>
                  <a:cubicBezTo>
                    <a:pt x="12183" y="21600"/>
                    <a:pt x="12183" y="21600"/>
                    <a:pt x="12183" y="21600"/>
                  </a:cubicBezTo>
                  <a:cubicBezTo>
                    <a:pt x="12634" y="21600"/>
                    <a:pt x="12634" y="21600"/>
                    <a:pt x="12634" y="21600"/>
                  </a:cubicBezTo>
                  <a:cubicBezTo>
                    <a:pt x="12634" y="12290"/>
                    <a:pt x="12634" y="12290"/>
                    <a:pt x="12634" y="12290"/>
                  </a:cubicBezTo>
                  <a:cubicBezTo>
                    <a:pt x="12105" y="12290"/>
                    <a:pt x="12105" y="12290"/>
                    <a:pt x="12105" y="12290"/>
                  </a:cubicBezTo>
                  <a:lnTo>
                    <a:pt x="12105" y="18025"/>
                  </a:lnTo>
                  <a:close/>
                  <a:moveTo>
                    <a:pt x="8573" y="17727"/>
                  </a:moveTo>
                  <a:cubicBezTo>
                    <a:pt x="8907" y="14673"/>
                    <a:pt x="8907" y="14673"/>
                    <a:pt x="8907" y="14673"/>
                  </a:cubicBezTo>
                  <a:cubicBezTo>
                    <a:pt x="9221" y="17727"/>
                    <a:pt x="9221" y="17727"/>
                    <a:pt x="9221" y="17727"/>
                  </a:cubicBezTo>
                  <a:lnTo>
                    <a:pt x="8573" y="17727"/>
                  </a:lnTo>
                  <a:close/>
                  <a:moveTo>
                    <a:pt x="8671" y="12215"/>
                  </a:moveTo>
                  <a:cubicBezTo>
                    <a:pt x="7612" y="21600"/>
                    <a:pt x="7612" y="21600"/>
                    <a:pt x="7612" y="21600"/>
                  </a:cubicBezTo>
                  <a:cubicBezTo>
                    <a:pt x="8161" y="21600"/>
                    <a:pt x="8161" y="21600"/>
                    <a:pt x="8161" y="21600"/>
                  </a:cubicBezTo>
                  <a:cubicBezTo>
                    <a:pt x="8397" y="19514"/>
                    <a:pt x="8397" y="19514"/>
                    <a:pt x="8397" y="19514"/>
                  </a:cubicBezTo>
                  <a:cubicBezTo>
                    <a:pt x="9417" y="19514"/>
                    <a:pt x="9417" y="19514"/>
                    <a:pt x="9417" y="19514"/>
                  </a:cubicBezTo>
                  <a:cubicBezTo>
                    <a:pt x="9652" y="21600"/>
                    <a:pt x="9652" y="21600"/>
                    <a:pt x="9652" y="21600"/>
                  </a:cubicBezTo>
                  <a:cubicBezTo>
                    <a:pt x="10202" y="21600"/>
                    <a:pt x="10202" y="21600"/>
                    <a:pt x="10202" y="21600"/>
                  </a:cubicBezTo>
                  <a:cubicBezTo>
                    <a:pt x="9162" y="12215"/>
                    <a:pt x="9162" y="12215"/>
                    <a:pt x="9162" y="12215"/>
                  </a:cubicBezTo>
                  <a:lnTo>
                    <a:pt x="8671" y="12215"/>
                  </a:lnTo>
                  <a:close/>
                  <a:moveTo>
                    <a:pt x="6180" y="12290"/>
                  </a:moveTo>
                  <a:cubicBezTo>
                    <a:pt x="5650" y="12290"/>
                    <a:pt x="5650" y="12290"/>
                    <a:pt x="5650" y="12290"/>
                  </a:cubicBezTo>
                  <a:cubicBezTo>
                    <a:pt x="5650" y="21600"/>
                    <a:pt x="5650" y="21600"/>
                    <a:pt x="5650" y="21600"/>
                  </a:cubicBezTo>
                  <a:cubicBezTo>
                    <a:pt x="7396" y="21600"/>
                    <a:pt x="7396" y="21600"/>
                    <a:pt x="7396" y="21600"/>
                  </a:cubicBezTo>
                  <a:cubicBezTo>
                    <a:pt x="7396" y="19738"/>
                    <a:pt x="7396" y="19738"/>
                    <a:pt x="7396" y="19738"/>
                  </a:cubicBezTo>
                  <a:cubicBezTo>
                    <a:pt x="6180" y="19738"/>
                    <a:pt x="6180" y="19738"/>
                    <a:pt x="6180" y="19738"/>
                  </a:cubicBezTo>
                  <a:lnTo>
                    <a:pt x="6180" y="12290"/>
                  </a:lnTo>
                  <a:close/>
                  <a:moveTo>
                    <a:pt x="3943" y="17801"/>
                  </a:moveTo>
                  <a:cubicBezTo>
                    <a:pt x="5081" y="17801"/>
                    <a:pt x="5081" y="17801"/>
                    <a:pt x="5081" y="17801"/>
                  </a:cubicBezTo>
                  <a:cubicBezTo>
                    <a:pt x="5081" y="16014"/>
                    <a:pt x="5081" y="16014"/>
                    <a:pt x="5081" y="16014"/>
                  </a:cubicBezTo>
                  <a:cubicBezTo>
                    <a:pt x="3943" y="16014"/>
                    <a:pt x="3943" y="16014"/>
                    <a:pt x="3943" y="16014"/>
                  </a:cubicBezTo>
                  <a:cubicBezTo>
                    <a:pt x="3943" y="14152"/>
                    <a:pt x="3943" y="14152"/>
                    <a:pt x="3943" y="14152"/>
                  </a:cubicBezTo>
                  <a:cubicBezTo>
                    <a:pt x="5238" y="14152"/>
                    <a:pt x="5238" y="14152"/>
                    <a:pt x="5238" y="14152"/>
                  </a:cubicBezTo>
                  <a:cubicBezTo>
                    <a:pt x="5238" y="12290"/>
                    <a:pt x="5238" y="12290"/>
                    <a:pt x="5238" y="12290"/>
                  </a:cubicBezTo>
                  <a:cubicBezTo>
                    <a:pt x="3394" y="12290"/>
                    <a:pt x="3394" y="12290"/>
                    <a:pt x="3394" y="12290"/>
                  </a:cubicBezTo>
                  <a:cubicBezTo>
                    <a:pt x="3394" y="21600"/>
                    <a:pt x="3394" y="21600"/>
                    <a:pt x="3394" y="21600"/>
                  </a:cubicBezTo>
                  <a:cubicBezTo>
                    <a:pt x="5258" y="21600"/>
                    <a:pt x="5258" y="21600"/>
                    <a:pt x="5258" y="21600"/>
                  </a:cubicBezTo>
                  <a:cubicBezTo>
                    <a:pt x="5258" y="19738"/>
                    <a:pt x="5258" y="19738"/>
                    <a:pt x="5258" y="19738"/>
                  </a:cubicBezTo>
                  <a:cubicBezTo>
                    <a:pt x="3943" y="19738"/>
                    <a:pt x="3943" y="19738"/>
                    <a:pt x="3943" y="19738"/>
                  </a:cubicBezTo>
                  <a:lnTo>
                    <a:pt x="3943" y="17801"/>
                  </a:lnTo>
                  <a:close/>
                  <a:moveTo>
                    <a:pt x="2472" y="15492"/>
                  </a:moveTo>
                  <a:cubicBezTo>
                    <a:pt x="2472" y="16312"/>
                    <a:pt x="2315" y="16833"/>
                    <a:pt x="2060" y="16833"/>
                  </a:cubicBezTo>
                  <a:cubicBezTo>
                    <a:pt x="1511" y="16833"/>
                    <a:pt x="1511" y="16833"/>
                    <a:pt x="1511" y="16833"/>
                  </a:cubicBezTo>
                  <a:cubicBezTo>
                    <a:pt x="1511" y="14152"/>
                    <a:pt x="1511" y="14152"/>
                    <a:pt x="1511" y="14152"/>
                  </a:cubicBezTo>
                  <a:cubicBezTo>
                    <a:pt x="2040" y="14152"/>
                    <a:pt x="2040" y="14152"/>
                    <a:pt x="2040" y="14152"/>
                  </a:cubicBezTo>
                  <a:cubicBezTo>
                    <a:pt x="2295" y="14152"/>
                    <a:pt x="2472" y="14599"/>
                    <a:pt x="2472" y="15492"/>
                  </a:cubicBezTo>
                  <a:close/>
                  <a:moveTo>
                    <a:pt x="3002" y="15418"/>
                  </a:moveTo>
                  <a:cubicBezTo>
                    <a:pt x="3002" y="15343"/>
                    <a:pt x="3002" y="15343"/>
                    <a:pt x="3002" y="15343"/>
                  </a:cubicBezTo>
                  <a:cubicBezTo>
                    <a:pt x="3002" y="14524"/>
                    <a:pt x="2943" y="13779"/>
                    <a:pt x="2805" y="13258"/>
                  </a:cubicBezTo>
                  <a:cubicBezTo>
                    <a:pt x="2629" y="12662"/>
                    <a:pt x="2393" y="12290"/>
                    <a:pt x="2080" y="12290"/>
                  </a:cubicBezTo>
                  <a:cubicBezTo>
                    <a:pt x="961" y="12290"/>
                    <a:pt x="961" y="12290"/>
                    <a:pt x="961" y="12290"/>
                  </a:cubicBezTo>
                  <a:cubicBezTo>
                    <a:pt x="961" y="21600"/>
                    <a:pt x="961" y="21600"/>
                    <a:pt x="961" y="21600"/>
                  </a:cubicBezTo>
                  <a:cubicBezTo>
                    <a:pt x="1511" y="21600"/>
                    <a:pt x="1511" y="21600"/>
                    <a:pt x="1511" y="21600"/>
                  </a:cubicBezTo>
                  <a:cubicBezTo>
                    <a:pt x="1511" y="18621"/>
                    <a:pt x="1511" y="18621"/>
                    <a:pt x="1511" y="18621"/>
                  </a:cubicBezTo>
                  <a:cubicBezTo>
                    <a:pt x="1923" y="18621"/>
                    <a:pt x="1923" y="18621"/>
                    <a:pt x="1923" y="18621"/>
                  </a:cubicBezTo>
                  <a:cubicBezTo>
                    <a:pt x="2452" y="21600"/>
                    <a:pt x="2452" y="21600"/>
                    <a:pt x="2452" y="21600"/>
                  </a:cubicBezTo>
                  <a:cubicBezTo>
                    <a:pt x="3080" y="21600"/>
                    <a:pt x="3080" y="21600"/>
                    <a:pt x="3080" y="21600"/>
                  </a:cubicBezTo>
                  <a:cubicBezTo>
                    <a:pt x="2492" y="18248"/>
                    <a:pt x="2492" y="18248"/>
                    <a:pt x="2492" y="18248"/>
                  </a:cubicBezTo>
                  <a:cubicBezTo>
                    <a:pt x="2786" y="17801"/>
                    <a:pt x="3002" y="16908"/>
                    <a:pt x="3002" y="15418"/>
                  </a:cubicBezTo>
                  <a:moveTo>
                    <a:pt x="20" y="21600"/>
                  </a:moveTo>
                  <a:cubicBezTo>
                    <a:pt x="549" y="21600"/>
                    <a:pt x="549" y="21600"/>
                    <a:pt x="549" y="21600"/>
                  </a:cubicBezTo>
                  <a:cubicBezTo>
                    <a:pt x="549" y="12290"/>
                    <a:pt x="549" y="12290"/>
                    <a:pt x="549" y="12290"/>
                  </a:cubicBezTo>
                  <a:cubicBezTo>
                    <a:pt x="20" y="12290"/>
                    <a:pt x="20" y="12290"/>
                    <a:pt x="20" y="12290"/>
                  </a:cubicBezTo>
                  <a:lnTo>
                    <a:pt x="20" y="21600"/>
                  </a:lnTo>
                  <a:close/>
                  <a:moveTo>
                    <a:pt x="20266" y="7597"/>
                  </a:moveTo>
                  <a:cubicBezTo>
                    <a:pt x="20266" y="5661"/>
                    <a:pt x="20266" y="5661"/>
                    <a:pt x="20266" y="5661"/>
                  </a:cubicBezTo>
                  <a:cubicBezTo>
                    <a:pt x="21423" y="5661"/>
                    <a:pt x="21423" y="5661"/>
                    <a:pt x="21423" y="5661"/>
                  </a:cubicBezTo>
                  <a:cubicBezTo>
                    <a:pt x="21423" y="3873"/>
                    <a:pt x="21423" y="3873"/>
                    <a:pt x="21423" y="3873"/>
                  </a:cubicBezTo>
                  <a:cubicBezTo>
                    <a:pt x="20266" y="3873"/>
                    <a:pt x="20266" y="3873"/>
                    <a:pt x="20266" y="3873"/>
                  </a:cubicBezTo>
                  <a:cubicBezTo>
                    <a:pt x="20266" y="1937"/>
                    <a:pt x="20266" y="1937"/>
                    <a:pt x="20266" y="1937"/>
                  </a:cubicBezTo>
                  <a:cubicBezTo>
                    <a:pt x="21580" y="1937"/>
                    <a:pt x="21580" y="1937"/>
                    <a:pt x="21580" y="1937"/>
                  </a:cubicBezTo>
                  <a:cubicBezTo>
                    <a:pt x="21580" y="149"/>
                    <a:pt x="21580" y="149"/>
                    <a:pt x="21580" y="149"/>
                  </a:cubicBezTo>
                  <a:cubicBezTo>
                    <a:pt x="19736" y="149"/>
                    <a:pt x="19736" y="149"/>
                    <a:pt x="19736" y="149"/>
                  </a:cubicBezTo>
                  <a:cubicBezTo>
                    <a:pt x="19736" y="9385"/>
                    <a:pt x="19736" y="9385"/>
                    <a:pt x="19736" y="9385"/>
                  </a:cubicBezTo>
                  <a:cubicBezTo>
                    <a:pt x="21600" y="9385"/>
                    <a:pt x="21600" y="9385"/>
                    <a:pt x="21600" y="9385"/>
                  </a:cubicBezTo>
                  <a:cubicBezTo>
                    <a:pt x="21600" y="7597"/>
                    <a:pt x="21600" y="7597"/>
                    <a:pt x="21600" y="7597"/>
                  </a:cubicBezTo>
                  <a:lnTo>
                    <a:pt x="20266" y="7597"/>
                  </a:lnTo>
                  <a:close/>
                  <a:moveTo>
                    <a:pt x="18598" y="3873"/>
                  </a:moveTo>
                  <a:cubicBezTo>
                    <a:pt x="18186" y="3426"/>
                    <a:pt x="18069" y="3277"/>
                    <a:pt x="18069" y="2607"/>
                  </a:cubicBezTo>
                  <a:cubicBezTo>
                    <a:pt x="18069" y="2607"/>
                    <a:pt x="18069" y="2607"/>
                    <a:pt x="18069" y="2607"/>
                  </a:cubicBezTo>
                  <a:cubicBezTo>
                    <a:pt x="18069" y="2160"/>
                    <a:pt x="18186" y="1788"/>
                    <a:pt x="18383" y="1788"/>
                  </a:cubicBezTo>
                  <a:cubicBezTo>
                    <a:pt x="18598" y="1788"/>
                    <a:pt x="18814" y="2160"/>
                    <a:pt x="19030" y="2756"/>
                  </a:cubicBezTo>
                  <a:cubicBezTo>
                    <a:pt x="19305" y="1192"/>
                    <a:pt x="19305" y="1192"/>
                    <a:pt x="19305" y="1192"/>
                  </a:cubicBezTo>
                  <a:cubicBezTo>
                    <a:pt x="19050" y="447"/>
                    <a:pt x="18755" y="0"/>
                    <a:pt x="18402" y="0"/>
                  </a:cubicBezTo>
                  <a:cubicBezTo>
                    <a:pt x="17892" y="0"/>
                    <a:pt x="17539" y="1117"/>
                    <a:pt x="17539" y="2830"/>
                  </a:cubicBezTo>
                  <a:cubicBezTo>
                    <a:pt x="17539" y="2830"/>
                    <a:pt x="17539" y="2830"/>
                    <a:pt x="17539" y="2830"/>
                  </a:cubicBezTo>
                  <a:cubicBezTo>
                    <a:pt x="17539" y="4692"/>
                    <a:pt x="17853" y="5214"/>
                    <a:pt x="18343" y="5661"/>
                  </a:cubicBezTo>
                  <a:cubicBezTo>
                    <a:pt x="18755" y="6033"/>
                    <a:pt x="18834" y="6331"/>
                    <a:pt x="18834" y="6852"/>
                  </a:cubicBezTo>
                  <a:cubicBezTo>
                    <a:pt x="18834" y="6852"/>
                    <a:pt x="18834" y="6852"/>
                    <a:pt x="18834" y="6852"/>
                  </a:cubicBezTo>
                  <a:cubicBezTo>
                    <a:pt x="18834" y="7448"/>
                    <a:pt x="18716" y="7746"/>
                    <a:pt x="18481" y="7746"/>
                  </a:cubicBezTo>
                  <a:cubicBezTo>
                    <a:pt x="18206" y="7746"/>
                    <a:pt x="17990" y="7299"/>
                    <a:pt x="17755" y="6629"/>
                  </a:cubicBezTo>
                  <a:cubicBezTo>
                    <a:pt x="17441" y="8044"/>
                    <a:pt x="17441" y="8044"/>
                    <a:pt x="17441" y="8044"/>
                  </a:cubicBezTo>
                  <a:cubicBezTo>
                    <a:pt x="17735" y="9087"/>
                    <a:pt x="18108" y="9534"/>
                    <a:pt x="18481" y="9534"/>
                  </a:cubicBezTo>
                  <a:cubicBezTo>
                    <a:pt x="19010" y="9534"/>
                    <a:pt x="19383" y="8491"/>
                    <a:pt x="19383" y="6703"/>
                  </a:cubicBezTo>
                  <a:cubicBezTo>
                    <a:pt x="19383" y="6629"/>
                    <a:pt x="19383" y="6629"/>
                    <a:pt x="19383" y="6629"/>
                  </a:cubicBezTo>
                  <a:cubicBezTo>
                    <a:pt x="19383" y="5065"/>
                    <a:pt x="19089" y="4320"/>
                    <a:pt x="18598" y="3873"/>
                  </a:cubicBezTo>
                  <a:moveTo>
                    <a:pt x="16538" y="9385"/>
                  </a:moveTo>
                  <a:cubicBezTo>
                    <a:pt x="17088" y="9385"/>
                    <a:pt x="17088" y="9385"/>
                    <a:pt x="17088" y="9385"/>
                  </a:cubicBezTo>
                  <a:cubicBezTo>
                    <a:pt x="17088" y="149"/>
                    <a:pt x="17088" y="149"/>
                    <a:pt x="17088" y="149"/>
                  </a:cubicBezTo>
                  <a:cubicBezTo>
                    <a:pt x="16538" y="149"/>
                    <a:pt x="16538" y="149"/>
                    <a:pt x="16538" y="149"/>
                  </a:cubicBezTo>
                  <a:lnTo>
                    <a:pt x="16538" y="9385"/>
                  </a:lnTo>
                  <a:close/>
                  <a:moveTo>
                    <a:pt x="15557" y="3352"/>
                  </a:moveTo>
                  <a:cubicBezTo>
                    <a:pt x="15557" y="4097"/>
                    <a:pt x="15420" y="4618"/>
                    <a:pt x="15146" y="4618"/>
                  </a:cubicBezTo>
                  <a:cubicBezTo>
                    <a:pt x="14616" y="4618"/>
                    <a:pt x="14616" y="4618"/>
                    <a:pt x="14616" y="4618"/>
                  </a:cubicBezTo>
                  <a:cubicBezTo>
                    <a:pt x="14616" y="2011"/>
                    <a:pt x="14616" y="2011"/>
                    <a:pt x="14616" y="2011"/>
                  </a:cubicBezTo>
                  <a:cubicBezTo>
                    <a:pt x="15146" y="2011"/>
                    <a:pt x="15146" y="2011"/>
                    <a:pt x="15146" y="2011"/>
                  </a:cubicBezTo>
                  <a:cubicBezTo>
                    <a:pt x="15401" y="2011"/>
                    <a:pt x="15557" y="2458"/>
                    <a:pt x="15557" y="3277"/>
                  </a:cubicBezTo>
                  <a:lnTo>
                    <a:pt x="15557" y="3352"/>
                  </a:lnTo>
                  <a:close/>
                  <a:moveTo>
                    <a:pt x="16107" y="3203"/>
                  </a:moveTo>
                  <a:cubicBezTo>
                    <a:pt x="16107" y="3203"/>
                    <a:pt x="16107" y="3203"/>
                    <a:pt x="16107" y="3203"/>
                  </a:cubicBezTo>
                  <a:cubicBezTo>
                    <a:pt x="16107" y="2309"/>
                    <a:pt x="16028" y="1564"/>
                    <a:pt x="15911" y="1043"/>
                  </a:cubicBezTo>
                  <a:cubicBezTo>
                    <a:pt x="15734" y="447"/>
                    <a:pt x="15499" y="149"/>
                    <a:pt x="15185" y="149"/>
                  </a:cubicBezTo>
                  <a:cubicBezTo>
                    <a:pt x="14066" y="149"/>
                    <a:pt x="14066" y="149"/>
                    <a:pt x="14066" y="149"/>
                  </a:cubicBezTo>
                  <a:cubicBezTo>
                    <a:pt x="14066" y="9385"/>
                    <a:pt x="14066" y="9385"/>
                    <a:pt x="14066" y="9385"/>
                  </a:cubicBezTo>
                  <a:cubicBezTo>
                    <a:pt x="14616" y="9385"/>
                    <a:pt x="14616" y="9385"/>
                    <a:pt x="14616" y="9385"/>
                  </a:cubicBezTo>
                  <a:cubicBezTo>
                    <a:pt x="14616" y="6480"/>
                    <a:pt x="14616" y="6480"/>
                    <a:pt x="14616" y="6480"/>
                  </a:cubicBezTo>
                  <a:cubicBezTo>
                    <a:pt x="15028" y="6480"/>
                    <a:pt x="15028" y="6480"/>
                    <a:pt x="15028" y="6480"/>
                  </a:cubicBezTo>
                  <a:cubicBezTo>
                    <a:pt x="15557" y="9385"/>
                    <a:pt x="15557" y="9385"/>
                    <a:pt x="15557" y="9385"/>
                  </a:cubicBezTo>
                  <a:cubicBezTo>
                    <a:pt x="16185" y="9385"/>
                    <a:pt x="16185" y="9385"/>
                    <a:pt x="16185" y="9385"/>
                  </a:cubicBezTo>
                  <a:cubicBezTo>
                    <a:pt x="15597" y="6108"/>
                    <a:pt x="15597" y="6108"/>
                    <a:pt x="15597" y="6108"/>
                  </a:cubicBezTo>
                  <a:cubicBezTo>
                    <a:pt x="15891" y="5661"/>
                    <a:pt x="16107" y="4692"/>
                    <a:pt x="16107" y="3203"/>
                  </a:cubicBezTo>
                  <a:moveTo>
                    <a:pt x="13203" y="3426"/>
                  </a:moveTo>
                  <a:cubicBezTo>
                    <a:pt x="13203" y="4171"/>
                    <a:pt x="13046" y="4841"/>
                    <a:pt x="12772" y="4841"/>
                  </a:cubicBezTo>
                  <a:cubicBezTo>
                    <a:pt x="12360" y="4841"/>
                    <a:pt x="12360" y="4841"/>
                    <a:pt x="12360" y="4841"/>
                  </a:cubicBezTo>
                  <a:cubicBezTo>
                    <a:pt x="12360" y="2011"/>
                    <a:pt x="12360" y="2011"/>
                    <a:pt x="12360" y="2011"/>
                  </a:cubicBezTo>
                  <a:cubicBezTo>
                    <a:pt x="12772" y="2011"/>
                    <a:pt x="12772" y="2011"/>
                    <a:pt x="12772" y="2011"/>
                  </a:cubicBezTo>
                  <a:cubicBezTo>
                    <a:pt x="13027" y="2011"/>
                    <a:pt x="13203" y="2458"/>
                    <a:pt x="13203" y="3352"/>
                  </a:cubicBezTo>
                  <a:lnTo>
                    <a:pt x="13203" y="3426"/>
                  </a:lnTo>
                  <a:close/>
                  <a:moveTo>
                    <a:pt x="13753" y="3352"/>
                  </a:moveTo>
                  <a:cubicBezTo>
                    <a:pt x="13753" y="3352"/>
                    <a:pt x="13753" y="3352"/>
                    <a:pt x="13753" y="3352"/>
                  </a:cubicBezTo>
                  <a:cubicBezTo>
                    <a:pt x="13753" y="1415"/>
                    <a:pt x="13399" y="149"/>
                    <a:pt x="12811" y="149"/>
                  </a:cubicBezTo>
                  <a:cubicBezTo>
                    <a:pt x="11810" y="149"/>
                    <a:pt x="11810" y="149"/>
                    <a:pt x="11810" y="149"/>
                  </a:cubicBezTo>
                  <a:cubicBezTo>
                    <a:pt x="11810" y="9385"/>
                    <a:pt x="11810" y="9385"/>
                    <a:pt x="11810" y="9385"/>
                  </a:cubicBezTo>
                  <a:cubicBezTo>
                    <a:pt x="12360" y="9385"/>
                    <a:pt x="12360" y="9385"/>
                    <a:pt x="12360" y="9385"/>
                  </a:cubicBezTo>
                  <a:cubicBezTo>
                    <a:pt x="12360" y="6629"/>
                    <a:pt x="12360" y="6629"/>
                    <a:pt x="12360" y="6629"/>
                  </a:cubicBezTo>
                  <a:cubicBezTo>
                    <a:pt x="12752" y="6629"/>
                    <a:pt x="12752" y="6629"/>
                    <a:pt x="12752" y="6629"/>
                  </a:cubicBezTo>
                  <a:cubicBezTo>
                    <a:pt x="13301" y="6629"/>
                    <a:pt x="13753" y="5512"/>
                    <a:pt x="13753" y="3352"/>
                  </a:cubicBezTo>
                  <a:moveTo>
                    <a:pt x="10457" y="4618"/>
                  </a:moveTo>
                  <a:cubicBezTo>
                    <a:pt x="9907" y="4618"/>
                    <a:pt x="9907" y="4618"/>
                    <a:pt x="9907" y="4618"/>
                  </a:cubicBezTo>
                  <a:cubicBezTo>
                    <a:pt x="9907" y="2011"/>
                    <a:pt x="9907" y="2011"/>
                    <a:pt x="9907" y="2011"/>
                  </a:cubicBezTo>
                  <a:cubicBezTo>
                    <a:pt x="10457" y="2011"/>
                    <a:pt x="10457" y="2011"/>
                    <a:pt x="10457" y="2011"/>
                  </a:cubicBezTo>
                  <a:cubicBezTo>
                    <a:pt x="10712" y="2011"/>
                    <a:pt x="10869" y="2458"/>
                    <a:pt x="10869" y="3277"/>
                  </a:cubicBezTo>
                  <a:cubicBezTo>
                    <a:pt x="10869" y="3352"/>
                    <a:pt x="10869" y="3352"/>
                    <a:pt x="10869" y="3352"/>
                  </a:cubicBezTo>
                  <a:cubicBezTo>
                    <a:pt x="10869" y="4097"/>
                    <a:pt x="10712" y="4618"/>
                    <a:pt x="10457" y="4618"/>
                  </a:cubicBezTo>
                  <a:moveTo>
                    <a:pt x="11496" y="9385"/>
                  </a:moveTo>
                  <a:cubicBezTo>
                    <a:pt x="10888" y="6108"/>
                    <a:pt x="10888" y="6108"/>
                    <a:pt x="10888" y="6108"/>
                  </a:cubicBezTo>
                  <a:cubicBezTo>
                    <a:pt x="11202" y="5661"/>
                    <a:pt x="11418" y="4692"/>
                    <a:pt x="11418" y="3203"/>
                  </a:cubicBezTo>
                  <a:cubicBezTo>
                    <a:pt x="11418" y="3203"/>
                    <a:pt x="11418" y="3203"/>
                    <a:pt x="11418" y="3203"/>
                  </a:cubicBezTo>
                  <a:cubicBezTo>
                    <a:pt x="11418" y="2309"/>
                    <a:pt x="11340" y="1564"/>
                    <a:pt x="11202" y="1043"/>
                  </a:cubicBezTo>
                  <a:cubicBezTo>
                    <a:pt x="11045" y="447"/>
                    <a:pt x="10810" y="149"/>
                    <a:pt x="10496" y="149"/>
                  </a:cubicBezTo>
                  <a:cubicBezTo>
                    <a:pt x="9378" y="149"/>
                    <a:pt x="9378" y="149"/>
                    <a:pt x="9378" y="149"/>
                  </a:cubicBezTo>
                  <a:cubicBezTo>
                    <a:pt x="9378" y="9385"/>
                    <a:pt x="9378" y="9385"/>
                    <a:pt x="9378" y="9385"/>
                  </a:cubicBezTo>
                  <a:cubicBezTo>
                    <a:pt x="9907" y="9385"/>
                    <a:pt x="9907" y="9385"/>
                    <a:pt x="9907" y="9385"/>
                  </a:cubicBezTo>
                  <a:cubicBezTo>
                    <a:pt x="9907" y="6480"/>
                    <a:pt x="9907" y="6480"/>
                    <a:pt x="9907" y="6480"/>
                  </a:cubicBezTo>
                  <a:cubicBezTo>
                    <a:pt x="10339" y="6480"/>
                    <a:pt x="10339" y="6480"/>
                    <a:pt x="10339" y="6480"/>
                  </a:cubicBezTo>
                  <a:cubicBezTo>
                    <a:pt x="10869" y="9385"/>
                    <a:pt x="10869" y="9385"/>
                    <a:pt x="10869" y="9385"/>
                  </a:cubicBezTo>
                  <a:lnTo>
                    <a:pt x="11496" y="9385"/>
                  </a:lnTo>
                  <a:close/>
                  <a:moveTo>
                    <a:pt x="9025" y="7597"/>
                  </a:moveTo>
                  <a:cubicBezTo>
                    <a:pt x="7690" y="7597"/>
                    <a:pt x="7690" y="7597"/>
                    <a:pt x="7690" y="7597"/>
                  </a:cubicBezTo>
                  <a:cubicBezTo>
                    <a:pt x="7690" y="5661"/>
                    <a:pt x="7690" y="5661"/>
                    <a:pt x="7690" y="5661"/>
                  </a:cubicBezTo>
                  <a:cubicBezTo>
                    <a:pt x="8848" y="5661"/>
                    <a:pt x="8848" y="5661"/>
                    <a:pt x="8848" y="5661"/>
                  </a:cubicBezTo>
                  <a:cubicBezTo>
                    <a:pt x="8848" y="3873"/>
                    <a:pt x="8848" y="3873"/>
                    <a:pt x="8848" y="3873"/>
                  </a:cubicBezTo>
                  <a:cubicBezTo>
                    <a:pt x="7690" y="3873"/>
                    <a:pt x="7690" y="3873"/>
                    <a:pt x="7690" y="3873"/>
                  </a:cubicBezTo>
                  <a:cubicBezTo>
                    <a:pt x="7690" y="1937"/>
                    <a:pt x="7690" y="1937"/>
                    <a:pt x="7690" y="1937"/>
                  </a:cubicBezTo>
                  <a:cubicBezTo>
                    <a:pt x="9005" y="1937"/>
                    <a:pt x="9005" y="1937"/>
                    <a:pt x="9005" y="1937"/>
                  </a:cubicBezTo>
                  <a:cubicBezTo>
                    <a:pt x="9005" y="149"/>
                    <a:pt x="9005" y="149"/>
                    <a:pt x="9005" y="149"/>
                  </a:cubicBezTo>
                  <a:cubicBezTo>
                    <a:pt x="7161" y="149"/>
                    <a:pt x="7161" y="149"/>
                    <a:pt x="7161" y="149"/>
                  </a:cubicBezTo>
                  <a:cubicBezTo>
                    <a:pt x="7161" y="9385"/>
                    <a:pt x="7161" y="9385"/>
                    <a:pt x="7161" y="9385"/>
                  </a:cubicBezTo>
                  <a:cubicBezTo>
                    <a:pt x="9025" y="9385"/>
                    <a:pt x="9025" y="9385"/>
                    <a:pt x="9025" y="9385"/>
                  </a:cubicBezTo>
                  <a:lnTo>
                    <a:pt x="9025" y="7597"/>
                  </a:lnTo>
                  <a:close/>
                  <a:moveTo>
                    <a:pt x="6043" y="9385"/>
                  </a:moveTo>
                  <a:cubicBezTo>
                    <a:pt x="6043" y="2011"/>
                    <a:pt x="6043" y="2011"/>
                    <a:pt x="6043" y="2011"/>
                  </a:cubicBezTo>
                  <a:cubicBezTo>
                    <a:pt x="6788" y="2011"/>
                    <a:pt x="6788" y="2011"/>
                    <a:pt x="6788" y="2011"/>
                  </a:cubicBezTo>
                  <a:cubicBezTo>
                    <a:pt x="6788" y="149"/>
                    <a:pt x="6788" y="149"/>
                    <a:pt x="6788" y="149"/>
                  </a:cubicBezTo>
                  <a:cubicBezTo>
                    <a:pt x="4767" y="149"/>
                    <a:pt x="4767" y="149"/>
                    <a:pt x="4767" y="149"/>
                  </a:cubicBezTo>
                  <a:cubicBezTo>
                    <a:pt x="4767" y="2011"/>
                    <a:pt x="4767" y="2011"/>
                    <a:pt x="4767" y="2011"/>
                  </a:cubicBezTo>
                  <a:cubicBezTo>
                    <a:pt x="5513" y="2011"/>
                    <a:pt x="5513" y="2011"/>
                    <a:pt x="5513" y="2011"/>
                  </a:cubicBezTo>
                  <a:cubicBezTo>
                    <a:pt x="5513" y="9385"/>
                    <a:pt x="5513" y="9385"/>
                    <a:pt x="5513" y="9385"/>
                  </a:cubicBezTo>
                  <a:lnTo>
                    <a:pt x="6043" y="9385"/>
                  </a:lnTo>
                  <a:close/>
                  <a:moveTo>
                    <a:pt x="2766" y="3501"/>
                  </a:moveTo>
                  <a:cubicBezTo>
                    <a:pt x="3943" y="9385"/>
                    <a:pt x="3943" y="9385"/>
                    <a:pt x="3943" y="9385"/>
                  </a:cubicBezTo>
                  <a:cubicBezTo>
                    <a:pt x="4414" y="9385"/>
                    <a:pt x="4414" y="9385"/>
                    <a:pt x="4414" y="9385"/>
                  </a:cubicBezTo>
                  <a:cubicBezTo>
                    <a:pt x="4414" y="149"/>
                    <a:pt x="4414" y="149"/>
                    <a:pt x="4414" y="149"/>
                  </a:cubicBezTo>
                  <a:cubicBezTo>
                    <a:pt x="3865" y="149"/>
                    <a:pt x="3865" y="149"/>
                    <a:pt x="3865" y="149"/>
                  </a:cubicBezTo>
                  <a:cubicBezTo>
                    <a:pt x="3865" y="5884"/>
                    <a:pt x="3865" y="5884"/>
                    <a:pt x="3865" y="5884"/>
                  </a:cubicBezTo>
                  <a:cubicBezTo>
                    <a:pt x="2727" y="149"/>
                    <a:pt x="2727" y="149"/>
                    <a:pt x="2727" y="149"/>
                  </a:cubicBezTo>
                  <a:cubicBezTo>
                    <a:pt x="2237" y="149"/>
                    <a:pt x="2237" y="149"/>
                    <a:pt x="2237" y="149"/>
                  </a:cubicBezTo>
                  <a:cubicBezTo>
                    <a:pt x="2237" y="9385"/>
                    <a:pt x="2237" y="9385"/>
                    <a:pt x="2237" y="9385"/>
                  </a:cubicBezTo>
                  <a:cubicBezTo>
                    <a:pt x="2766" y="9385"/>
                    <a:pt x="2766" y="9385"/>
                    <a:pt x="2766" y="9385"/>
                  </a:cubicBezTo>
                  <a:lnTo>
                    <a:pt x="2766" y="3501"/>
                  </a:lnTo>
                  <a:close/>
                  <a:moveTo>
                    <a:pt x="1864" y="7597"/>
                  </a:moveTo>
                  <a:cubicBezTo>
                    <a:pt x="530" y="7597"/>
                    <a:pt x="530" y="7597"/>
                    <a:pt x="530" y="7597"/>
                  </a:cubicBezTo>
                  <a:cubicBezTo>
                    <a:pt x="530" y="5661"/>
                    <a:pt x="530" y="5661"/>
                    <a:pt x="530" y="5661"/>
                  </a:cubicBezTo>
                  <a:cubicBezTo>
                    <a:pt x="1687" y="5661"/>
                    <a:pt x="1687" y="5661"/>
                    <a:pt x="1687" y="5661"/>
                  </a:cubicBezTo>
                  <a:cubicBezTo>
                    <a:pt x="1687" y="3873"/>
                    <a:pt x="1687" y="3873"/>
                    <a:pt x="1687" y="3873"/>
                  </a:cubicBezTo>
                  <a:cubicBezTo>
                    <a:pt x="530" y="3873"/>
                    <a:pt x="530" y="3873"/>
                    <a:pt x="530" y="3873"/>
                  </a:cubicBezTo>
                  <a:cubicBezTo>
                    <a:pt x="530" y="1937"/>
                    <a:pt x="530" y="1937"/>
                    <a:pt x="530" y="1937"/>
                  </a:cubicBezTo>
                  <a:cubicBezTo>
                    <a:pt x="1844" y="1937"/>
                    <a:pt x="1844" y="1937"/>
                    <a:pt x="1844" y="1937"/>
                  </a:cubicBezTo>
                  <a:cubicBezTo>
                    <a:pt x="1844" y="149"/>
                    <a:pt x="1844" y="149"/>
                    <a:pt x="1844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9385"/>
                    <a:pt x="0" y="9385"/>
                    <a:pt x="0" y="9385"/>
                  </a:cubicBezTo>
                  <a:cubicBezTo>
                    <a:pt x="1864" y="9385"/>
                    <a:pt x="1864" y="9385"/>
                    <a:pt x="1864" y="9385"/>
                  </a:cubicBezTo>
                  <a:lnTo>
                    <a:pt x="1864" y="7597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  <p:sp>
          <p:nvSpPr>
            <p:cNvPr id="424" name="Freeform 6"/>
            <p:cNvSpPr/>
            <p:nvPr/>
          </p:nvSpPr>
          <p:spPr>
            <a:xfrm>
              <a:off x="466725" y="427037"/>
              <a:ext cx="1368426" cy="698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60" y="9818"/>
                  </a:moveTo>
                  <a:cubicBezTo>
                    <a:pt x="21160" y="8640"/>
                    <a:pt x="21200" y="7855"/>
                    <a:pt x="21280" y="7855"/>
                  </a:cubicBezTo>
                  <a:cubicBezTo>
                    <a:pt x="21380" y="7855"/>
                    <a:pt x="21420" y="8247"/>
                    <a:pt x="21480" y="9818"/>
                  </a:cubicBezTo>
                  <a:cubicBezTo>
                    <a:pt x="21560" y="8640"/>
                    <a:pt x="21560" y="8640"/>
                    <a:pt x="21560" y="8640"/>
                  </a:cubicBezTo>
                  <a:cubicBezTo>
                    <a:pt x="21500" y="7069"/>
                    <a:pt x="21400" y="5891"/>
                    <a:pt x="21300" y="5891"/>
                  </a:cubicBezTo>
                  <a:cubicBezTo>
                    <a:pt x="21160" y="5891"/>
                    <a:pt x="21041" y="7462"/>
                    <a:pt x="21041" y="9818"/>
                  </a:cubicBezTo>
                  <a:cubicBezTo>
                    <a:pt x="21041" y="15316"/>
                    <a:pt x="21500" y="13353"/>
                    <a:pt x="21500" y="17280"/>
                  </a:cubicBezTo>
                  <a:cubicBezTo>
                    <a:pt x="21500" y="18458"/>
                    <a:pt x="21440" y="19636"/>
                    <a:pt x="21320" y="19636"/>
                  </a:cubicBezTo>
                  <a:cubicBezTo>
                    <a:pt x="21220" y="19636"/>
                    <a:pt x="21160" y="18851"/>
                    <a:pt x="21100" y="17673"/>
                  </a:cubicBezTo>
                  <a:cubicBezTo>
                    <a:pt x="21021" y="18851"/>
                    <a:pt x="21021" y="18851"/>
                    <a:pt x="21021" y="18851"/>
                  </a:cubicBezTo>
                  <a:cubicBezTo>
                    <a:pt x="21100" y="20422"/>
                    <a:pt x="21200" y="21600"/>
                    <a:pt x="21320" y="21600"/>
                  </a:cubicBezTo>
                  <a:cubicBezTo>
                    <a:pt x="21460" y="21600"/>
                    <a:pt x="21600" y="20029"/>
                    <a:pt x="21600" y="17280"/>
                  </a:cubicBezTo>
                  <a:cubicBezTo>
                    <a:pt x="21600" y="11389"/>
                    <a:pt x="21160" y="13353"/>
                    <a:pt x="21160" y="9818"/>
                  </a:cubicBezTo>
                  <a:moveTo>
                    <a:pt x="20481" y="9818"/>
                  </a:moveTo>
                  <a:cubicBezTo>
                    <a:pt x="20481" y="8640"/>
                    <a:pt x="20541" y="7855"/>
                    <a:pt x="20621" y="7855"/>
                  </a:cubicBezTo>
                  <a:cubicBezTo>
                    <a:pt x="20721" y="7855"/>
                    <a:pt x="20761" y="8247"/>
                    <a:pt x="20821" y="9818"/>
                  </a:cubicBezTo>
                  <a:cubicBezTo>
                    <a:pt x="20901" y="8640"/>
                    <a:pt x="20901" y="8640"/>
                    <a:pt x="20901" y="8640"/>
                  </a:cubicBezTo>
                  <a:cubicBezTo>
                    <a:pt x="20841" y="7069"/>
                    <a:pt x="20741" y="5891"/>
                    <a:pt x="20641" y="5891"/>
                  </a:cubicBezTo>
                  <a:cubicBezTo>
                    <a:pt x="20481" y="5891"/>
                    <a:pt x="20381" y="7462"/>
                    <a:pt x="20381" y="9818"/>
                  </a:cubicBezTo>
                  <a:cubicBezTo>
                    <a:pt x="20381" y="15316"/>
                    <a:pt x="20821" y="13353"/>
                    <a:pt x="20821" y="17280"/>
                  </a:cubicBezTo>
                  <a:cubicBezTo>
                    <a:pt x="20821" y="18458"/>
                    <a:pt x="20781" y="19636"/>
                    <a:pt x="20661" y="19636"/>
                  </a:cubicBezTo>
                  <a:cubicBezTo>
                    <a:pt x="20561" y="19636"/>
                    <a:pt x="20501" y="18851"/>
                    <a:pt x="20441" y="17673"/>
                  </a:cubicBezTo>
                  <a:cubicBezTo>
                    <a:pt x="20361" y="18851"/>
                    <a:pt x="20361" y="18851"/>
                    <a:pt x="20361" y="18851"/>
                  </a:cubicBezTo>
                  <a:cubicBezTo>
                    <a:pt x="20441" y="20422"/>
                    <a:pt x="20541" y="21600"/>
                    <a:pt x="20661" y="21600"/>
                  </a:cubicBezTo>
                  <a:cubicBezTo>
                    <a:pt x="20801" y="21600"/>
                    <a:pt x="20941" y="20029"/>
                    <a:pt x="20941" y="17280"/>
                  </a:cubicBezTo>
                  <a:cubicBezTo>
                    <a:pt x="20941" y="11389"/>
                    <a:pt x="20481" y="13353"/>
                    <a:pt x="20481" y="9818"/>
                  </a:cubicBezTo>
                  <a:moveTo>
                    <a:pt x="19962" y="7855"/>
                  </a:moveTo>
                  <a:cubicBezTo>
                    <a:pt x="20081" y="7855"/>
                    <a:pt x="20141" y="9425"/>
                    <a:pt x="20141" y="12567"/>
                  </a:cubicBezTo>
                  <a:cubicBezTo>
                    <a:pt x="19742" y="12567"/>
                    <a:pt x="19742" y="12567"/>
                    <a:pt x="19742" y="12567"/>
                  </a:cubicBezTo>
                  <a:cubicBezTo>
                    <a:pt x="19762" y="9425"/>
                    <a:pt x="19822" y="7855"/>
                    <a:pt x="19962" y="7855"/>
                  </a:cubicBezTo>
                  <a:moveTo>
                    <a:pt x="19981" y="19636"/>
                  </a:moveTo>
                  <a:cubicBezTo>
                    <a:pt x="19842" y="19636"/>
                    <a:pt x="19742" y="17673"/>
                    <a:pt x="19742" y="14138"/>
                  </a:cubicBezTo>
                  <a:cubicBezTo>
                    <a:pt x="20241" y="14138"/>
                    <a:pt x="20241" y="14138"/>
                    <a:pt x="20241" y="14138"/>
                  </a:cubicBezTo>
                  <a:cubicBezTo>
                    <a:pt x="20241" y="12960"/>
                    <a:pt x="20241" y="12960"/>
                    <a:pt x="20241" y="12960"/>
                  </a:cubicBezTo>
                  <a:cubicBezTo>
                    <a:pt x="20241" y="7855"/>
                    <a:pt x="20121" y="5891"/>
                    <a:pt x="19962" y="5891"/>
                  </a:cubicBezTo>
                  <a:cubicBezTo>
                    <a:pt x="19762" y="5891"/>
                    <a:pt x="19642" y="9033"/>
                    <a:pt x="19642" y="13745"/>
                  </a:cubicBezTo>
                  <a:cubicBezTo>
                    <a:pt x="19642" y="19244"/>
                    <a:pt x="19802" y="21600"/>
                    <a:pt x="19981" y="21600"/>
                  </a:cubicBezTo>
                  <a:cubicBezTo>
                    <a:pt x="20141" y="21600"/>
                    <a:pt x="20221" y="19636"/>
                    <a:pt x="20261" y="18065"/>
                  </a:cubicBezTo>
                  <a:cubicBezTo>
                    <a:pt x="20181" y="17280"/>
                    <a:pt x="20181" y="17280"/>
                    <a:pt x="20181" y="17280"/>
                  </a:cubicBezTo>
                  <a:cubicBezTo>
                    <a:pt x="20141" y="18851"/>
                    <a:pt x="20061" y="19636"/>
                    <a:pt x="19981" y="19636"/>
                  </a:cubicBezTo>
                  <a:moveTo>
                    <a:pt x="19222" y="5891"/>
                  </a:moveTo>
                  <a:cubicBezTo>
                    <a:pt x="19142" y="5891"/>
                    <a:pt x="19062" y="7069"/>
                    <a:pt x="19002" y="8247"/>
                  </a:cubicBezTo>
                  <a:cubicBezTo>
                    <a:pt x="19002" y="8247"/>
                    <a:pt x="19002" y="8247"/>
                    <a:pt x="19002" y="8247"/>
                  </a:cubicBezTo>
                  <a:cubicBezTo>
                    <a:pt x="19002" y="6284"/>
                    <a:pt x="19002" y="6284"/>
                    <a:pt x="19002" y="6284"/>
                  </a:cubicBezTo>
                  <a:cubicBezTo>
                    <a:pt x="18883" y="6284"/>
                    <a:pt x="18883" y="6284"/>
                    <a:pt x="18883" y="6284"/>
                  </a:cubicBezTo>
                  <a:cubicBezTo>
                    <a:pt x="18883" y="21207"/>
                    <a:pt x="18883" y="21207"/>
                    <a:pt x="18883" y="21207"/>
                  </a:cubicBezTo>
                  <a:cubicBezTo>
                    <a:pt x="19002" y="21207"/>
                    <a:pt x="19002" y="21207"/>
                    <a:pt x="19002" y="21207"/>
                  </a:cubicBezTo>
                  <a:cubicBezTo>
                    <a:pt x="19002" y="10211"/>
                    <a:pt x="19002" y="10211"/>
                    <a:pt x="19002" y="10211"/>
                  </a:cubicBezTo>
                  <a:cubicBezTo>
                    <a:pt x="19042" y="9033"/>
                    <a:pt x="19142" y="7855"/>
                    <a:pt x="19222" y="7855"/>
                  </a:cubicBezTo>
                  <a:cubicBezTo>
                    <a:pt x="19282" y="7855"/>
                    <a:pt x="19342" y="8247"/>
                    <a:pt x="19342" y="10211"/>
                  </a:cubicBezTo>
                  <a:cubicBezTo>
                    <a:pt x="19342" y="21207"/>
                    <a:pt x="19342" y="21207"/>
                    <a:pt x="19342" y="21207"/>
                  </a:cubicBezTo>
                  <a:cubicBezTo>
                    <a:pt x="19442" y="21207"/>
                    <a:pt x="19442" y="21207"/>
                    <a:pt x="19442" y="21207"/>
                  </a:cubicBezTo>
                  <a:cubicBezTo>
                    <a:pt x="19442" y="10211"/>
                    <a:pt x="19442" y="10211"/>
                    <a:pt x="19442" y="10211"/>
                  </a:cubicBezTo>
                  <a:cubicBezTo>
                    <a:pt x="19442" y="7069"/>
                    <a:pt x="19342" y="5891"/>
                    <a:pt x="19222" y="5891"/>
                  </a:cubicBezTo>
                  <a:moveTo>
                    <a:pt x="18503" y="21207"/>
                  </a:moveTo>
                  <a:cubicBezTo>
                    <a:pt x="18603" y="21207"/>
                    <a:pt x="18603" y="21207"/>
                    <a:pt x="18603" y="21207"/>
                  </a:cubicBezTo>
                  <a:cubicBezTo>
                    <a:pt x="18603" y="6284"/>
                    <a:pt x="18603" y="6284"/>
                    <a:pt x="18603" y="6284"/>
                  </a:cubicBezTo>
                  <a:cubicBezTo>
                    <a:pt x="18503" y="6284"/>
                    <a:pt x="18503" y="6284"/>
                    <a:pt x="18503" y="6284"/>
                  </a:cubicBezTo>
                  <a:lnTo>
                    <a:pt x="18503" y="21207"/>
                  </a:lnTo>
                  <a:close/>
                  <a:moveTo>
                    <a:pt x="18503" y="2749"/>
                  </a:moveTo>
                  <a:cubicBezTo>
                    <a:pt x="18603" y="2749"/>
                    <a:pt x="18603" y="2749"/>
                    <a:pt x="18603" y="2749"/>
                  </a:cubicBezTo>
                  <a:cubicBezTo>
                    <a:pt x="18603" y="0"/>
                    <a:pt x="18603" y="0"/>
                    <a:pt x="18603" y="0"/>
                  </a:cubicBezTo>
                  <a:cubicBezTo>
                    <a:pt x="18503" y="0"/>
                    <a:pt x="18503" y="0"/>
                    <a:pt x="18503" y="0"/>
                  </a:cubicBezTo>
                  <a:lnTo>
                    <a:pt x="18503" y="2749"/>
                  </a:lnTo>
                  <a:close/>
                  <a:moveTo>
                    <a:pt x="17843" y="9818"/>
                  </a:moveTo>
                  <a:cubicBezTo>
                    <a:pt x="17843" y="8640"/>
                    <a:pt x="17903" y="7855"/>
                    <a:pt x="17983" y="7855"/>
                  </a:cubicBezTo>
                  <a:cubicBezTo>
                    <a:pt x="18063" y="7855"/>
                    <a:pt x="18123" y="8247"/>
                    <a:pt x="18183" y="9818"/>
                  </a:cubicBezTo>
                  <a:cubicBezTo>
                    <a:pt x="18263" y="8640"/>
                    <a:pt x="18263" y="8640"/>
                    <a:pt x="18263" y="8640"/>
                  </a:cubicBezTo>
                  <a:cubicBezTo>
                    <a:pt x="18203" y="7069"/>
                    <a:pt x="18103" y="5891"/>
                    <a:pt x="18003" y="5891"/>
                  </a:cubicBezTo>
                  <a:cubicBezTo>
                    <a:pt x="17843" y="5891"/>
                    <a:pt x="17744" y="7462"/>
                    <a:pt x="17744" y="9818"/>
                  </a:cubicBezTo>
                  <a:cubicBezTo>
                    <a:pt x="17724" y="15316"/>
                    <a:pt x="18183" y="13353"/>
                    <a:pt x="18183" y="17280"/>
                  </a:cubicBezTo>
                  <a:cubicBezTo>
                    <a:pt x="18183" y="18458"/>
                    <a:pt x="18143" y="19636"/>
                    <a:pt x="18023" y="19636"/>
                  </a:cubicBezTo>
                  <a:cubicBezTo>
                    <a:pt x="17923" y="19636"/>
                    <a:pt x="17843" y="18851"/>
                    <a:pt x="17804" y="17673"/>
                  </a:cubicBezTo>
                  <a:cubicBezTo>
                    <a:pt x="17724" y="18851"/>
                    <a:pt x="17724" y="18851"/>
                    <a:pt x="17724" y="18851"/>
                  </a:cubicBezTo>
                  <a:cubicBezTo>
                    <a:pt x="17784" y="20422"/>
                    <a:pt x="17903" y="21600"/>
                    <a:pt x="18023" y="21600"/>
                  </a:cubicBezTo>
                  <a:cubicBezTo>
                    <a:pt x="18163" y="21600"/>
                    <a:pt x="18283" y="20029"/>
                    <a:pt x="18283" y="17280"/>
                  </a:cubicBezTo>
                  <a:cubicBezTo>
                    <a:pt x="18283" y="11389"/>
                    <a:pt x="17843" y="13353"/>
                    <a:pt x="17843" y="9818"/>
                  </a:cubicBezTo>
                  <a:moveTo>
                    <a:pt x="17444" y="17673"/>
                  </a:moveTo>
                  <a:cubicBezTo>
                    <a:pt x="17384" y="18458"/>
                    <a:pt x="17304" y="19636"/>
                    <a:pt x="17224" y="19636"/>
                  </a:cubicBezTo>
                  <a:cubicBezTo>
                    <a:pt x="17144" y="19636"/>
                    <a:pt x="17104" y="19244"/>
                    <a:pt x="17104" y="17280"/>
                  </a:cubicBezTo>
                  <a:cubicBezTo>
                    <a:pt x="17104" y="6284"/>
                    <a:pt x="17104" y="6284"/>
                    <a:pt x="17104" y="6284"/>
                  </a:cubicBezTo>
                  <a:cubicBezTo>
                    <a:pt x="16984" y="6284"/>
                    <a:pt x="16984" y="6284"/>
                    <a:pt x="16984" y="6284"/>
                  </a:cubicBezTo>
                  <a:cubicBezTo>
                    <a:pt x="16984" y="17280"/>
                    <a:pt x="16984" y="17280"/>
                    <a:pt x="16984" y="17280"/>
                  </a:cubicBezTo>
                  <a:cubicBezTo>
                    <a:pt x="16984" y="20422"/>
                    <a:pt x="17104" y="21600"/>
                    <a:pt x="17204" y="21600"/>
                  </a:cubicBezTo>
                  <a:cubicBezTo>
                    <a:pt x="17304" y="21600"/>
                    <a:pt x="17384" y="20422"/>
                    <a:pt x="17444" y="19244"/>
                  </a:cubicBezTo>
                  <a:cubicBezTo>
                    <a:pt x="17444" y="19244"/>
                    <a:pt x="17444" y="19244"/>
                    <a:pt x="17444" y="19244"/>
                  </a:cubicBezTo>
                  <a:cubicBezTo>
                    <a:pt x="17444" y="21207"/>
                    <a:pt x="17444" y="21207"/>
                    <a:pt x="17444" y="21207"/>
                  </a:cubicBezTo>
                  <a:cubicBezTo>
                    <a:pt x="17544" y="21207"/>
                    <a:pt x="17544" y="21207"/>
                    <a:pt x="17544" y="21207"/>
                  </a:cubicBezTo>
                  <a:cubicBezTo>
                    <a:pt x="17544" y="6284"/>
                    <a:pt x="17544" y="6284"/>
                    <a:pt x="17544" y="6284"/>
                  </a:cubicBezTo>
                  <a:cubicBezTo>
                    <a:pt x="17444" y="6284"/>
                    <a:pt x="17444" y="6284"/>
                    <a:pt x="17444" y="6284"/>
                  </a:cubicBezTo>
                  <a:lnTo>
                    <a:pt x="17444" y="17673"/>
                  </a:lnTo>
                  <a:close/>
                  <a:moveTo>
                    <a:pt x="16465" y="19636"/>
                  </a:moveTo>
                  <a:cubicBezTo>
                    <a:pt x="16385" y="19636"/>
                    <a:pt x="16345" y="19244"/>
                    <a:pt x="16265" y="17673"/>
                  </a:cubicBezTo>
                  <a:cubicBezTo>
                    <a:pt x="16265" y="9818"/>
                    <a:pt x="16265" y="9818"/>
                    <a:pt x="16265" y="9818"/>
                  </a:cubicBezTo>
                  <a:cubicBezTo>
                    <a:pt x="16325" y="8640"/>
                    <a:pt x="16405" y="7855"/>
                    <a:pt x="16465" y="7855"/>
                  </a:cubicBezTo>
                  <a:cubicBezTo>
                    <a:pt x="16585" y="7855"/>
                    <a:pt x="16685" y="9425"/>
                    <a:pt x="16685" y="13745"/>
                  </a:cubicBezTo>
                  <a:cubicBezTo>
                    <a:pt x="16685" y="17673"/>
                    <a:pt x="16585" y="19636"/>
                    <a:pt x="16465" y="19636"/>
                  </a:cubicBezTo>
                  <a:moveTo>
                    <a:pt x="16485" y="5891"/>
                  </a:moveTo>
                  <a:cubicBezTo>
                    <a:pt x="16405" y="5891"/>
                    <a:pt x="16325" y="6676"/>
                    <a:pt x="16265" y="7462"/>
                  </a:cubicBezTo>
                  <a:cubicBezTo>
                    <a:pt x="16265" y="7855"/>
                    <a:pt x="16265" y="7855"/>
                    <a:pt x="16265" y="7855"/>
                  </a:cubicBezTo>
                  <a:cubicBezTo>
                    <a:pt x="16265" y="393"/>
                    <a:pt x="16265" y="393"/>
                    <a:pt x="16265" y="393"/>
                  </a:cubicBezTo>
                  <a:cubicBezTo>
                    <a:pt x="16165" y="393"/>
                    <a:pt x="16165" y="393"/>
                    <a:pt x="16165" y="393"/>
                  </a:cubicBezTo>
                  <a:cubicBezTo>
                    <a:pt x="16165" y="18065"/>
                    <a:pt x="16165" y="18065"/>
                    <a:pt x="16165" y="18065"/>
                  </a:cubicBezTo>
                  <a:cubicBezTo>
                    <a:pt x="16165" y="19244"/>
                    <a:pt x="16165" y="20029"/>
                    <a:pt x="16145" y="21207"/>
                  </a:cubicBezTo>
                  <a:cubicBezTo>
                    <a:pt x="16225" y="21207"/>
                    <a:pt x="16225" y="21207"/>
                    <a:pt x="16225" y="21207"/>
                  </a:cubicBezTo>
                  <a:cubicBezTo>
                    <a:pt x="16245" y="19636"/>
                    <a:pt x="16245" y="19636"/>
                    <a:pt x="16245" y="19636"/>
                  </a:cubicBezTo>
                  <a:cubicBezTo>
                    <a:pt x="16305" y="20815"/>
                    <a:pt x="16385" y="21600"/>
                    <a:pt x="16465" y="21600"/>
                  </a:cubicBezTo>
                  <a:cubicBezTo>
                    <a:pt x="16605" y="21600"/>
                    <a:pt x="16784" y="19636"/>
                    <a:pt x="16784" y="13745"/>
                  </a:cubicBezTo>
                  <a:cubicBezTo>
                    <a:pt x="16784" y="7855"/>
                    <a:pt x="16605" y="5891"/>
                    <a:pt x="16485" y="5891"/>
                  </a:cubicBezTo>
                  <a:moveTo>
                    <a:pt x="15086" y="9818"/>
                  </a:moveTo>
                  <a:cubicBezTo>
                    <a:pt x="15086" y="8640"/>
                    <a:pt x="15126" y="7855"/>
                    <a:pt x="15226" y="7855"/>
                  </a:cubicBezTo>
                  <a:cubicBezTo>
                    <a:pt x="15306" y="7855"/>
                    <a:pt x="15366" y="8247"/>
                    <a:pt x="15426" y="9818"/>
                  </a:cubicBezTo>
                  <a:cubicBezTo>
                    <a:pt x="15486" y="8640"/>
                    <a:pt x="15486" y="8640"/>
                    <a:pt x="15486" y="8640"/>
                  </a:cubicBezTo>
                  <a:cubicBezTo>
                    <a:pt x="15446" y="7069"/>
                    <a:pt x="15326" y="5891"/>
                    <a:pt x="15226" y="5891"/>
                  </a:cubicBezTo>
                  <a:cubicBezTo>
                    <a:pt x="15086" y="5891"/>
                    <a:pt x="14986" y="7462"/>
                    <a:pt x="14966" y="9818"/>
                  </a:cubicBezTo>
                  <a:cubicBezTo>
                    <a:pt x="14966" y="15316"/>
                    <a:pt x="15426" y="13353"/>
                    <a:pt x="15426" y="17280"/>
                  </a:cubicBezTo>
                  <a:cubicBezTo>
                    <a:pt x="15426" y="18458"/>
                    <a:pt x="15366" y="19636"/>
                    <a:pt x="15246" y="19636"/>
                  </a:cubicBezTo>
                  <a:cubicBezTo>
                    <a:pt x="15166" y="19636"/>
                    <a:pt x="15086" y="18851"/>
                    <a:pt x="15026" y="17673"/>
                  </a:cubicBezTo>
                  <a:cubicBezTo>
                    <a:pt x="14946" y="18851"/>
                    <a:pt x="14946" y="18851"/>
                    <a:pt x="14946" y="18851"/>
                  </a:cubicBezTo>
                  <a:cubicBezTo>
                    <a:pt x="15026" y="20422"/>
                    <a:pt x="15146" y="21600"/>
                    <a:pt x="15266" y="21600"/>
                  </a:cubicBezTo>
                  <a:cubicBezTo>
                    <a:pt x="15406" y="21600"/>
                    <a:pt x="15526" y="20029"/>
                    <a:pt x="15526" y="17280"/>
                  </a:cubicBezTo>
                  <a:cubicBezTo>
                    <a:pt x="15526" y="11389"/>
                    <a:pt x="15086" y="13353"/>
                    <a:pt x="15086" y="9818"/>
                  </a:cubicBezTo>
                  <a:moveTo>
                    <a:pt x="14567" y="5891"/>
                  </a:moveTo>
                  <a:cubicBezTo>
                    <a:pt x="14467" y="5891"/>
                    <a:pt x="14387" y="7069"/>
                    <a:pt x="14327" y="8247"/>
                  </a:cubicBezTo>
                  <a:cubicBezTo>
                    <a:pt x="14327" y="8247"/>
                    <a:pt x="14327" y="8247"/>
                    <a:pt x="14327" y="8247"/>
                  </a:cubicBezTo>
                  <a:cubicBezTo>
                    <a:pt x="14327" y="6284"/>
                    <a:pt x="14327" y="6284"/>
                    <a:pt x="14327" y="6284"/>
                  </a:cubicBezTo>
                  <a:cubicBezTo>
                    <a:pt x="14227" y="6284"/>
                    <a:pt x="14227" y="6284"/>
                    <a:pt x="14227" y="6284"/>
                  </a:cubicBezTo>
                  <a:cubicBezTo>
                    <a:pt x="14227" y="21207"/>
                    <a:pt x="14227" y="21207"/>
                    <a:pt x="14227" y="21207"/>
                  </a:cubicBezTo>
                  <a:cubicBezTo>
                    <a:pt x="14327" y="21207"/>
                    <a:pt x="14327" y="21207"/>
                    <a:pt x="14327" y="21207"/>
                  </a:cubicBezTo>
                  <a:cubicBezTo>
                    <a:pt x="14327" y="10211"/>
                    <a:pt x="14327" y="10211"/>
                    <a:pt x="14327" y="10211"/>
                  </a:cubicBezTo>
                  <a:cubicBezTo>
                    <a:pt x="14367" y="9033"/>
                    <a:pt x="14467" y="7855"/>
                    <a:pt x="14547" y="7855"/>
                  </a:cubicBezTo>
                  <a:cubicBezTo>
                    <a:pt x="14626" y="7855"/>
                    <a:pt x="14666" y="8247"/>
                    <a:pt x="14666" y="10211"/>
                  </a:cubicBezTo>
                  <a:cubicBezTo>
                    <a:pt x="14666" y="21207"/>
                    <a:pt x="14666" y="21207"/>
                    <a:pt x="14666" y="21207"/>
                  </a:cubicBezTo>
                  <a:cubicBezTo>
                    <a:pt x="14786" y="21207"/>
                    <a:pt x="14786" y="21207"/>
                    <a:pt x="14786" y="21207"/>
                  </a:cubicBezTo>
                  <a:cubicBezTo>
                    <a:pt x="14786" y="10211"/>
                    <a:pt x="14786" y="10211"/>
                    <a:pt x="14786" y="10211"/>
                  </a:cubicBezTo>
                  <a:cubicBezTo>
                    <a:pt x="14786" y="7069"/>
                    <a:pt x="14666" y="5891"/>
                    <a:pt x="14567" y="5891"/>
                  </a:cubicBezTo>
                  <a:moveTo>
                    <a:pt x="13887" y="17280"/>
                  </a:moveTo>
                  <a:cubicBezTo>
                    <a:pt x="13807" y="18851"/>
                    <a:pt x="13727" y="19636"/>
                    <a:pt x="13647" y="19636"/>
                  </a:cubicBezTo>
                  <a:cubicBezTo>
                    <a:pt x="13587" y="19636"/>
                    <a:pt x="13507" y="18851"/>
                    <a:pt x="13507" y="17673"/>
                  </a:cubicBezTo>
                  <a:cubicBezTo>
                    <a:pt x="13507" y="15316"/>
                    <a:pt x="13627" y="14138"/>
                    <a:pt x="13887" y="13353"/>
                  </a:cubicBezTo>
                  <a:lnTo>
                    <a:pt x="13887" y="17280"/>
                  </a:lnTo>
                  <a:close/>
                  <a:moveTo>
                    <a:pt x="13987" y="10604"/>
                  </a:moveTo>
                  <a:cubicBezTo>
                    <a:pt x="13987" y="7069"/>
                    <a:pt x="13847" y="5891"/>
                    <a:pt x="13727" y="5891"/>
                  </a:cubicBezTo>
                  <a:cubicBezTo>
                    <a:pt x="13567" y="5891"/>
                    <a:pt x="13488" y="7462"/>
                    <a:pt x="13428" y="9033"/>
                  </a:cubicBezTo>
                  <a:cubicBezTo>
                    <a:pt x="13527" y="10211"/>
                    <a:pt x="13527" y="10211"/>
                    <a:pt x="13527" y="10211"/>
                  </a:cubicBezTo>
                  <a:cubicBezTo>
                    <a:pt x="13547" y="9033"/>
                    <a:pt x="13607" y="7855"/>
                    <a:pt x="13727" y="7855"/>
                  </a:cubicBezTo>
                  <a:cubicBezTo>
                    <a:pt x="13807" y="7855"/>
                    <a:pt x="13887" y="8640"/>
                    <a:pt x="13887" y="10604"/>
                  </a:cubicBezTo>
                  <a:cubicBezTo>
                    <a:pt x="13887" y="11389"/>
                    <a:pt x="13887" y="11389"/>
                    <a:pt x="13887" y="11389"/>
                  </a:cubicBezTo>
                  <a:cubicBezTo>
                    <a:pt x="13547" y="12567"/>
                    <a:pt x="13408" y="14138"/>
                    <a:pt x="13408" y="17280"/>
                  </a:cubicBezTo>
                  <a:cubicBezTo>
                    <a:pt x="13408" y="20029"/>
                    <a:pt x="13507" y="21600"/>
                    <a:pt x="13627" y="21600"/>
                  </a:cubicBezTo>
                  <a:cubicBezTo>
                    <a:pt x="13747" y="21600"/>
                    <a:pt x="13827" y="20422"/>
                    <a:pt x="13887" y="19244"/>
                  </a:cubicBezTo>
                  <a:cubicBezTo>
                    <a:pt x="13887" y="21207"/>
                    <a:pt x="13887" y="21207"/>
                    <a:pt x="13887" y="21207"/>
                  </a:cubicBezTo>
                  <a:cubicBezTo>
                    <a:pt x="14007" y="21207"/>
                    <a:pt x="14007" y="21207"/>
                    <a:pt x="14007" y="21207"/>
                  </a:cubicBezTo>
                  <a:cubicBezTo>
                    <a:pt x="13987" y="20422"/>
                    <a:pt x="13987" y="19636"/>
                    <a:pt x="13987" y="18065"/>
                  </a:cubicBezTo>
                  <a:lnTo>
                    <a:pt x="13987" y="10604"/>
                  </a:lnTo>
                  <a:close/>
                  <a:moveTo>
                    <a:pt x="12988" y="7855"/>
                  </a:moveTo>
                  <a:cubicBezTo>
                    <a:pt x="13088" y="7855"/>
                    <a:pt x="13168" y="9425"/>
                    <a:pt x="13168" y="12567"/>
                  </a:cubicBezTo>
                  <a:cubicBezTo>
                    <a:pt x="12768" y="12567"/>
                    <a:pt x="12768" y="12567"/>
                    <a:pt x="12768" y="12567"/>
                  </a:cubicBezTo>
                  <a:cubicBezTo>
                    <a:pt x="12788" y="9425"/>
                    <a:pt x="12848" y="7855"/>
                    <a:pt x="12988" y="7855"/>
                  </a:cubicBezTo>
                  <a:moveTo>
                    <a:pt x="12988" y="19636"/>
                  </a:moveTo>
                  <a:cubicBezTo>
                    <a:pt x="12868" y="19636"/>
                    <a:pt x="12768" y="17673"/>
                    <a:pt x="12768" y="14138"/>
                  </a:cubicBezTo>
                  <a:cubicBezTo>
                    <a:pt x="13268" y="14138"/>
                    <a:pt x="13268" y="14138"/>
                    <a:pt x="13268" y="14138"/>
                  </a:cubicBezTo>
                  <a:cubicBezTo>
                    <a:pt x="13268" y="12960"/>
                    <a:pt x="13268" y="12960"/>
                    <a:pt x="13268" y="12960"/>
                  </a:cubicBezTo>
                  <a:cubicBezTo>
                    <a:pt x="13268" y="7855"/>
                    <a:pt x="13128" y="5891"/>
                    <a:pt x="12968" y="5891"/>
                  </a:cubicBezTo>
                  <a:cubicBezTo>
                    <a:pt x="12788" y="5891"/>
                    <a:pt x="12668" y="9033"/>
                    <a:pt x="12668" y="13745"/>
                  </a:cubicBezTo>
                  <a:cubicBezTo>
                    <a:pt x="12668" y="19244"/>
                    <a:pt x="12828" y="21600"/>
                    <a:pt x="12988" y="21600"/>
                  </a:cubicBezTo>
                  <a:cubicBezTo>
                    <a:pt x="13168" y="21600"/>
                    <a:pt x="13248" y="19636"/>
                    <a:pt x="13288" y="18065"/>
                  </a:cubicBezTo>
                  <a:cubicBezTo>
                    <a:pt x="13208" y="17280"/>
                    <a:pt x="13208" y="17280"/>
                    <a:pt x="13208" y="17280"/>
                  </a:cubicBezTo>
                  <a:cubicBezTo>
                    <a:pt x="13168" y="18851"/>
                    <a:pt x="13088" y="19636"/>
                    <a:pt x="12988" y="19636"/>
                  </a:cubicBezTo>
                  <a:moveTo>
                    <a:pt x="12269" y="5891"/>
                  </a:moveTo>
                  <a:cubicBezTo>
                    <a:pt x="12169" y="5891"/>
                    <a:pt x="12089" y="7069"/>
                    <a:pt x="12029" y="8247"/>
                  </a:cubicBezTo>
                  <a:cubicBezTo>
                    <a:pt x="11989" y="7069"/>
                    <a:pt x="11929" y="5891"/>
                    <a:pt x="11829" y="5891"/>
                  </a:cubicBezTo>
                  <a:cubicBezTo>
                    <a:pt x="11749" y="5891"/>
                    <a:pt x="11669" y="6676"/>
                    <a:pt x="11609" y="8247"/>
                  </a:cubicBezTo>
                  <a:cubicBezTo>
                    <a:pt x="11589" y="8247"/>
                    <a:pt x="11589" y="8247"/>
                    <a:pt x="11589" y="8247"/>
                  </a:cubicBezTo>
                  <a:cubicBezTo>
                    <a:pt x="11589" y="6284"/>
                    <a:pt x="11589" y="6284"/>
                    <a:pt x="11589" y="6284"/>
                  </a:cubicBezTo>
                  <a:cubicBezTo>
                    <a:pt x="11489" y="6284"/>
                    <a:pt x="11489" y="6284"/>
                    <a:pt x="11489" y="6284"/>
                  </a:cubicBezTo>
                  <a:cubicBezTo>
                    <a:pt x="11489" y="21207"/>
                    <a:pt x="11489" y="21207"/>
                    <a:pt x="11489" y="21207"/>
                  </a:cubicBezTo>
                  <a:cubicBezTo>
                    <a:pt x="11589" y="21207"/>
                    <a:pt x="11589" y="21207"/>
                    <a:pt x="11589" y="21207"/>
                  </a:cubicBezTo>
                  <a:cubicBezTo>
                    <a:pt x="11589" y="10211"/>
                    <a:pt x="11589" y="10211"/>
                    <a:pt x="11589" y="10211"/>
                  </a:cubicBezTo>
                  <a:cubicBezTo>
                    <a:pt x="11649" y="9033"/>
                    <a:pt x="11709" y="7855"/>
                    <a:pt x="11809" y="7855"/>
                  </a:cubicBezTo>
                  <a:cubicBezTo>
                    <a:pt x="11889" y="7855"/>
                    <a:pt x="11929" y="8640"/>
                    <a:pt x="11929" y="10604"/>
                  </a:cubicBezTo>
                  <a:cubicBezTo>
                    <a:pt x="11929" y="21207"/>
                    <a:pt x="11929" y="21207"/>
                    <a:pt x="11929" y="21207"/>
                  </a:cubicBezTo>
                  <a:cubicBezTo>
                    <a:pt x="12029" y="21207"/>
                    <a:pt x="12029" y="21207"/>
                    <a:pt x="12029" y="21207"/>
                  </a:cubicBezTo>
                  <a:cubicBezTo>
                    <a:pt x="12029" y="10211"/>
                    <a:pt x="12029" y="10211"/>
                    <a:pt x="12029" y="10211"/>
                  </a:cubicBezTo>
                  <a:cubicBezTo>
                    <a:pt x="12089" y="9033"/>
                    <a:pt x="12149" y="7855"/>
                    <a:pt x="12249" y="7855"/>
                  </a:cubicBezTo>
                  <a:cubicBezTo>
                    <a:pt x="12329" y="7855"/>
                    <a:pt x="12369" y="8640"/>
                    <a:pt x="12369" y="10604"/>
                  </a:cubicBezTo>
                  <a:cubicBezTo>
                    <a:pt x="12369" y="21207"/>
                    <a:pt x="12369" y="21207"/>
                    <a:pt x="12369" y="21207"/>
                  </a:cubicBezTo>
                  <a:cubicBezTo>
                    <a:pt x="12468" y="21207"/>
                    <a:pt x="12468" y="21207"/>
                    <a:pt x="12468" y="21207"/>
                  </a:cubicBezTo>
                  <a:cubicBezTo>
                    <a:pt x="12468" y="10604"/>
                    <a:pt x="12468" y="10604"/>
                    <a:pt x="12468" y="10604"/>
                  </a:cubicBezTo>
                  <a:cubicBezTo>
                    <a:pt x="12468" y="6676"/>
                    <a:pt x="12369" y="5891"/>
                    <a:pt x="12269" y="5891"/>
                  </a:cubicBezTo>
                  <a:moveTo>
                    <a:pt x="10550" y="5891"/>
                  </a:moveTo>
                  <a:cubicBezTo>
                    <a:pt x="10470" y="5891"/>
                    <a:pt x="10390" y="7069"/>
                    <a:pt x="10330" y="8247"/>
                  </a:cubicBezTo>
                  <a:cubicBezTo>
                    <a:pt x="10330" y="8247"/>
                    <a:pt x="10330" y="8247"/>
                    <a:pt x="10330" y="8247"/>
                  </a:cubicBezTo>
                  <a:cubicBezTo>
                    <a:pt x="10330" y="6284"/>
                    <a:pt x="10330" y="6284"/>
                    <a:pt x="10330" y="6284"/>
                  </a:cubicBezTo>
                  <a:cubicBezTo>
                    <a:pt x="10231" y="6284"/>
                    <a:pt x="10231" y="6284"/>
                    <a:pt x="10231" y="6284"/>
                  </a:cubicBezTo>
                  <a:cubicBezTo>
                    <a:pt x="10231" y="21207"/>
                    <a:pt x="10231" y="21207"/>
                    <a:pt x="10231" y="21207"/>
                  </a:cubicBezTo>
                  <a:cubicBezTo>
                    <a:pt x="10330" y="21207"/>
                    <a:pt x="10330" y="21207"/>
                    <a:pt x="10330" y="21207"/>
                  </a:cubicBezTo>
                  <a:cubicBezTo>
                    <a:pt x="10330" y="10211"/>
                    <a:pt x="10330" y="10211"/>
                    <a:pt x="10330" y="10211"/>
                  </a:cubicBezTo>
                  <a:cubicBezTo>
                    <a:pt x="10370" y="9033"/>
                    <a:pt x="10470" y="7855"/>
                    <a:pt x="10550" y="7855"/>
                  </a:cubicBezTo>
                  <a:cubicBezTo>
                    <a:pt x="10630" y="7855"/>
                    <a:pt x="10670" y="8247"/>
                    <a:pt x="10670" y="10211"/>
                  </a:cubicBezTo>
                  <a:cubicBezTo>
                    <a:pt x="10670" y="21207"/>
                    <a:pt x="10670" y="21207"/>
                    <a:pt x="10670" y="21207"/>
                  </a:cubicBezTo>
                  <a:cubicBezTo>
                    <a:pt x="10770" y="21207"/>
                    <a:pt x="10770" y="21207"/>
                    <a:pt x="10770" y="21207"/>
                  </a:cubicBezTo>
                  <a:cubicBezTo>
                    <a:pt x="10770" y="10211"/>
                    <a:pt x="10770" y="10211"/>
                    <a:pt x="10770" y="10211"/>
                  </a:cubicBezTo>
                  <a:cubicBezTo>
                    <a:pt x="10770" y="7069"/>
                    <a:pt x="10670" y="5891"/>
                    <a:pt x="10550" y="5891"/>
                  </a:cubicBezTo>
                  <a:moveTo>
                    <a:pt x="9711" y="19636"/>
                  </a:moveTo>
                  <a:cubicBezTo>
                    <a:pt x="9591" y="19636"/>
                    <a:pt x="9511" y="17673"/>
                    <a:pt x="9511" y="13745"/>
                  </a:cubicBezTo>
                  <a:cubicBezTo>
                    <a:pt x="9511" y="9818"/>
                    <a:pt x="9591" y="7855"/>
                    <a:pt x="9711" y="7855"/>
                  </a:cubicBezTo>
                  <a:cubicBezTo>
                    <a:pt x="9851" y="7855"/>
                    <a:pt x="9931" y="9818"/>
                    <a:pt x="9931" y="13745"/>
                  </a:cubicBezTo>
                  <a:cubicBezTo>
                    <a:pt x="9931" y="17673"/>
                    <a:pt x="9851" y="19636"/>
                    <a:pt x="9711" y="19636"/>
                  </a:cubicBezTo>
                  <a:moveTo>
                    <a:pt x="9711" y="5891"/>
                  </a:moveTo>
                  <a:cubicBezTo>
                    <a:pt x="9511" y="5891"/>
                    <a:pt x="9411" y="9425"/>
                    <a:pt x="9411" y="13745"/>
                  </a:cubicBezTo>
                  <a:cubicBezTo>
                    <a:pt x="9411" y="18065"/>
                    <a:pt x="9511" y="21600"/>
                    <a:pt x="9711" y="21600"/>
                  </a:cubicBezTo>
                  <a:cubicBezTo>
                    <a:pt x="9931" y="21600"/>
                    <a:pt x="10031" y="18065"/>
                    <a:pt x="10031" y="13745"/>
                  </a:cubicBezTo>
                  <a:cubicBezTo>
                    <a:pt x="10031" y="9425"/>
                    <a:pt x="9931" y="5891"/>
                    <a:pt x="9711" y="5891"/>
                  </a:cubicBezTo>
                  <a:moveTo>
                    <a:pt x="9092" y="21207"/>
                  </a:moveTo>
                  <a:cubicBezTo>
                    <a:pt x="9191" y="21207"/>
                    <a:pt x="9191" y="21207"/>
                    <a:pt x="9191" y="21207"/>
                  </a:cubicBezTo>
                  <a:cubicBezTo>
                    <a:pt x="9191" y="6284"/>
                    <a:pt x="9191" y="6284"/>
                    <a:pt x="9191" y="6284"/>
                  </a:cubicBezTo>
                  <a:cubicBezTo>
                    <a:pt x="9092" y="6284"/>
                    <a:pt x="9092" y="6284"/>
                    <a:pt x="9092" y="6284"/>
                  </a:cubicBezTo>
                  <a:lnTo>
                    <a:pt x="9092" y="21207"/>
                  </a:lnTo>
                  <a:close/>
                  <a:moveTo>
                    <a:pt x="9092" y="2749"/>
                  </a:moveTo>
                  <a:cubicBezTo>
                    <a:pt x="9191" y="2749"/>
                    <a:pt x="9191" y="2749"/>
                    <a:pt x="9191" y="2749"/>
                  </a:cubicBezTo>
                  <a:cubicBezTo>
                    <a:pt x="9191" y="0"/>
                    <a:pt x="9191" y="0"/>
                    <a:pt x="9191" y="0"/>
                  </a:cubicBezTo>
                  <a:cubicBezTo>
                    <a:pt x="9092" y="0"/>
                    <a:pt x="9092" y="0"/>
                    <a:pt x="9092" y="0"/>
                  </a:cubicBezTo>
                  <a:lnTo>
                    <a:pt x="9092" y="2749"/>
                  </a:lnTo>
                  <a:close/>
                  <a:moveTo>
                    <a:pt x="8692" y="18851"/>
                  </a:moveTo>
                  <a:cubicBezTo>
                    <a:pt x="8692" y="7855"/>
                    <a:pt x="8692" y="7855"/>
                    <a:pt x="8692" y="7855"/>
                  </a:cubicBezTo>
                  <a:cubicBezTo>
                    <a:pt x="8872" y="7855"/>
                    <a:pt x="8872" y="7855"/>
                    <a:pt x="8872" y="7855"/>
                  </a:cubicBezTo>
                  <a:cubicBezTo>
                    <a:pt x="8872" y="6284"/>
                    <a:pt x="8872" y="6284"/>
                    <a:pt x="8872" y="6284"/>
                  </a:cubicBezTo>
                  <a:cubicBezTo>
                    <a:pt x="8692" y="6284"/>
                    <a:pt x="8692" y="6284"/>
                    <a:pt x="8692" y="6284"/>
                  </a:cubicBezTo>
                  <a:cubicBezTo>
                    <a:pt x="8692" y="1178"/>
                    <a:pt x="8692" y="1178"/>
                    <a:pt x="8692" y="1178"/>
                  </a:cubicBezTo>
                  <a:cubicBezTo>
                    <a:pt x="8592" y="1178"/>
                    <a:pt x="8592" y="1178"/>
                    <a:pt x="8592" y="1178"/>
                  </a:cubicBezTo>
                  <a:cubicBezTo>
                    <a:pt x="8592" y="6284"/>
                    <a:pt x="8592" y="6284"/>
                    <a:pt x="8592" y="6284"/>
                  </a:cubicBezTo>
                  <a:cubicBezTo>
                    <a:pt x="8452" y="6284"/>
                    <a:pt x="8452" y="6284"/>
                    <a:pt x="8452" y="6284"/>
                  </a:cubicBezTo>
                  <a:cubicBezTo>
                    <a:pt x="8452" y="7855"/>
                    <a:pt x="8452" y="7855"/>
                    <a:pt x="8452" y="7855"/>
                  </a:cubicBezTo>
                  <a:cubicBezTo>
                    <a:pt x="8592" y="7855"/>
                    <a:pt x="8592" y="7855"/>
                    <a:pt x="8592" y="7855"/>
                  </a:cubicBezTo>
                  <a:cubicBezTo>
                    <a:pt x="8592" y="19244"/>
                    <a:pt x="8592" y="19244"/>
                    <a:pt x="8592" y="19244"/>
                  </a:cubicBezTo>
                  <a:cubicBezTo>
                    <a:pt x="8592" y="21207"/>
                    <a:pt x="8632" y="21600"/>
                    <a:pt x="8752" y="21600"/>
                  </a:cubicBezTo>
                  <a:cubicBezTo>
                    <a:pt x="8812" y="21600"/>
                    <a:pt x="8852" y="21600"/>
                    <a:pt x="8872" y="21207"/>
                  </a:cubicBezTo>
                  <a:cubicBezTo>
                    <a:pt x="8872" y="19636"/>
                    <a:pt x="8872" y="19636"/>
                    <a:pt x="8872" y="19636"/>
                  </a:cubicBezTo>
                  <a:cubicBezTo>
                    <a:pt x="8852" y="19636"/>
                    <a:pt x="8812" y="19636"/>
                    <a:pt x="8772" y="19636"/>
                  </a:cubicBezTo>
                  <a:cubicBezTo>
                    <a:pt x="8712" y="19636"/>
                    <a:pt x="8692" y="19636"/>
                    <a:pt x="8692" y="18851"/>
                  </a:cubicBezTo>
                  <a:moveTo>
                    <a:pt x="8232" y="17280"/>
                  </a:moveTo>
                  <a:cubicBezTo>
                    <a:pt x="8152" y="18851"/>
                    <a:pt x="8073" y="19636"/>
                    <a:pt x="7993" y="19636"/>
                  </a:cubicBezTo>
                  <a:cubicBezTo>
                    <a:pt x="7933" y="19636"/>
                    <a:pt x="7853" y="18851"/>
                    <a:pt x="7853" y="17673"/>
                  </a:cubicBezTo>
                  <a:cubicBezTo>
                    <a:pt x="7853" y="15316"/>
                    <a:pt x="7973" y="14138"/>
                    <a:pt x="8232" y="13353"/>
                  </a:cubicBezTo>
                  <a:lnTo>
                    <a:pt x="8232" y="17280"/>
                  </a:lnTo>
                  <a:close/>
                  <a:moveTo>
                    <a:pt x="8332" y="10604"/>
                  </a:moveTo>
                  <a:cubicBezTo>
                    <a:pt x="8332" y="7069"/>
                    <a:pt x="8192" y="5891"/>
                    <a:pt x="8073" y="5891"/>
                  </a:cubicBezTo>
                  <a:cubicBezTo>
                    <a:pt x="7913" y="5891"/>
                    <a:pt x="7833" y="7462"/>
                    <a:pt x="7773" y="9033"/>
                  </a:cubicBezTo>
                  <a:cubicBezTo>
                    <a:pt x="7873" y="10211"/>
                    <a:pt x="7873" y="10211"/>
                    <a:pt x="7873" y="10211"/>
                  </a:cubicBezTo>
                  <a:cubicBezTo>
                    <a:pt x="7893" y="9033"/>
                    <a:pt x="7953" y="7855"/>
                    <a:pt x="8073" y="7855"/>
                  </a:cubicBezTo>
                  <a:cubicBezTo>
                    <a:pt x="8152" y="7855"/>
                    <a:pt x="8232" y="8640"/>
                    <a:pt x="8232" y="10604"/>
                  </a:cubicBezTo>
                  <a:cubicBezTo>
                    <a:pt x="8232" y="11389"/>
                    <a:pt x="8232" y="11389"/>
                    <a:pt x="8232" y="11389"/>
                  </a:cubicBezTo>
                  <a:cubicBezTo>
                    <a:pt x="7893" y="12567"/>
                    <a:pt x="7753" y="14138"/>
                    <a:pt x="7753" y="17280"/>
                  </a:cubicBezTo>
                  <a:cubicBezTo>
                    <a:pt x="7753" y="20029"/>
                    <a:pt x="7853" y="21600"/>
                    <a:pt x="7973" y="21600"/>
                  </a:cubicBezTo>
                  <a:cubicBezTo>
                    <a:pt x="8093" y="21600"/>
                    <a:pt x="8172" y="20422"/>
                    <a:pt x="8232" y="19244"/>
                  </a:cubicBezTo>
                  <a:cubicBezTo>
                    <a:pt x="8232" y="21207"/>
                    <a:pt x="8232" y="21207"/>
                    <a:pt x="8232" y="21207"/>
                  </a:cubicBezTo>
                  <a:cubicBezTo>
                    <a:pt x="8352" y="21207"/>
                    <a:pt x="8352" y="21207"/>
                    <a:pt x="8352" y="21207"/>
                  </a:cubicBezTo>
                  <a:cubicBezTo>
                    <a:pt x="8332" y="20422"/>
                    <a:pt x="8332" y="19636"/>
                    <a:pt x="8332" y="18065"/>
                  </a:cubicBezTo>
                  <a:lnTo>
                    <a:pt x="8332" y="10604"/>
                  </a:lnTo>
                  <a:close/>
                  <a:moveTo>
                    <a:pt x="7353" y="18851"/>
                  </a:moveTo>
                  <a:cubicBezTo>
                    <a:pt x="7353" y="18851"/>
                    <a:pt x="7353" y="18851"/>
                    <a:pt x="7353" y="18851"/>
                  </a:cubicBezTo>
                  <a:cubicBezTo>
                    <a:pt x="7173" y="6284"/>
                    <a:pt x="7173" y="6284"/>
                    <a:pt x="7173" y="6284"/>
                  </a:cubicBezTo>
                  <a:cubicBezTo>
                    <a:pt x="7053" y="6284"/>
                    <a:pt x="7053" y="6284"/>
                    <a:pt x="7053" y="6284"/>
                  </a:cubicBezTo>
                  <a:cubicBezTo>
                    <a:pt x="7293" y="21207"/>
                    <a:pt x="7293" y="21207"/>
                    <a:pt x="7293" y="21207"/>
                  </a:cubicBezTo>
                  <a:cubicBezTo>
                    <a:pt x="7433" y="21207"/>
                    <a:pt x="7433" y="21207"/>
                    <a:pt x="7433" y="21207"/>
                  </a:cubicBezTo>
                  <a:cubicBezTo>
                    <a:pt x="7673" y="6284"/>
                    <a:pt x="7673" y="6284"/>
                    <a:pt x="7673" y="6284"/>
                  </a:cubicBezTo>
                  <a:cubicBezTo>
                    <a:pt x="7553" y="6284"/>
                    <a:pt x="7553" y="6284"/>
                    <a:pt x="7553" y="6284"/>
                  </a:cubicBezTo>
                  <a:lnTo>
                    <a:pt x="7353" y="18851"/>
                  </a:lnTo>
                  <a:close/>
                  <a:moveTo>
                    <a:pt x="6654" y="19636"/>
                  </a:moveTo>
                  <a:cubicBezTo>
                    <a:pt x="6534" y="19636"/>
                    <a:pt x="6454" y="17673"/>
                    <a:pt x="6454" y="13745"/>
                  </a:cubicBezTo>
                  <a:cubicBezTo>
                    <a:pt x="6454" y="9818"/>
                    <a:pt x="6534" y="7855"/>
                    <a:pt x="6654" y="7855"/>
                  </a:cubicBezTo>
                  <a:cubicBezTo>
                    <a:pt x="6794" y="7855"/>
                    <a:pt x="6874" y="9818"/>
                    <a:pt x="6874" y="13745"/>
                  </a:cubicBezTo>
                  <a:cubicBezTo>
                    <a:pt x="6874" y="17673"/>
                    <a:pt x="6794" y="19636"/>
                    <a:pt x="6654" y="19636"/>
                  </a:cubicBezTo>
                  <a:moveTo>
                    <a:pt x="6654" y="5891"/>
                  </a:moveTo>
                  <a:cubicBezTo>
                    <a:pt x="6454" y="5891"/>
                    <a:pt x="6354" y="9425"/>
                    <a:pt x="6354" y="13745"/>
                  </a:cubicBezTo>
                  <a:cubicBezTo>
                    <a:pt x="6354" y="18065"/>
                    <a:pt x="6454" y="21600"/>
                    <a:pt x="6654" y="21600"/>
                  </a:cubicBezTo>
                  <a:cubicBezTo>
                    <a:pt x="6874" y="21600"/>
                    <a:pt x="6974" y="18065"/>
                    <a:pt x="6974" y="13745"/>
                  </a:cubicBezTo>
                  <a:cubicBezTo>
                    <a:pt x="6974" y="9425"/>
                    <a:pt x="6874" y="5891"/>
                    <a:pt x="6654" y="5891"/>
                  </a:cubicBezTo>
                  <a:moveTo>
                    <a:pt x="5935" y="5891"/>
                  </a:moveTo>
                  <a:cubicBezTo>
                    <a:pt x="5855" y="5891"/>
                    <a:pt x="5775" y="7069"/>
                    <a:pt x="5715" y="8247"/>
                  </a:cubicBezTo>
                  <a:cubicBezTo>
                    <a:pt x="5695" y="8247"/>
                    <a:pt x="5695" y="8247"/>
                    <a:pt x="5695" y="8247"/>
                  </a:cubicBezTo>
                  <a:cubicBezTo>
                    <a:pt x="5695" y="6284"/>
                    <a:pt x="5695" y="6284"/>
                    <a:pt x="5695" y="6284"/>
                  </a:cubicBezTo>
                  <a:cubicBezTo>
                    <a:pt x="5595" y="6284"/>
                    <a:pt x="5595" y="6284"/>
                    <a:pt x="5595" y="6284"/>
                  </a:cubicBezTo>
                  <a:cubicBezTo>
                    <a:pt x="5595" y="21207"/>
                    <a:pt x="5595" y="21207"/>
                    <a:pt x="5595" y="21207"/>
                  </a:cubicBezTo>
                  <a:cubicBezTo>
                    <a:pt x="5695" y="21207"/>
                    <a:pt x="5695" y="21207"/>
                    <a:pt x="5695" y="21207"/>
                  </a:cubicBezTo>
                  <a:cubicBezTo>
                    <a:pt x="5695" y="10211"/>
                    <a:pt x="5695" y="10211"/>
                    <a:pt x="5695" y="10211"/>
                  </a:cubicBezTo>
                  <a:cubicBezTo>
                    <a:pt x="5755" y="9033"/>
                    <a:pt x="5835" y="7855"/>
                    <a:pt x="5915" y="7855"/>
                  </a:cubicBezTo>
                  <a:cubicBezTo>
                    <a:pt x="5994" y="7855"/>
                    <a:pt x="6054" y="8247"/>
                    <a:pt x="6054" y="10211"/>
                  </a:cubicBezTo>
                  <a:cubicBezTo>
                    <a:pt x="6054" y="21207"/>
                    <a:pt x="6054" y="21207"/>
                    <a:pt x="6054" y="21207"/>
                  </a:cubicBezTo>
                  <a:cubicBezTo>
                    <a:pt x="6154" y="21207"/>
                    <a:pt x="6154" y="21207"/>
                    <a:pt x="6154" y="21207"/>
                  </a:cubicBezTo>
                  <a:cubicBezTo>
                    <a:pt x="6154" y="10211"/>
                    <a:pt x="6154" y="10211"/>
                    <a:pt x="6154" y="10211"/>
                  </a:cubicBezTo>
                  <a:cubicBezTo>
                    <a:pt x="6154" y="7069"/>
                    <a:pt x="6054" y="5891"/>
                    <a:pt x="5935" y="5891"/>
                  </a:cubicBezTo>
                  <a:moveTo>
                    <a:pt x="5115" y="5891"/>
                  </a:moveTo>
                  <a:cubicBezTo>
                    <a:pt x="5015" y="5891"/>
                    <a:pt x="4935" y="7069"/>
                    <a:pt x="4875" y="8247"/>
                  </a:cubicBezTo>
                  <a:cubicBezTo>
                    <a:pt x="4875" y="8247"/>
                    <a:pt x="4875" y="8247"/>
                    <a:pt x="4875" y="8247"/>
                  </a:cubicBezTo>
                  <a:cubicBezTo>
                    <a:pt x="4875" y="6284"/>
                    <a:pt x="4875" y="6284"/>
                    <a:pt x="4875" y="6284"/>
                  </a:cubicBezTo>
                  <a:cubicBezTo>
                    <a:pt x="4776" y="6284"/>
                    <a:pt x="4776" y="6284"/>
                    <a:pt x="4776" y="6284"/>
                  </a:cubicBezTo>
                  <a:cubicBezTo>
                    <a:pt x="4776" y="21207"/>
                    <a:pt x="4776" y="21207"/>
                    <a:pt x="4776" y="21207"/>
                  </a:cubicBezTo>
                  <a:cubicBezTo>
                    <a:pt x="4875" y="21207"/>
                    <a:pt x="4875" y="21207"/>
                    <a:pt x="4875" y="21207"/>
                  </a:cubicBezTo>
                  <a:cubicBezTo>
                    <a:pt x="4875" y="10211"/>
                    <a:pt x="4875" y="10211"/>
                    <a:pt x="4875" y="10211"/>
                  </a:cubicBezTo>
                  <a:cubicBezTo>
                    <a:pt x="4915" y="9033"/>
                    <a:pt x="5015" y="7855"/>
                    <a:pt x="5095" y="7855"/>
                  </a:cubicBezTo>
                  <a:cubicBezTo>
                    <a:pt x="5175" y="7855"/>
                    <a:pt x="5215" y="8247"/>
                    <a:pt x="5215" y="10211"/>
                  </a:cubicBezTo>
                  <a:cubicBezTo>
                    <a:pt x="5215" y="21207"/>
                    <a:pt x="5215" y="21207"/>
                    <a:pt x="5215" y="21207"/>
                  </a:cubicBezTo>
                  <a:cubicBezTo>
                    <a:pt x="5335" y="21207"/>
                    <a:pt x="5335" y="21207"/>
                    <a:pt x="5335" y="21207"/>
                  </a:cubicBezTo>
                  <a:cubicBezTo>
                    <a:pt x="5335" y="10211"/>
                    <a:pt x="5335" y="10211"/>
                    <a:pt x="5335" y="10211"/>
                  </a:cubicBezTo>
                  <a:cubicBezTo>
                    <a:pt x="5335" y="7069"/>
                    <a:pt x="5215" y="5891"/>
                    <a:pt x="5115" y="5891"/>
                  </a:cubicBezTo>
                  <a:moveTo>
                    <a:pt x="4376" y="2749"/>
                  </a:moveTo>
                  <a:cubicBezTo>
                    <a:pt x="4476" y="2749"/>
                    <a:pt x="4476" y="2749"/>
                    <a:pt x="4476" y="2749"/>
                  </a:cubicBezTo>
                  <a:cubicBezTo>
                    <a:pt x="4476" y="0"/>
                    <a:pt x="4476" y="0"/>
                    <a:pt x="4476" y="0"/>
                  </a:cubicBezTo>
                  <a:cubicBezTo>
                    <a:pt x="4376" y="0"/>
                    <a:pt x="4376" y="0"/>
                    <a:pt x="4376" y="0"/>
                  </a:cubicBezTo>
                  <a:lnTo>
                    <a:pt x="4376" y="2749"/>
                  </a:lnTo>
                  <a:close/>
                  <a:moveTo>
                    <a:pt x="4376" y="21207"/>
                  </a:moveTo>
                  <a:cubicBezTo>
                    <a:pt x="4476" y="21207"/>
                    <a:pt x="4476" y="21207"/>
                    <a:pt x="4476" y="21207"/>
                  </a:cubicBezTo>
                  <a:cubicBezTo>
                    <a:pt x="4476" y="6284"/>
                    <a:pt x="4476" y="6284"/>
                    <a:pt x="4476" y="6284"/>
                  </a:cubicBezTo>
                  <a:cubicBezTo>
                    <a:pt x="4376" y="6284"/>
                    <a:pt x="4376" y="6284"/>
                    <a:pt x="4376" y="6284"/>
                  </a:cubicBezTo>
                  <a:lnTo>
                    <a:pt x="4376" y="21207"/>
                  </a:lnTo>
                  <a:close/>
                  <a:moveTo>
                    <a:pt x="3397" y="7855"/>
                  </a:moveTo>
                  <a:cubicBezTo>
                    <a:pt x="3517" y="7855"/>
                    <a:pt x="3577" y="9425"/>
                    <a:pt x="3577" y="12567"/>
                  </a:cubicBezTo>
                  <a:cubicBezTo>
                    <a:pt x="3197" y="12567"/>
                    <a:pt x="3197" y="12567"/>
                    <a:pt x="3197" y="12567"/>
                  </a:cubicBezTo>
                  <a:cubicBezTo>
                    <a:pt x="3197" y="9425"/>
                    <a:pt x="3277" y="7855"/>
                    <a:pt x="3397" y="7855"/>
                  </a:cubicBezTo>
                  <a:moveTo>
                    <a:pt x="3417" y="19636"/>
                  </a:moveTo>
                  <a:cubicBezTo>
                    <a:pt x="3297" y="19636"/>
                    <a:pt x="3197" y="17673"/>
                    <a:pt x="3197" y="14138"/>
                  </a:cubicBezTo>
                  <a:cubicBezTo>
                    <a:pt x="3697" y="14138"/>
                    <a:pt x="3697" y="14138"/>
                    <a:pt x="3697" y="14138"/>
                  </a:cubicBezTo>
                  <a:cubicBezTo>
                    <a:pt x="3697" y="12960"/>
                    <a:pt x="3697" y="12960"/>
                    <a:pt x="3697" y="12960"/>
                  </a:cubicBezTo>
                  <a:cubicBezTo>
                    <a:pt x="3697" y="7855"/>
                    <a:pt x="3557" y="5891"/>
                    <a:pt x="3397" y="5891"/>
                  </a:cubicBezTo>
                  <a:cubicBezTo>
                    <a:pt x="3217" y="5891"/>
                    <a:pt x="3077" y="9033"/>
                    <a:pt x="3077" y="13745"/>
                  </a:cubicBezTo>
                  <a:cubicBezTo>
                    <a:pt x="3077" y="19244"/>
                    <a:pt x="3257" y="21600"/>
                    <a:pt x="3417" y="21600"/>
                  </a:cubicBezTo>
                  <a:cubicBezTo>
                    <a:pt x="3597" y="21600"/>
                    <a:pt x="3657" y="19636"/>
                    <a:pt x="3717" y="18065"/>
                  </a:cubicBezTo>
                  <a:cubicBezTo>
                    <a:pt x="3637" y="17280"/>
                    <a:pt x="3637" y="17280"/>
                    <a:pt x="3637" y="17280"/>
                  </a:cubicBezTo>
                  <a:cubicBezTo>
                    <a:pt x="3597" y="18851"/>
                    <a:pt x="3517" y="19636"/>
                    <a:pt x="3417" y="19636"/>
                  </a:cubicBezTo>
                  <a:moveTo>
                    <a:pt x="2737" y="9033"/>
                  </a:moveTo>
                  <a:cubicBezTo>
                    <a:pt x="2737" y="9033"/>
                    <a:pt x="2737" y="9033"/>
                    <a:pt x="2737" y="9033"/>
                  </a:cubicBezTo>
                  <a:cubicBezTo>
                    <a:pt x="2737" y="6284"/>
                    <a:pt x="2737" y="6284"/>
                    <a:pt x="2737" y="6284"/>
                  </a:cubicBezTo>
                  <a:cubicBezTo>
                    <a:pt x="2638" y="6284"/>
                    <a:pt x="2638" y="6284"/>
                    <a:pt x="2638" y="6284"/>
                  </a:cubicBezTo>
                  <a:cubicBezTo>
                    <a:pt x="2638" y="21207"/>
                    <a:pt x="2638" y="21207"/>
                    <a:pt x="2638" y="21207"/>
                  </a:cubicBezTo>
                  <a:cubicBezTo>
                    <a:pt x="2737" y="21207"/>
                    <a:pt x="2737" y="21207"/>
                    <a:pt x="2737" y="21207"/>
                  </a:cubicBezTo>
                  <a:cubicBezTo>
                    <a:pt x="2737" y="12960"/>
                    <a:pt x="2737" y="12960"/>
                    <a:pt x="2737" y="12960"/>
                  </a:cubicBezTo>
                  <a:cubicBezTo>
                    <a:pt x="2797" y="9818"/>
                    <a:pt x="2857" y="8247"/>
                    <a:pt x="2997" y="8247"/>
                  </a:cubicBezTo>
                  <a:cubicBezTo>
                    <a:pt x="2997" y="5891"/>
                    <a:pt x="2997" y="5891"/>
                    <a:pt x="2997" y="5891"/>
                  </a:cubicBezTo>
                  <a:cubicBezTo>
                    <a:pt x="2857" y="5891"/>
                    <a:pt x="2797" y="7069"/>
                    <a:pt x="2737" y="9033"/>
                  </a:cubicBezTo>
                  <a:moveTo>
                    <a:pt x="2158" y="7855"/>
                  </a:moveTo>
                  <a:cubicBezTo>
                    <a:pt x="2278" y="7855"/>
                    <a:pt x="2338" y="9425"/>
                    <a:pt x="2338" y="12567"/>
                  </a:cubicBezTo>
                  <a:cubicBezTo>
                    <a:pt x="1958" y="12567"/>
                    <a:pt x="1958" y="12567"/>
                    <a:pt x="1958" y="12567"/>
                  </a:cubicBezTo>
                  <a:cubicBezTo>
                    <a:pt x="1958" y="9425"/>
                    <a:pt x="2038" y="7855"/>
                    <a:pt x="2158" y="7855"/>
                  </a:cubicBezTo>
                  <a:moveTo>
                    <a:pt x="2178" y="19636"/>
                  </a:moveTo>
                  <a:cubicBezTo>
                    <a:pt x="2058" y="19636"/>
                    <a:pt x="1958" y="17673"/>
                    <a:pt x="1958" y="14138"/>
                  </a:cubicBezTo>
                  <a:cubicBezTo>
                    <a:pt x="2458" y="14138"/>
                    <a:pt x="2458" y="14138"/>
                    <a:pt x="2458" y="14138"/>
                  </a:cubicBezTo>
                  <a:cubicBezTo>
                    <a:pt x="2458" y="12960"/>
                    <a:pt x="2458" y="12960"/>
                    <a:pt x="2458" y="12960"/>
                  </a:cubicBezTo>
                  <a:cubicBezTo>
                    <a:pt x="2458" y="7855"/>
                    <a:pt x="2318" y="5891"/>
                    <a:pt x="2158" y="5891"/>
                  </a:cubicBezTo>
                  <a:cubicBezTo>
                    <a:pt x="1978" y="5891"/>
                    <a:pt x="1838" y="9033"/>
                    <a:pt x="1838" y="13745"/>
                  </a:cubicBezTo>
                  <a:cubicBezTo>
                    <a:pt x="1838" y="19244"/>
                    <a:pt x="2018" y="21600"/>
                    <a:pt x="2178" y="21600"/>
                  </a:cubicBezTo>
                  <a:cubicBezTo>
                    <a:pt x="2358" y="21600"/>
                    <a:pt x="2418" y="19636"/>
                    <a:pt x="2478" y="18065"/>
                  </a:cubicBezTo>
                  <a:cubicBezTo>
                    <a:pt x="2398" y="17280"/>
                    <a:pt x="2398" y="17280"/>
                    <a:pt x="2398" y="17280"/>
                  </a:cubicBezTo>
                  <a:cubicBezTo>
                    <a:pt x="2358" y="18851"/>
                    <a:pt x="2278" y="19636"/>
                    <a:pt x="2178" y="19636"/>
                  </a:cubicBezTo>
                  <a:moveTo>
                    <a:pt x="1439" y="5891"/>
                  </a:moveTo>
                  <a:cubicBezTo>
                    <a:pt x="1339" y="5891"/>
                    <a:pt x="1259" y="7069"/>
                    <a:pt x="1199" y="8247"/>
                  </a:cubicBezTo>
                  <a:cubicBezTo>
                    <a:pt x="1199" y="8247"/>
                    <a:pt x="1199" y="8247"/>
                    <a:pt x="1199" y="8247"/>
                  </a:cubicBezTo>
                  <a:cubicBezTo>
                    <a:pt x="1199" y="393"/>
                    <a:pt x="1199" y="393"/>
                    <a:pt x="1199" y="393"/>
                  </a:cubicBezTo>
                  <a:cubicBezTo>
                    <a:pt x="1099" y="393"/>
                    <a:pt x="1099" y="393"/>
                    <a:pt x="1099" y="393"/>
                  </a:cubicBezTo>
                  <a:cubicBezTo>
                    <a:pt x="1099" y="21207"/>
                    <a:pt x="1099" y="21207"/>
                    <a:pt x="1099" y="21207"/>
                  </a:cubicBezTo>
                  <a:cubicBezTo>
                    <a:pt x="1199" y="21207"/>
                    <a:pt x="1199" y="21207"/>
                    <a:pt x="1199" y="21207"/>
                  </a:cubicBezTo>
                  <a:cubicBezTo>
                    <a:pt x="1199" y="10211"/>
                    <a:pt x="1199" y="10211"/>
                    <a:pt x="1199" y="10211"/>
                  </a:cubicBezTo>
                  <a:cubicBezTo>
                    <a:pt x="1239" y="9033"/>
                    <a:pt x="1339" y="7855"/>
                    <a:pt x="1419" y="7855"/>
                  </a:cubicBezTo>
                  <a:cubicBezTo>
                    <a:pt x="1499" y="7855"/>
                    <a:pt x="1539" y="8247"/>
                    <a:pt x="1539" y="10211"/>
                  </a:cubicBezTo>
                  <a:cubicBezTo>
                    <a:pt x="1539" y="21207"/>
                    <a:pt x="1539" y="21207"/>
                    <a:pt x="1539" y="21207"/>
                  </a:cubicBezTo>
                  <a:cubicBezTo>
                    <a:pt x="1658" y="21207"/>
                    <a:pt x="1658" y="21207"/>
                    <a:pt x="1658" y="21207"/>
                  </a:cubicBezTo>
                  <a:cubicBezTo>
                    <a:pt x="1658" y="10211"/>
                    <a:pt x="1658" y="10211"/>
                    <a:pt x="1658" y="10211"/>
                  </a:cubicBezTo>
                  <a:cubicBezTo>
                    <a:pt x="1658" y="7069"/>
                    <a:pt x="1539" y="5891"/>
                    <a:pt x="1439" y="5891"/>
                  </a:cubicBezTo>
                  <a:moveTo>
                    <a:pt x="679" y="18065"/>
                  </a:moveTo>
                  <a:cubicBezTo>
                    <a:pt x="679" y="18065"/>
                    <a:pt x="679" y="18065"/>
                    <a:pt x="679" y="18065"/>
                  </a:cubicBezTo>
                  <a:cubicBezTo>
                    <a:pt x="520" y="6284"/>
                    <a:pt x="520" y="6284"/>
                    <a:pt x="520" y="6284"/>
                  </a:cubicBezTo>
                  <a:cubicBezTo>
                    <a:pt x="420" y="6284"/>
                    <a:pt x="420" y="6284"/>
                    <a:pt x="420" y="6284"/>
                  </a:cubicBezTo>
                  <a:cubicBezTo>
                    <a:pt x="260" y="17673"/>
                    <a:pt x="260" y="17673"/>
                    <a:pt x="260" y="17673"/>
                  </a:cubicBezTo>
                  <a:cubicBezTo>
                    <a:pt x="260" y="17673"/>
                    <a:pt x="260" y="17673"/>
                    <a:pt x="260" y="17673"/>
                  </a:cubicBezTo>
                  <a:cubicBezTo>
                    <a:pt x="100" y="6284"/>
                    <a:pt x="100" y="6284"/>
                    <a:pt x="100" y="6284"/>
                  </a:cubicBezTo>
                  <a:cubicBezTo>
                    <a:pt x="0" y="6284"/>
                    <a:pt x="0" y="6284"/>
                    <a:pt x="0" y="6284"/>
                  </a:cubicBezTo>
                  <a:cubicBezTo>
                    <a:pt x="200" y="21207"/>
                    <a:pt x="200" y="21207"/>
                    <a:pt x="200" y="21207"/>
                  </a:cubicBezTo>
                  <a:cubicBezTo>
                    <a:pt x="320" y="21207"/>
                    <a:pt x="320" y="21207"/>
                    <a:pt x="320" y="21207"/>
                  </a:cubicBezTo>
                  <a:cubicBezTo>
                    <a:pt x="460" y="9818"/>
                    <a:pt x="460" y="9818"/>
                    <a:pt x="460" y="9818"/>
                  </a:cubicBezTo>
                  <a:cubicBezTo>
                    <a:pt x="460" y="9818"/>
                    <a:pt x="460" y="9818"/>
                    <a:pt x="460" y="9818"/>
                  </a:cubicBezTo>
                  <a:cubicBezTo>
                    <a:pt x="619" y="21207"/>
                    <a:pt x="619" y="21207"/>
                    <a:pt x="619" y="21207"/>
                  </a:cubicBezTo>
                  <a:cubicBezTo>
                    <a:pt x="719" y="21207"/>
                    <a:pt x="719" y="21207"/>
                    <a:pt x="719" y="21207"/>
                  </a:cubicBezTo>
                  <a:cubicBezTo>
                    <a:pt x="939" y="6284"/>
                    <a:pt x="939" y="6284"/>
                    <a:pt x="939" y="6284"/>
                  </a:cubicBezTo>
                  <a:cubicBezTo>
                    <a:pt x="819" y="6284"/>
                    <a:pt x="819" y="6284"/>
                    <a:pt x="819" y="6284"/>
                  </a:cubicBezTo>
                  <a:lnTo>
                    <a:pt x="679" y="18065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  <p:sp>
          <p:nvSpPr>
            <p:cNvPr id="425" name="Freeform 7"/>
            <p:cNvSpPr/>
            <p:nvPr/>
          </p:nvSpPr>
          <p:spPr>
            <a:xfrm>
              <a:off x="-1" y="82549"/>
              <a:ext cx="363539" cy="3032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095" y="5445"/>
                  </a:moveTo>
                  <a:cubicBezTo>
                    <a:pt x="20020" y="5445"/>
                    <a:pt x="20020" y="5445"/>
                    <a:pt x="20020" y="5445"/>
                  </a:cubicBezTo>
                  <a:cubicBezTo>
                    <a:pt x="19192" y="5445"/>
                    <a:pt x="18514" y="6353"/>
                    <a:pt x="18514" y="7351"/>
                  </a:cubicBezTo>
                  <a:cubicBezTo>
                    <a:pt x="18514" y="13160"/>
                    <a:pt x="14601" y="17879"/>
                    <a:pt x="9784" y="17879"/>
                  </a:cubicBezTo>
                  <a:cubicBezTo>
                    <a:pt x="6096" y="17879"/>
                    <a:pt x="3086" y="14249"/>
                    <a:pt x="3086" y="9802"/>
                  </a:cubicBezTo>
                  <a:cubicBezTo>
                    <a:pt x="3086" y="6444"/>
                    <a:pt x="5344" y="3721"/>
                    <a:pt x="8128" y="3721"/>
                  </a:cubicBezTo>
                  <a:cubicBezTo>
                    <a:pt x="10236" y="3721"/>
                    <a:pt x="11891" y="5718"/>
                    <a:pt x="11891" y="8168"/>
                  </a:cubicBezTo>
                  <a:cubicBezTo>
                    <a:pt x="11891" y="8440"/>
                    <a:pt x="11816" y="8531"/>
                    <a:pt x="11816" y="8622"/>
                  </a:cubicBezTo>
                  <a:cubicBezTo>
                    <a:pt x="11666" y="8713"/>
                    <a:pt x="11214" y="8713"/>
                    <a:pt x="10762" y="8713"/>
                  </a:cubicBezTo>
                  <a:cubicBezTo>
                    <a:pt x="10537" y="8713"/>
                    <a:pt x="10311" y="8713"/>
                    <a:pt x="10085" y="8713"/>
                  </a:cubicBezTo>
                  <a:cubicBezTo>
                    <a:pt x="9784" y="8713"/>
                    <a:pt x="9483" y="8713"/>
                    <a:pt x="9182" y="8713"/>
                  </a:cubicBezTo>
                  <a:cubicBezTo>
                    <a:pt x="8354" y="8713"/>
                    <a:pt x="7677" y="9529"/>
                    <a:pt x="7677" y="10528"/>
                  </a:cubicBezTo>
                  <a:cubicBezTo>
                    <a:pt x="7677" y="10528"/>
                    <a:pt x="7677" y="10528"/>
                    <a:pt x="7677" y="10528"/>
                  </a:cubicBezTo>
                  <a:cubicBezTo>
                    <a:pt x="7677" y="11526"/>
                    <a:pt x="8354" y="12434"/>
                    <a:pt x="9182" y="12434"/>
                  </a:cubicBezTo>
                  <a:cubicBezTo>
                    <a:pt x="9483" y="12434"/>
                    <a:pt x="9784" y="12434"/>
                    <a:pt x="10010" y="12434"/>
                  </a:cubicBezTo>
                  <a:cubicBezTo>
                    <a:pt x="10311" y="12434"/>
                    <a:pt x="10537" y="12434"/>
                    <a:pt x="10838" y="12434"/>
                  </a:cubicBezTo>
                  <a:cubicBezTo>
                    <a:pt x="12042" y="12434"/>
                    <a:pt x="13171" y="12252"/>
                    <a:pt x="13999" y="11254"/>
                  </a:cubicBezTo>
                  <a:cubicBezTo>
                    <a:pt x="14601" y="10528"/>
                    <a:pt x="14977" y="9529"/>
                    <a:pt x="14977" y="8168"/>
                  </a:cubicBezTo>
                  <a:cubicBezTo>
                    <a:pt x="14977" y="3721"/>
                    <a:pt x="11891" y="0"/>
                    <a:pt x="8128" y="0"/>
                  </a:cubicBezTo>
                  <a:cubicBezTo>
                    <a:pt x="3688" y="0"/>
                    <a:pt x="0" y="4447"/>
                    <a:pt x="0" y="9802"/>
                  </a:cubicBezTo>
                  <a:cubicBezTo>
                    <a:pt x="0" y="16245"/>
                    <a:pt x="4440" y="21600"/>
                    <a:pt x="9784" y="21600"/>
                  </a:cubicBezTo>
                  <a:cubicBezTo>
                    <a:pt x="16256" y="21600"/>
                    <a:pt x="21600" y="15156"/>
                    <a:pt x="21600" y="7351"/>
                  </a:cubicBezTo>
                  <a:cubicBezTo>
                    <a:pt x="21600" y="6353"/>
                    <a:pt x="20923" y="5445"/>
                    <a:pt x="20095" y="5445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  <p:sp>
          <p:nvSpPr>
            <p:cNvPr id="426" name="Freeform 8"/>
            <p:cNvSpPr/>
            <p:nvPr/>
          </p:nvSpPr>
          <p:spPr>
            <a:xfrm>
              <a:off x="295275" y="-1"/>
              <a:ext cx="85726" cy="873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5247"/>
                  </a:moveTo>
                  <a:cubicBezTo>
                    <a:pt x="8259" y="15247"/>
                    <a:pt x="6353" y="13341"/>
                    <a:pt x="6353" y="10800"/>
                  </a:cubicBezTo>
                  <a:cubicBezTo>
                    <a:pt x="6353" y="8576"/>
                    <a:pt x="8259" y="6671"/>
                    <a:pt x="10800" y="6671"/>
                  </a:cubicBezTo>
                  <a:cubicBezTo>
                    <a:pt x="13024" y="6671"/>
                    <a:pt x="14929" y="8576"/>
                    <a:pt x="14929" y="10800"/>
                  </a:cubicBezTo>
                  <a:cubicBezTo>
                    <a:pt x="14929" y="13341"/>
                    <a:pt x="13024" y="15247"/>
                    <a:pt x="10800" y="15247"/>
                  </a:cubicBezTo>
                  <a:moveTo>
                    <a:pt x="10800" y="0"/>
                  </a:moveTo>
                  <a:cubicBezTo>
                    <a:pt x="10800" y="0"/>
                    <a:pt x="10800" y="0"/>
                    <a:pt x="10800" y="0"/>
                  </a:cubicBezTo>
                  <a:cubicBezTo>
                    <a:pt x="4765" y="0"/>
                    <a:pt x="0" y="4765"/>
                    <a:pt x="0" y="10800"/>
                  </a:cubicBezTo>
                  <a:cubicBezTo>
                    <a:pt x="0" y="16835"/>
                    <a:pt x="4765" y="21600"/>
                    <a:pt x="10800" y="21600"/>
                  </a:cubicBezTo>
                  <a:cubicBezTo>
                    <a:pt x="16835" y="21600"/>
                    <a:pt x="21600" y="16835"/>
                    <a:pt x="21600" y="10800"/>
                  </a:cubicBezTo>
                  <a:cubicBezTo>
                    <a:pt x="21600" y="4765"/>
                    <a:pt x="16835" y="0"/>
                    <a:pt x="10800" y="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</p:grpSp>
      <p:sp>
        <p:nvSpPr>
          <p:cNvPr id="428" name="Title Text"/>
          <p:cNvSpPr txBox="1">
            <a:spLocks noGrp="1"/>
          </p:cNvSpPr>
          <p:nvPr>
            <p:ph type="title"/>
          </p:nvPr>
        </p:nvSpPr>
        <p:spPr>
          <a:xfrm>
            <a:off x="838200" y="1"/>
            <a:ext cx="8905875" cy="914400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rgbClr val="FFFFFF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Title Text</a:t>
            </a:r>
          </a:p>
        </p:txBody>
      </p:sp>
      <p:sp>
        <p:nvSpPr>
          <p:cNvPr id="42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12118" y="6400413"/>
            <a:ext cx="279883" cy="276999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ustom Layout">
    <p:bg>
      <p:bgPr>
        <a:gradFill flip="none" rotWithShape="1">
          <a:gsLst>
            <a:gs pos="50000">
              <a:srgbClr val="E5E5E2"/>
            </a:gs>
            <a:gs pos="100000">
              <a:srgbClr val="CECEC7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6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rcRect b="9396"/>
          <a:stretch>
            <a:fillRect/>
          </a:stretch>
        </p:blipFill>
        <p:spPr>
          <a:xfrm>
            <a:off x="0" y="-1"/>
            <a:ext cx="12192000" cy="6858002"/>
          </a:xfrm>
          <a:prstGeom prst="rect">
            <a:avLst/>
          </a:prstGeom>
          <a:ln w="12700">
            <a:miter lim="400000"/>
          </a:ln>
        </p:spPr>
      </p:pic>
      <p:pic>
        <p:nvPicPr>
          <p:cNvPr id="437" name="Picture 6" descr="Picture 6"/>
          <p:cNvPicPr>
            <a:picLocks noChangeAspect="1"/>
          </p:cNvPicPr>
          <p:nvPr/>
        </p:nvPicPr>
        <p:blipFill>
          <a:blip r:embed="rId3">
            <a:extLst/>
          </a:blip>
          <a:srcRect b="87606"/>
          <a:stretch>
            <a:fillRect/>
          </a:stretch>
        </p:blipFill>
        <p:spPr>
          <a:xfrm>
            <a:off x="0" y="-1"/>
            <a:ext cx="12192000" cy="931818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442" name="Group 4"/>
          <p:cNvGrpSpPr/>
          <p:nvPr/>
        </p:nvGrpSpPr>
        <p:grpSpPr>
          <a:xfrm>
            <a:off x="10056814" y="238125"/>
            <a:ext cx="1858965" cy="496889"/>
            <a:chOff x="0" y="0"/>
            <a:chExt cx="1858963" cy="496887"/>
          </a:xfrm>
        </p:grpSpPr>
        <p:sp>
          <p:nvSpPr>
            <p:cNvPr id="438" name="Freeform 5"/>
            <p:cNvSpPr/>
            <p:nvPr/>
          </p:nvSpPr>
          <p:spPr>
            <a:xfrm>
              <a:off x="465137" y="-1"/>
              <a:ext cx="1393827" cy="369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53" y="16982"/>
                  </a:moveTo>
                  <a:cubicBezTo>
                    <a:pt x="14753" y="18621"/>
                    <a:pt x="14439" y="19738"/>
                    <a:pt x="14008" y="19738"/>
                  </a:cubicBezTo>
                  <a:cubicBezTo>
                    <a:pt x="13596" y="19738"/>
                    <a:pt x="13596" y="19738"/>
                    <a:pt x="13596" y="19738"/>
                  </a:cubicBezTo>
                  <a:cubicBezTo>
                    <a:pt x="13596" y="14152"/>
                    <a:pt x="13596" y="14152"/>
                    <a:pt x="13596" y="14152"/>
                  </a:cubicBezTo>
                  <a:cubicBezTo>
                    <a:pt x="14008" y="14152"/>
                    <a:pt x="14008" y="14152"/>
                    <a:pt x="14008" y="14152"/>
                  </a:cubicBezTo>
                  <a:cubicBezTo>
                    <a:pt x="14439" y="14152"/>
                    <a:pt x="14753" y="15269"/>
                    <a:pt x="14753" y="16908"/>
                  </a:cubicBezTo>
                  <a:lnTo>
                    <a:pt x="14753" y="16982"/>
                  </a:lnTo>
                  <a:close/>
                  <a:moveTo>
                    <a:pt x="14008" y="12290"/>
                  </a:moveTo>
                  <a:cubicBezTo>
                    <a:pt x="13046" y="12290"/>
                    <a:pt x="13046" y="12290"/>
                    <a:pt x="13046" y="12290"/>
                  </a:cubicBezTo>
                  <a:cubicBezTo>
                    <a:pt x="13046" y="21600"/>
                    <a:pt x="13046" y="21600"/>
                    <a:pt x="13046" y="21600"/>
                  </a:cubicBezTo>
                  <a:cubicBezTo>
                    <a:pt x="14008" y="21600"/>
                    <a:pt x="14008" y="21600"/>
                    <a:pt x="14008" y="21600"/>
                  </a:cubicBezTo>
                  <a:cubicBezTo>
                    <a:pt x="14773" y="21600"/>
                    <a:pt x="15302" y="19589"/>
                    <a:pt x="15302" y="16908"/>
                  </a:cubicBezTo>
                  <a:cubicBezTo>
                    <a:pt x="15302" y="16908"/>
                    <a:pt x="15302" y="16908"/>
                    <a:pt x="15302" y="16908"/>
                  </a:cubicBezTo>
                  <a:cubicBezTo>
                    <a:pt x="15302" y="14301"/>
                    <a:pt x="14773" y="12290"/>
                    <a:pt x="14008" y="12290"/>
                  </a:cubicBezTo>
                  <a:moveTo>
                    <a:pt x="12105" y="18025"/>
                  </a:moveTo>
                  <a:cubicBezTo>
                    <a:pt x="10967" y="12290"/>
                    <a:pt x="10967" y="12290"/>
                    <a:pt x="10967" y="12290"/>
                  </a:cubicBezTo>
                  <a:cubicBezTo>
                    <a:pt x="10476" y="12290"/>
                    <a:pt x="10476" y="12290"/>
                    <a:pt x="10476" y="12290"/>
                  </a:cubicBezTo>
                  <a:cubicBezTo>
                    <a:pt x="10476" y="21600"/>
                    <a:pt x="10476" y="21600"/>
                    <a:pt x="10476" y="21600"/>
                  </a:cubicBezTo>
                  <a:cubicBezTo>
                    <a:pt x="11006" y="21600"/>
                    <a:pt x="11006" y="21600"/>
                    <a:pt x="11006" y="21600"/>
                  </a:cubicBezTo>
                  <a:cubicBezTo>
                    <a:pt x="11006" y="15716"/>
                    <a:pt x="11006" y="15716"/>
                    <a:pt x="11006" y="15716"/>
                  </a:cubicBezTo>
                  <a:cubicBezTo>
                    <a:pt x="12183" y="21600"/>
                    <a:pt x="12183" y="21600"/>
                    <a:pt x="12183" y="21600"/>
                  </a:cubicBezTo>
                  <a:cubicBezTo>
                    <a:pt x="12634" y="21600"/>
                    <a:pt x="12634" y="21600"/>
                    <a:pt x="12634" y="21600"/>
                  </a:cubicBezTo>
                  <a:cubicBezTo>
                    <a:pt x="12634" y="12290"/>
                    <a:pt x="12634" y="12290"/>
                    <a:pt x="12634" y="12290"/>
                  </a:cubicBezTo>
                  <a:cubicBezTo>
                    <a:pt x="12105" y="12290"/>
                    <a:pt x="12105" y="12290"/>
                    <a:pt x="12105" y="12290"/>
                  </a:cubicBezTo>
                  <a:lnTo>
                    <a:pt x="12105" y="18025"/>
                  </a:lnTo>
                  <a:close/>
                  <a:moveTo>
                    <a:pt x="8573" y="17727"/>
                  </a:moveTo>
                  <a:cubicBezTo>
                    <a:pt x="8907" y="14673"/>
                    <a:pt x="8907" y="14673"/>
                    <a:pt x="8907" y="14673"/>
                  </a:cubicBezTo>
                  <a:cubicBezTo>
                    <a:pt x="9221" y="17727"/>
                    <a:pt x="9221" y="17727"/>
                    <a:pt x="9221" y="17727"/>
                  </a:cubicBezTo>
                  <a:lnTo>
                    <a:pt x="8573" y="17727"/>
                  </a:lnTo>
                  <a:close/>
                  <a:moveTo>
                    <a:pt x="8671" y="12215"/>
                  </a:moveTo>
                  <a:cubicBezTo>
                    <a:pt x="7612" y="21600"/>
                    <a:pt x="7612" y="21600"/>
                    <a:pt x="7612" y="21600"/>
                  </a:cubicBezTo>
                  <a:cubicBezTo>
                    <a:pt x="8161" y="21600"/>
                    <a:pt x="8161" y="21600"/>
                    <a:pt x="8161" y="21600"/>
                  </a:cubicBezTo>
                  <a:cubicBezTo>
                    <a:pt x="8397" y="19514"/>
                    <a:pt x="8397" y="19514"/>
                    <a:pt x="8397" y="19514"/>
                  </a:cubicBezTo>
                  <a:cubicBezTo>
                    <a:pt x="9417" y="19514"/>
                    <a:pt x="9417" y="19514"/>
                    <a:pt x="9417" y="19514"/>
                  </a:cubicBezTo>
                  <a:cubicBezTo>
                    <a:pt x="9652" y="21600"/>
                    <a:pt x="9652" y="21600"/>
                    <a:pt x="9652" y="21600"/>
                  </a:cubicBezTo>
                  <a:cubicBezTo>
                    <a:pt x="10202" y="21600"/>
                    <a:pt x="10202" y="21600"/>
                    <a:pt x="10202" y="21600"/>
                  </a:cubicBezTo>
                  <a:cubicBezTo>
                    <a:pt x="9162" y="12215"/>
                    <a:pt x="9162" y="12215"/>
                    <a:pt x="9162" y="12215"/>
                  </a:cubicBezTo>
                  <a:lnTo>
                    <a:pt x="8671" y="12215"/>
                  </a:lnTo>
                  <a:close/>
                  <a:moveTo>
                    <a:pt x="6180" y="12290"/>
                  </a:moveTo>
                  <a:cubicBezTo>
                    <a:pt x="5650" y="12290"/>
                    <a:pt x="5650" y="12290"/>
                    <a:pt x="5650" y="12290"/>
                  </a:cubicBezTo>
                  <a:cubicBezTo>
                    <a:pt x="5650" y="21600"/>
                    <a:pt x="5650" y="21600"/>
                    <a:pt x="5650" y="21600"/>
                  </a:cubicBezTo>
                  <a:cubicBezTo>
                    <a:pt x="7396" y="21600"/>
                    <a:pt x="7396" y="21600"/>
                    <a:pt x="7396" y="21600"/>
                  </a:cubicBezTo>
                  <a:cubicBezTo>
                    <a:pt x="7396" y="19738"/>
                    <a:pt x="7396" y="19738"/>
                    <a:pt x="7396" y="19738"/>
                  </a:cubicBezTo>
                  <a:cubicBezTo>
                    <a:pt x="6180" y="19738"/>
                    <a:pt x="6180" y="19738"/>
                    <a:pt x="6180" y="19738"/>
                  </a:cubicBezTo>
                  <a:lnTo>
                    <a:pt x="6180" y="12290"/>
                  </a:lnTo>
                  <a:close/>
                  <a:moveTo>
                    <a:pt x="3943" y="17801"/>
                  </a:moveTo>
                  <a:cubicBezTo>
                    <a:pt x="5081" y="17801"/>
                    <a:pt x="5081" y="17801"/>
                    <a:pt x="5081" y="17801"/>
                  </a:cubicBezTo>
                  <a:cubicBezTo>
                    <a:pt x="5081" y="16014"/>
                    <a:pt x="5081" y="16014"/>
                    <a:pt x="5081" y="16014"/>
                  </a:cubicBezTo>
                  <a:cubicBezTo>
                    <a:pt x="3943" y="16014"/>
                    <a:pt x="3943" y="16014"/>
                    <a:pt x="3943" y="16014"/>
                  </a:cubicBezTo>
                  <a:cubicBezTo>
                    <a:pt x="3943" y="14152"/>
                    <a:pt x="3943" y="14152"/>
                    <a:pt x="3943" y="14152"/>
                  </a:cubicBezTo>
                  <a:cubicBezTo>
                    <a:pt x="5238" y="14152"/>
                    <a:pt x="5238" y="14152"/>
                    <a:pt x="5238" y="14152"/>
                  </a:cubicBezTo>
                  <a:cubicBezTo>
                    <a:pt x="5238" y="12290"/>
                    <a:pt x="5238" y="12290"/>
                    <a:pt x="5238" y="12290"/>
                  </a:cubicBezTo>
                  <a:cubicBezTo>
                    <a:pt x="3394" y="12290"/>
                    <a:pt x="3394" y="12290"/>
                    <a:pt x="3394" y="12290"/>
                  </a:cubicBezTo>
                  <a:cubicBezTo>
                    <a:pt x="3394" y="21600"/>
                    <a:pt x="3394" y="21600"/>
                    <a:pt x="3394" y="21600"/>
                  </a:cubicBezTo>
                  <a:cubicBezTo>
                    <a:pt x="5258" y="21600"/>
                    <a:pt x="5258" y="21600"/>
                    <a:pt x="5258" y="21600"/>
                  </a:cubicBezTo>
                  <a:cubicBezTo>
                    <a:pt x="5258" y="19738"/>
                    <a:pt x="5258" y="19738"/>
                    <a:pt x="5258" y="19738"/>
                  </a:cubicBezTo>
                  <a:cubicBezTo>
                    <a:pt x="3943" y="19738"/>
                    <a:pt x="3943" y="19738"/>
                    <a:pt x="3943" y="19738"/>
                  </a:cubicBezTo>
                  <a:lnTo>
                    <a:pt x="3943" y="17801"/>
                  </a:lnTo>
                  <a:close/>
                  <a:moveTo>
                    <a:pt x="2472" y="15492"/>
                  </a:moveTo>
                  <a:cubicBezTo>
                    <a:pt x="2472" y="16312"/>
                    <a:pt x="2315" y="16833"/>
                    <a:pt x="2060" y="16833"/>
                  </a:cubicBezTo>
                  <a:cubicBezTo>
                    <a:pt x="1511" y="16833"/>
                    <a:pt x="1511" y="16833"/>
                    <a:pt x="1511" y="16833"/>
                  </a:cubicBezTo>
                  <a:cubicBezTo>
                    <a:pt x="1511" y="14152"/>
                    <a:pt x="1511" y="14152"/>
                    <a:pt x="1511" y="14152"/>
                  </a:cubicBezTo>
                  <a:cubicBezTo>
                    <a:pt x="2040" y="14152"/>
                    <a:pt x="2040" y="14152"/>
                    <a:pt x="2040" y="14152"/>
                  </a:cubicBezTo>
                  <a:cubicBezTo>
                    <a:pt x="2295" y="14152"/>
                    <a:pt x="2472" y="14599"/>
                    <a:pt x="2472" y="15492"/>
                  </a:cubicBezTo>
                  <a:close/>
                  <a:moveTo>
                    <a:pt x="3002" y="15418"/>
                  </a:moveTo>
                  <a:cubicBezTo>
                    <a:pt x="3002" y="15343"/>
                    <a:pt x="3002" y="15343"/>
                    <a:pt x="3002" y="15343"/>
                  </a:cubicBezTo>
                  <a:cubicBezTo>
                    <a:pt x="3002" y="14524"/>
                    <a:pt x="2943" y="13779"/>
                    <a:pt x="2805" y="13258"/>
                  </a:cubicBezTo>
                  <a:cubicBezTo>
                    <a:pt x="2629" y="12662"/>
                    <a:pt x="2393" y="12290"/>
                    <a:pt x="2080" y="12290"/>
                  </a:cubicBezTo>
                  <a:cubicBezTo>
                    <a:pt x="961" y="12290"/>
                    <a:pt x="961" y="12290"/>
                    <a:pt x="961" y="12290"/>
                  </a:cubicBezTo>
                  <a:cubicBezTo>
                    <a:pt x="961" y="21600"/>
                    <a:pt x="961" y="21600"/>
                    <a:pt x="961" y="21600"/>
                  </a:cubicBezTo>
                  <a:cubicBezTo>
                    <a:pt x="1511" y="21600"/>
                    <a:pt x="1511" y="21600"/>
                    <a:pt x="1511" y="21600"/>
                  </a:cubicBezTo>
                  <a:cubicBezTo>
                    <a:pt x="1511" y="18621"/>
                    <a:pt x="1511" y="18621"/>
                    <a:pt x="1511" y="18621"/>
                  </a:cubicBezTo>
                  <a:cubicBezTo>
                    <a:pt x="1923" y="18621"/>
                    <a:pt x="1923" y="18621"/>
                    <a:pt x="1923" y="18621"/>
                  </a:cubicBezTo>
                  <a:cubicBezTo>
                    <a:pt x="2452" y="21600"/>
                    <a:pt x="2452" y="21600"/>
                    <a:pt x="2452" y="21600"/>
                  </a:cubicBezTo>
                  <a:cubicBezTo>
                    <a:pt x="3080" y="21600"/>
                    <a:pt x="3080" y="21600"/>
                    <a:pt x="3080" y="21600"/>
                  </a:cubicBezTo>
                  <a:cubicBezTo>
                    <a:pt x="2492" y="18248"/>
                    <a:pt x="2492" y="18248"/>
                    <a:pt x="2492" y="18248"/>
                  </a:cubicBezTo>
                  <a:cubicBezTo>
                    <a:pt x="2786" y="17801"/>
                    <a:pt x="3002" y="16908"/>
                    <a:pt x="3002" y="15418"/>
                  </a:cubicBezTo>
                  <a:moveTo>
                    <a:pt x="20" y="21600"/>
                  </a:moveTo>
                  <a:cubicBezTo>
                    <a:pt x="549" y="21600"/>
                    <a:pt x="549" y="21600"/>
                    <a:pt x="549" y="21600"/>
                  </a:cubicBezTo>
                  <a:cubicBezTo>
                    <a:pt x="549" y="12290"/>
                    <a:pt x="549" y="12290"/>
                    <a:pt x="549" y="12290"/>
                  </a:cubicBezTo>
                  <a:cubicBezTo>
                    <a:pt x="20" y="12290"/>
                    <a:pt x="20" y="12290"/>
                    <a:pt x="20" y="12290"/>
                  </a:cubicBezTo>
                  <a:lnTo>
                    <a:pt x="20" y="21600"/>
                  </a:lnTo>
                  <a:close/>
                  <a:moveTo>
                    <a:pt x="20266" y="7597"/>
                  </a:moveTo>
                  <a:cubicBezTo>
                    <a:pt x="20266" y="5661"/>
                    <a:pt x="20266" y="5661"/>
                    <a:pt x="20266" y="5661"/>
                  </a:cubicBezTo>
                  <a:cubicBezTo>
                    <a:pt x="21423" y="5661"/>
                    <a:pt x="21423" y="5661"/>
                    <a:pt x="21423" y="5661"/>
                  </a:cubicBezTo>
                  <a:cubicBezTo>
                    <a:pt x="21423" y="3873"/>
                    <a:pt x="21423" y="3873"/>
                    <a:pt x="21423" y="3873"/>
                  </a:cubicBezTo>
                  <a:cubicBezTo>
                    <a:pt x="20266" y="3873"/>
                    <a:pt x="20266" y="3873"/>
                    <a:pt x="20266" y="3873"/>
                  </a:cubicBezTo>
                  <a:cubicBezTo>
                    <a:pt x="20266" y="1937"/>
                    <a:pt x="20266" y="1937"/>
                    <a:pt x="20266" y="1937"/>
                  </a:cubicBezTo>
                  <a:cubicBezTo>
                    <a:pt x="21580" y="1937"/>
                    <a:pt x="21580" y="1937"/>
                    <a:pt x="21580" y="1937"/>
                  </a:cubicBezTo>
                  <a:cubicBezTo>
                    <a:pt x="21580" y="149"/>
                    <a:pt x="21580" y="149"/>
                    <a:pt x="21580" y="149"/>
                  </a:cubicBezTo>
                  <a:cubicBezTo>
                    <a:pt x="19736" y="149"/>
                    <a:pt x="19736" y="149"/>
                    <a:pt x="19736" y="149"/>
                  </a:cubicBezTo>
                  <a:cubicBezTo>
                    <a:pt x="19736" y="9385"/>
                    <a:pt x="19736" y="9385"/>
                    <a:pt x="19736" y="9385"/>
                  </a:cubicBezTo>
                  <a:cubicBezTo>
                    <a:pt x="21600" y="9385"/>
                    <a:pt x="21600" y="9385"/>
                    <a:pt x="21600" y="9385"/>
                  </a:cubicBezTo>
                  <a:cubicBezTo>
                    <a:pt x="21600" y="7597"/>
                    <a:pt x="21600" y="7597"/>
                    <a:pt x="21600" y="7597"/>
                  </a:cubicBezTo>
                  <a:lnTo>
                    <a:pt x="20266" y="7597"/>
                  </a:lnTo>
                  <a:close/>
                  <a:moveTo>
                    <a:pt x="18598" y="3873"/>
                  </a:moveTo>
                  <a:cubicBezTo>
                    <a:pt x="18186" y="3426"/>
                    <a:pt x="18069" y="3277"/>
                    <a:pt x="18069" y="2607"/>
                  </a:cubicBezTo>
                  <a:cubicBezTo>
                    <a:pt x="18069" y="2607"/>
                    <a:pt x="18069" y="2607"/>
                    <a:pt x="18069" y="2607"/>
                  </a:cubicBezTo>
                  <a:cubicBezTo>
                    <a:pt x="18069" y="2160"/>
                    <a:pt x="18186" y="1788"/>
                    <a:pt x="18383" y="1788"/>
                  </a:cubicBezTo>
                  <a:cubicBezTo>
                    <a:pt x="18598" y="1788"/>
                    <a:pt x="18814" y="2160"/>
                    <a:pt x="19030" y="2756"/>
                  </a:cubicBezTo>
                  <a:cubicBezTo>
                    <a:pt x="19305" y="1192"/>
                    <a:pt x="19305" y="1192"/>
                    <a:pt x="19305" y="1192"/>
                  </a:cubicBezTo>
                  <a:cubicBezTo>
                    <a:pt x="19050" y="447"/>
                    <a:pt x="18755" y="0"/>
                    <a:pt x="18402" y="0"/>
                  </a:cubicBezTo>
                  <a:cubicBezTo>
                    <a:pt x="17892" y="0"/>
                    <a:pt x="17539" y="1117"/>
                    <a:pt x="17539" y="2830"/>
                  </a:cubicBezTo>
                  <a:cubicBezTo>
                    <a:pt x="17539" y="2830"/>
                    <a:pt x="17539" y="2830"/>
                    <a:pt x="17539" y="2830"/>
                  </a:cubicBezTo>
                  <a:cubicBezTo>
                    <a:pt x="17539" y="4692"/>
                    <a:pt x="17853" y="5214"/>
                    <a:pt x="18343" y="5661"/>
                  </a:cubicBezTo>
                  <a:cubicBezTo>
                    <a:pt x="18755" y="6033"/>
                    <a:pt x="18834" y="6331"/>
                    <a:pt x="18834" y="6852"/>
                  </a:cubicBezTo>
                  <a:cubicBezTo>
                    <a:pt x="18834" y="6852"/>
                    <a:pt x="18834" y="6852"/>
                    <a:pt x="18834" y="6852"/>
                  </a:cubicBezTo>
                  <a:cubicBezTo>
                    <a:pt x="18834" y="7448"/>
                    <a:pt x="18716" y="7746"/>
                    <a:pt x="18481" y="7746"/>
                  </a:cubicBezTo>
                  <a:cubicBezTo>
                    <a:pt x="18206" y="7746"/>
                    <a:pt x="17990" y="7299"/>
                    <a:pt x="17755" y="6629"/>
                  </a:cubicBezTo>
                  <a:cubicBezTo>
                    <a:pt x="17441" y="8044"/>
                    <a:pt x="17441" y="8044"/>
                    <a:pt x="17441" y="8044"/>
                  </a:cubicBezTo>
                  <a:cubicBezTo>
                    <a:pt x="17735" y="9087"/>
                    <a:pt x="18108" y="9534"/>
                    <a:pt x="18481" y="9534"/>
                  </a:cubicBezTo>
                  <a:cubicBezTo>
                    <a:pt x="19010" y="9534"/>
                    <a:pt x="19383" y="8491"/>
                    <a:pt x="19383" y="6703"/>
                  </a:cubicBezTo>
                  <a:cubicBezTo>
                    <a:pt x="19383" y="6629"/>
                    <a:pt x="19383" y="6629"/>
                    <a:pt x="19383" y="6629"/>
                  </a:cubicBezTo>
                  <a:cubicBezTo>
                    <a:pt x="19383" y="5065"/>
                    <a:pt x="19089" y="4320"/>
                    <a:pt x="18598" y="3873"/>
                  </a:cubicBezTo>
                  <a:moveTo>
                    <a:pt x="16538" y="9385"/>
                  </a:moveTo>
                  <a:cubicBezTo>
                    <a:pt x="17088" y="9385"/>
                    <a:pt x="17088" y="9385"/>
                    <a:pt x="17088" y="9385"/>
                  </a:cubicBezTo>
                  <a:cubicBezTo>
                    <a:pt x="17088" y="149"/>
                    <a:pt x="17088" y="149"/>
                    <a:pt x="17088" y="149"/>
                  </a:cubicBezTo>
                  <a:cubicBezTo>
                    <a:pt x="16538" y="149"/>
                    <a:pt x="16538" y="149"/>
                    <a:pt x="16538" y="149"/>
                  </a:cubicBezTo>
                  <a:lnTo>
                    <a:pt x="16538" y="9385"/>
                  </a:lnTo>
                  <a:close/>
                  <a:moveTo>
                    <a:pt x="15557" y="3352"/>
                  </a:moveTo>
                  <a:cubicBezTo>
                    <a:pt x="15557" y="4097"/>
                    <a:pt x="15420" y="4618"/>
                    <a:pt x="15146" y="4618"/>
                  </a:cubicBezTo>
                  <a:cubicBezTo>
                    <a:pt x="14616" y="4618"/>
                    <a:pt x="14616" y="4618"/>
                    <a:pt x="14616" y="4618"/>
                  </a:cubicBezTo>
                  <a:cubicBezTo>
                    <a:pt x="14616" y="2011"/>
                    <a:pt x="14616" y="2011"/>
                    <a:pt x="14616" y="2011"/>
                  </a:cubicBezTo>
                  <a:cubicBezTo>
                    <a:pt x="15146" y="2011"/>
                    <a:pt x="15146" y="2011"/>
                    <a:pt x="15146" y="2011"/>
                  </a:cubicBezTo>
                  <a:cubicBezTo>
                    <a:pt x="15401" y="2011"/>
                    <a:pt x="15557" y="2458"/>
                    <a:pt x="15557" y="3277"/>
                  </a:cubicBezTo>
                  <a:lnTo>
                    <a:pt x="15557" y="3352"/>
                  </a:lnTo>
                  <a:close/>
                  <a:moveTo>
                    <a:pt x="16107" y="3203"/>
                  </a:moveTo>
                  <a:cubicBezTo>
                    <a:pt x="16107" y="3203"/>
                    <a:pt x="16107" y="3203"/>
                    <a:pt x="16107" y="3203"/>
                  </a:cubicBezTo>
                  <a:cubicBezTo>
                    <a:pt x="16107" y="2309"/>
                    <a:pt x="16028" y="1564"/>
                    <a:pt x="15911" y="1043"/>
                  </a:cubicBezTo>
                  <a:cubicBezTo>
                    <a:pt x="15734" y="447"/>
                    <a:pt x="15499" y="149"/>
                    <a:pt x="15185" y="149"/>
                  </a:cubicBezTo>
                  <a:cubicBezTo>
                    <a:pt x="14066" y="149"/>
                    <a:pt x="14066" y="149"/>
                    <a:pt x="14066" y="149"/>
                  </a:cubicBezTo>
                  <a:cubicBezTo>
                    <a:pt x="14066" y="9385"/>
                    <a:pt x="14066" y="9385"/>
                    <a:pt x="14066" y="9385"/>
                  </a:cubicBezTo>
                  <a:cubicBezTo>
                    <a:pt x="14616" y="9385"/>
                    <a:pt x="14616" y="9385"/>
                    <a:pt x="14616" y="9385"/>
                  </a:cubicBezTo>
                  <a:cubicBezTo>
                    <a:pt x="14616" y="6480"/>
                    <a:pt x="14616" y="6480"/>
                    <a:pt x="14616" y="6480"/>
                  </a:cubicBezTo>
                  <a:cubicBezTo>
                    <a:pt x="15028" y="6480"/>
                    <a:pt x="15028" y="6480"/>
                    <a:pt x="15028" y="6480"/>
                  </a:cubicBezTo>
                  <a:cubicBezTo>
                    <a:pt x="15557" y="9385"/>
                    <a:pt x="15557" y="9385"/>
                    <a:pt x="15557" y="9385"/>
                  </a:cubicBezTo>
                  <a:cubicBezTo>
                    <a:pt x="16185" y="9385"/>
                    <a:pt x="16185" y="9385"/>
                    <a:pt x="16185" y="9385"/>
                  </a:cubicBezTo>
                  <a:cubicBezTo>
                    <a:pt x="15597" y="6108"/>
                    <a:pt x="15597" y="6108"/>
                    <a:pt x="15597" y="6108"/>
                  </a:cubicBezTo>
                  <a:cubicBezTo>
                    <a:pt x="15891" y="5661"/>
                    <a:pt x="16107" y="4692"/>
                    <a:pt x="16107" y="3203"/>
                  </a:cubicBezTo>
                  <a:moveTo>
                    <a:pt x="13203" y="3426"/>
                  </a:moveTo>
                  <a:cubicBezTo>
                    <a:pt x="13203" y="4171"/>
                    <a:pt x="13046" y="4841"/>
                    <a:pt x="12772" y="4841"/>
                  </a:cubicBezTo>
                  <a:cubicBezTo>
                    <a:pt x="12360" y="4841"/>
                    <a:pt x="12360" y="4841"/>
                    <a:pt x="12360" y="4841"/>
                  </a:cubicBezTo>
                  <a:cubicBezTo>
                    <a:pt x="12360" y="2011"/>
                    <a:pt x="12360" y="2011"/>
                    <a:pt x="12360" y="2011"/>
                  </a:cubicBezTo>
                  <a:cubicBezTo>
                    <a:pt x="12772" y="2011"/>
                    <a:pt x="12772" y="2011"/>
                    <a:pt x="12772" y="2011"/>
                  </a:cubicBezTo>
                  <a:cubicBezTo>
                    <a:pt x="13027" y="2011"/>
                    <a:pt x="13203" y="2458"/>
                    <a:pt x="13203" y="3352"/>
                  </a:cubicBezTo>
                  <a:lnTo>
                    <a:pt x="13203" y="3426"/>
                  </a:lnTo>
                  <a:close/>
                  <a:moveTo>
                    <a:pt x="13753" y="3352"/>
                  </a:moveTo>
                  <a:cubicBezTo>
                    <a:pt x="13753" y="3352"/>
                    <a:pt x="13753" y="3352"/>
                    <a:pt x="13753" y="3352"/>
                  </a:cubicBezTo>
                  <a:cubicBezTo>
                    <a:pt x="13753" y="1415"/>
                    <a:pt x="13399" y="149"/>
                    <a:pt x="12811" y="149"/>
                  </a:cubicBezTo>
                  <a:cubicBezTo>
                    <a:pt x="11810" y="149"/>
                    <a:pt x="11810" y="149"/>
                    <a:pt x="11810" y="149"/>
                  </a:cubicBezTo>
                  <a:cubicBezTo>
                    <a:pt x="11810" y="9385"/>
                    <a:pt x="11810" y="9385"/>
                    <a:pt x="11810" y="9385"/>
                  </a:cubicBezTo>
                  <a:cubicBezTo>
                    <a:pt x="12360" y="9385"/>
                    <a:pt x="12360" y="9385"/>
                    <a:pt x="12360" y="9385"/>
                  </a:cubicBezTo>
                  <a:cubicBezTo>
                    <a:pt x="12360" y="6629"/>
                    <a:pt x="12360" y="6629"/>
                    <a:pt x="12360" y="6629"/>
                  </a:cubicBezTo>
                  <a:cubicBezTo>
                    <a:pt x="12752" y="6629"/>
                    <a:pt x="12752" y="6629"/>
                    <a:pt x="12752" y="6629"/>
                  </a:cubicBezTo>
                  <a:cubicBezTo>
                    <a:pt x="13301" y="6629"/>
                    <a:pt x="13753" y="5512"/>
                    <a:pt x="13753" y="3352"/>
                  </a:cubicBezTo>
                  <a:moveTo>
                    <a:pt x="10457" y="4618"/>
                  </a:moveTo>
                  <a:cubicBezTo>
                    <a:pt x="9907" y="4618"/>
                    <a:pt x="9907" y="4618"/>
                    <a:pt x="9907" y="4618"/>
                  </a:cubicBezTo>
                  <a:cubicBezTo>
                    <a:pt x="9907" y="2011"/>
                    <a:pt x="9907" y="2011"/>
                    <a:pt x="9907" y="2011"/>
                  </a:cubicBezTo>
                  <a:cubicBezTo>
                    <a:pt x="10457" y="2011"/>
                    <a:pt x="10457" y="2011"/>
                    <a:pt x="10457" y="2011"/>
                  </a:cubicBezTo>
                  <a:cubicBezTo>
                    <a:pt x="10712" y="2011"/>
                    <a:pt x="10869" y="2458"/>
                    <a:pt x="10869" y="3277"/>
                  </a:cubicBezTo>
                  <a:cubicBezTo>
                    <a:pt x="10869" y="3352"/>
                    <a:pt x="10869" y="3352"/>
                    <a:pt x="10869" y="3352"/>
                  </a:cubicBezTo>
                  <a:cubicBezTo>
                    <a:pt x="10869" y="4097"/>
                    <a:pt x="10712" y="4618"/>
                    <a:pt x="10457" y="4618"/>
                  </a:cubicBezTo>
                  <a:moveTo>
                    <a:pt x="11496" y="9385"/>
                  </a:moveTo>
                  <a:cubicBezTo>
                    <a:pt x="10888" y="6108"/>
                    <a:pt x="10888" y="6108"/>
                    <a:pt x="10888" y="6108"/>
                  </a:cubicBezTo>
                  <a:cubicBezTo>
                    <a:pt x="11202" y="5661"/>
                    <a:pt x="11418" y="4692"/>
                    <a:pt x="11418" y="3203"/>
                  </a:cubicBezTo>
                  <a:cubicBezTo>
                    <a:pt x="11418" y="3203"/>
                    <a:pt x="11418" y="3203"/>
                    <a:pt x="11418" y="3203"/>
                  </a:cubicBezTo>
                  <a:cubicBezTo>
                    <a:pt x="11418" y="2309"/>
                    <a:pt x="11340" y="1564"/>
                    <a:pt x="11202" y="1043"/>
                  </a:cubicBezTo>
                  <a:cubicBezTo>
                    <a:pt x="11045" y="447"/>
                    <a:pt x="10810" y="149"/>
                    <a:pt x="10496" y="149"/>
                  </a:cubicBezTo>
                  <a:cubicBezTo>
                    <a:pt x="9378" y="149"/>
                    <a:pt x="9378" y="149"/>
                    <a:pt x="9378" y="149"/>
                  </a:cubicBezTo>
                  <a:cubicBezTo>
                    <a:pt x="9378" y="9385"/>
                    <a:pt x="9378" y="9385"/>
                    <a:pt x="9378" y="9385"/>
                  </a:cubicBezTo>
                  <a:cubicBezTo>
                    <a:pt x="9907" y="9385"/>
                    <a:pt x="9907" y="9385"/>
                    <a:pt x="9907" y="9385"/>
                  </a:cubicBezTo>
                  <a:cubicBezTo>
                    <a:pt x="9907" y="6480"/>
                    <a:pt x="9907" y="6480"/>
                    <a:pt x="9907" y="6480"/>
                  </a:cubicBezTo>
                  <a:cubicBezTo>
                    <a:pt x="10339" y="6480"/>
                    <a:pt x="10339" y="6480"/>
                    <a:pt x="10339" y="6480"/>
                  </a:cubicBezTo>
                  <a:cubicBezTo>
                    <a:pt x="10869" y="9385"/>
                    <a:pt x="10869" y="9385"/>
                    <a:pt x="10869" y="9385"/>
                  </a:cubicBezTo>
                  <a:lnTo>
                    <a:pt x="11496" y="9385"/>
                  </a:lnTo>
                  <a:close/>
                  <a:moveTo>
                    <a:pt x="9025" y="7597"/>
                  </a:moveTo>
                  <a:cubicBezTo>
                    <a:pt x="7690" y="7597"/>
                    <a:pt x="7690" y="7597"/>
                    <a:pt x="7690" y="7597"/>
                  </a:cubicBezTo>
                  <a:cubicBezTo>
                    <a:pt x="7690" y="5661"/>
                    <a:pt x="7690" y="5661"/>
                    <a:pt x="7690" y="5661"/>
                  </a:cubicBezTo>
                  <a:cubicBezTo>
                    <a:pt x="8848" y="5661"/>
                    <a:pt x="8848" y="5661"/>
                    <a:pt x="8848" y="5661"/>
                  </a:cubicBezTo>
                  <a:cubicBezTo>
                    <a:pt x="8848" y="3873"/>
                    <a:pt x="8848" y="3873"/>
                    <a:pt x="8848" y="3873"/>
                  </a:cubicBezTo>
                  <a:cubicBezTo>
                    <a:pt x="7690" y="3873"/>
                    <a:pt x="7690" y="3873"/>
                    <a:pt x="7690" y="3873"/>
                  </a:cubicBezTo>
                  <a:cubicBezTo>
                    <a:pt x="7690" y="1937"/>
                    <a:pt x="7690" y="1937"/>
                    <a:pt x="7690" y="1937"/>
                  </a:cubicBezTo>
                  <a:cubicBezTo>
                    <a:pt x="9005" y="1937"/>
                    <a:pt x="9005" y="1937"/>
                    <a:pt x="9005" y="1937"/>
                  </a:cubicBezTo>
                  <a:cubicBezTo>
                    <a:pt x="9005" y="149"/>
                    <a:pt x="9005" y="149"/>
                    <a:pt x="9005" y="149"/>
                  </a:cubicBezTo>
                  <a:cubicBezTo>
                    <a:pt x="7161" y="149"/>
                    <a:pt x="7161" y="149"/>
                    <a:pt x="7161" y="149"/>
                  </a:cubicBezTo>
                  <a:cubicBezTo>
                    <a:pt x="7161" y="9385"/>
                    <a:pt x="7161" y="9385"/>
                    <a:pt x="7161" y="9385"/>
                  </a:cubicBezTo>
                  <a:cubicBezTo>
                    <a:pt x="9025" y="9385"/>
                    <a:pt x="9025" y="9385"/>
                    <a:pt x="9025" y="9385"/>
                  </a:cubicBezTo>
                  <a:lnTo>
                    <a:pt x="9025" y="7597"/>
                  </a:lnTo>
                  <a:close/>
                  <a:moveTo>
                    <a:pt x="6043" y="9385"/>
                  </a:moveTo>
                  <a:cubicBezTo>
                    <a:pt x="6043" y="2011"/>
                    <a:pt x="6043" y="2011"/>
                    <a:pt x="6043" y="2011"/>
                  </a:cubicBezTo>
                  <a:cubicBezTo>
                    <a:pt x="6788" y="2011"/>
                    <a:pt x="6788" y="2011"/>
                    <a:pt x="6788" y="2011"/>
                  </a:cubicBezTo>
                  <a:cubicBezTo>
                    <a:pt x="6788" y="149"/>
                    <a:pt x="6788" y="149"/>
                    <a:pt x="6788" y="149"/>
                  </a:cubicBezTo>
                  <a:cubicBezTo>
                    <a:pt x="4767" y="149"/>
                    <a:pt x="4767" y="149"/>
                    <a:pt x="4767" y="149"/>
                  </a:cubicBezTo>
                  <a:cubicBezTo>
                    <a:pt x="4767" y="2011"/>
                    <a:pt x="4767" y="2011"/>
                    <a:pt x="4767" y="2011"/>
                  </a:cubicBezTo>
                  <a:cubicBezTo>
                    <a:pt x="5513" y="2011"/>
                    <a:pt x="5513" y="2011"/>
                    <a:pt x="5513" y="2011"/>
                  </a:cubicBezTo>
                  <a:cubicBezTo>
                    <a:pt x="5513" y="9385"/>
                    <a:pt x="5513" y="9385"/>
                    <a:pt x="5513" y="9385"/>
                  </a:cubicBezTo>
                  <a:lnTo>
                    <a:pt x="6043" y="9385"/>
                  </a:lnTo>
                  <a:close/>
                  <a:moveTo>
                    <a:pt x="2766" y="3501"/>
                  </a:moveTo>
                  <a:cubicBezTo>
                    <a:pt x="3943" y="9385"/>
                    <a:pt x="3943" y="9385"/>
                    <a:pt x="3943" y="9385"/>
                  </a:cubicBezTo>
                  <a:cubicBezTo>
                    <a:pt x="4414" y="9385"/>
                    <a:pt x="4414" y="9385"/>
                    <a:pt x="4414" y="9385"/>
                  </a:cubicBezTo>
                  <a:cubicBezTo>
                    <a:pt x="4414" y="149"/>
                    <a:pt x="4414" y="149"/>
                    <a:pt x="4414" y="149"/>
                  </a:cubicBezTo>
                  <a:cubicBezTo>
                    <a:pt x="3865" y="149"/>
                    <a:pt x="3865" y="149"/>
                    <a:pt x="3865" y="149"/>
                  </a:cubicBezTo>
                  <a:cubicBezTo>
                    <a:pt x="3865" y="5884"/>
                    <a:pt x="3865" y="5884"/>
                    <a:pt x="3865" y="5884"/>
                  </a:cubicBezTo>
                  <a:cubicBezTo>
                    <a:pt x="2727" y="149"/>
                    <a:pt x="2727" y="149"/>
                    <a:pt x="2727" y="149"/>
                  </a:cubicBezTo>
                  <a:cubicBezTo>
                    <a:pt x="2237" y="149"/>
                    <a:pt x="2237" y="149"/>
                    <a:pt x="2237" y="149"/>
                  </a:cubicBezTo>
                  <a:cubicBezTo>
                    <a:pt x="2237" y="9385"/>
                    <a:pt x="2237" y="9385"/>
                    <a:pt x="2237" y="9385"/>
                  </a:cubicBezTo>
                  <a:cubicBezTo>
                    <a:pt x="2766" y="9385"/>
                    <a:pt x="2766" y="9385"/>
                    <a:pt x="2766" y="9385"/>
                  </a:cubicBezTo>
                  <a:lnTo>
                    <a:pt x="2766" y="3501"/>
                  </a:lnTo>
                  <a:close/>
                  <a:moveTo>
                    <a:pt x="1864" y="7597"/>
                  </a:moveTo>
                  <a:cubicBezTo>
                    <a:pt x="530" y="7597"/>
                    <a:pt x="530" y="7597"/>
                    <a:pt x="530" y="7597"/>
                  </a:cubicBezTo>
                  <a:cubicBezTo>
                    <a:pt x="530" y="5661"/>
                    <a:pt x="530" y="5661"/>
                    <a:pt x="530" y="5661"/>
                  </a:cubicBezTo>
                  <a:cubicBezTo>
                    <a:pt x="1687" y="5661"/>
                    <a:pt x="1687" y="5661"/>
                    <a:pt x="1687" y="5661"/>
                  </a:cubicBezTo>
                  <a:cubicBezTo>
                    <a:pt x="1687" y="3873"/>
                    <a:pt x="1687" y="3873"/>
                    <a:pt x="1687" y="3873"/>
                  </a:cubicBezTo>
                  <a:cubicBezTo>
                    <a:pt x="530" y="3873"/>
                    <a:pt x="530" y="3873"/>
                    <a:pt x="530" y="3873"/>
                  </a:cubicBezTo>
                  <a:cubicBezTo>
                    <a:pt x="530" y="1937"/>
                    <a:pt x="530" y="1937"/>
                    <a:pt x="530" y="1937"/>
                  </a:cubicBezTo>
                  <a:cubicBezTo>
                    <a:pt x="1844" y="1937"/>
                    <a:pt x="1844" y="1937"/>
                    <a:pt x="1844" y="1937"/>
                  </a:cubicBezTo>
                  <a:cubicBezTo>
                    <a:pt x="1844" y="149"/>
                    <a:pt x="1844" y="149"/>
                    <a:pt x="1844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9385"/>
                    <a:pt x="0" y="9385"/>
                    <a:pt x="0" y="9385"/>
                  </a:cubicBezTo>
                  <a:cubicBezTo>
                    <a:pt x="1864" y="9385"/>
                    <a:pt x="1864" y="9385"/>
                    <a:pt x="1864" y="9385"/>
                  </a:cubicBezTo>
                  <a:lnTo>
                    <a:pt x="1864" y="7597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  <p:sp>
          <p:nvSpPr>
            <p:cNvPr id="439" name="Freeform 6"/>
            <p:cNvSpPr/>
            <p:nvPr/>
          </p:nvSpPr>
          <p:spPr>
            <a:xfrm>
              <a:off x="466725" y="427037"/>
              <a:ext cx="1368426" cy="698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60" y="9818"/>
                  </a:moveTo>
                  <a:cubicBezTo>
                    <a:pt x="21160" y="8640"/>
                    <a:pt x="21200" y="7855"/>
                    <a:pt x="21280" y="7855"/>
                  </a:cubicBezTo>
                  <a:cubicBezTo>
                    <a:pt x="21380" y="7855"/>
                    <a:pt x="21420" y="8247"/>
                    <a:pt x="21480" y="9818"/>
                  </a:cubicBezTo>
                  <a:cubicBezTo>
                    <a:pt x="21560" y="8640"/>
                    <a:pt x="21560" y="8640"/>
                    <a:pt x="21560" y="8640"/>
                  </a:cubicBezTo>
                  <a:cubicBezTo>
                    <a:pt x="21500" y="7069"/>
                    <a:pt x="21400" y="5891"/>
                    <a:pt x="21300" y="5891"/>
                  </a:cubicBezTo>
                  <a:cubicBezTo>
                    <a:pt x="21160" y="5891"/>
                    <a:pt x="21041" y="7462"/>
                    <a:pt x="21041" y="9818"/>
                  </a:cubicBezTo>
                  <a:cubicBezTo>
                    <a:pt x="21041" y="15316"/>
                    <a:pt x="21500" y="13353"/>
                    <a:pt x="21500" y="17280"/>
                  </a:cubicBezTo>
                  <a:cubicBezTo>
                    <a:pt x="21500" y="18458"/>
                    <a:pt x="21440" y="19636"/>
                    <a:pt x="21320" y="19636"/>
                  </a:cubicBezTo>
                  <a:cubicBezTo>
                    <a:pt x="21220" y="19636"/>
                    <a:pt x="21160" y="18851"/>
                    <a:pt x="21100" y="17673"/>
                  </a:cubicBezTo>
                  <a:cubicBezTo>
                    <a:pt x="21021" y="18851"/>
                    <a:pt x="21021" y="18851"/>
                    <a:pt x="21021" y="18851"/>
                  </a:cubicBezTo>
                  <a:cubicBezTo>
                    <a:pt x="21100" y="20422"/>
                    <a:pt x="21200" y="21600"/>
                    <a:pt x="21320" y="21600"/>
                  </a:cubicBezTo>
                  <a:cubicBezTo>
                    <a:pt x="21460" y="21600"/>
                    <a:pt x="21600" y="20029"/>
                    <a:pt x="21600" y="17280"/>
                  </a:cubicBezTo>
                  <a:cubicBezTo>
                    <a:pt x="21600" y="11389"/>
                    <a:pt x="21160" y="13353"/>
                    <a:pt x="21160" y="9818"/>
                  </a:cubicBezTo>
                  <a:moveTo>
                    <a:pt x="20481" y="9818"/>
                  </a:moveTo>
                  <a:cubicBezTo>
                    <a:pt x="20481" y="8640"/>
                    <a:pt x="20541" y="7855"/>
                    <a:pt x="20621" y="7855"/>
                  </a:cubicBezTo>
                  <a:cubicBezTo>
                    <a:pt x="20721" y="7855"/>
                    <a:pt x="20761" y="8247"/>
                    <a:pt x="20821" y="9818"/>
                  </a:cubicBezTo>
                  <a:cubicBezTo>
                    <a:pt x="20901" y="8640"/>
                    <a:pt x="20901" y="8640"/>
                    <a:pt x="20901" y="8640"/>
                  </a:cubicBezTo>
                  <a:cubicBezTo>
                    <a:pt x="20841" y="7069"/>
                    <a:pt x="20741" y="5891"/>
                    <a:pt x="20641" y="5891"/>
                  </a:cubicBezTo>
                  <a:cubicBezTo>
                    <a:pt x="20481" y="5891"/>
                    <a:pt x="20381" y="7462"/>
                    <a:pt x="20381" y="9818"/>
                  </a:cubicBezTo>
                  <a:cubicBezTo>
                    <a:pt x="20381" y="15316"/>
                    <a:pt x="20821" y="13353"/>
                    <a:pt x="20821" y="17280"/>
                  </a:cubicBezTo>
                  <a:cubicBezTo>
                    <a:pt x="20821" y="18458"/>
                    <a:pt x="20781" y="19636"/>
                    <a:pt x="20661" y="19636"/>
                  </a:cubicBezTo>
                  <a:cubicBezTo>
                    <a:pt x="20561" y="19636"/>
                    <a:pt x="20501" y="18851"/>
                    <a:pt x="20441" y="17673"/>
                  </a:cubicBezTo>
                  <a:cubicBezTo>
                    <a:pt x="20361" y="18851"/>
                    <a:pt x="20361" y="18851"/>
                    <a:pt x="20361" y="18851"/>
                  </a:cubicBezTo>
                  <a:cubicBezTo>
                    <a:pt x="20441" y="20422"/>
                    <a:pt x="20541" y="21600"/>
                    <a:pt x="20661" y="21600"/>
                  </a:cubicBezTo>
                  <a:cubicBezTo>
                    <a:pt x="20801" y="21600"/>
                    <a:pt x="20941" y="20029"/>
                    <a:pt x="20941" y="17280"/>
                  </a:cubicBezTo>
                  <a:cubicBezTo>
                    <a:pt x="20941" y="11389"/>
                    <a:pt x="20481" y="13353"/>
                    <a:pt x="20481" y="9818"/>
                  </a:cubicBezTo>
                  <a:moveTo>
                    <a:pt x="19962" y="7855"/>
                  </a:moveTo>
                  <a:cubicBezTo>
                    <a:pt x="20081" y="7855"/>
                    <a:pt x="20141" y="9425"/>
                    <a:pt x="20141" y="12567"/>
                  </a:cubicBezTo>
                  <a:cubicBezTo>
                    <a:pt x="19742" y="12567"/>
                    <a:pt x="19742" y="12567"/>
                    <a:pt x="19742" y="12567"/>
                  </a:cubicBezTo>
                  <a:cubicBezTo>
                    <a:pt x="19762" y="9425"/>
                    <a:pt x="19822" y="7855"/>
                    <a:pt x="19962" y="7855"/>
                  </a:cubicBezTo>
                  <a:moveTo>
                    <a:pt x="19981" y="19636"/>
                  </a:moveTo>
                  <a:cubicBezTo>
                    <a:pt x="19842" y="19636"/>
                    <a:pt x="19742" y="17673"/>
                    <a:pt x="19742" y="14138"/>
                  </a:cubicBezTo>
                  <a:cubicBezTo>
                    <a:pt x="20241" y="14138"/>
                    <a:pt x="20241" y="14138"/>
                    <a:pt x="20241" y="14138"/>
                  </a:cubicBezTo>
                  <a:cubicBezTo>
                    <a:pt x="20241" y="12960"/>
                    <a:pt x="20241" y="12960"/>
                    <a:pt x="20241" y="12960"/>
                  </a:cubicBezTo>
                  <a:cubicBezTo>
                    <a:pt x="20241" y="7855"/>
                    <a:pt x="20121" y="5891"/>
                    <a:pt x="19962" y="5891"/>
                  </a:cubicBezTo>
                  <a:cubicBezTo>
                    <a:pt x="19762" y="5891"/>
                    <a:pt x="19642" y="9033"/>
                    <a:pt x="19642" y="13745"/>
                  </a:cubicBezTo>
                  <a:cubicBezTo>
                    <a:pt x="19642" y="19244"/>
                    <a:pt x="19802" y="21600"/>
                    <a:pt x="19981" y="21600"/>
                  </a:cubicBezTo>
                  <a:cubicBezTo>
                    <a:pt x="20141" y="21600"/>
                    <a:pt x="20221" y="19636"/>
                    <a:pt x="20261" y="18065"/>
                  </a:cubicBezTo>
                  <a:cubicBezTo>
                    <a:pt x="20181" y="17280"/>
                    <a:pt x="20181" y="17280"/>
                    <a:pt x="20181" y="17280"/>
                  </a:cubicBezTo>
                  <a:cubicBezTo>
                    <a:pt x="20141" y="18851"/>
                    <a:pt x="20061" y="19636"/>
                    <a:pt x="19981" y="19636"/>
                  </a:cubicBezTo>
                  <a:moveTo>
                    <a:pt x="19222" y="5891"/>
                  </a:moveTo>
                  <a:cubicBezTo>
                    <a:pt x="19142" y="5891"/>
                    <a:pt x="19062" y="7069"/>
                    <a:pt x="19002" y="8247"/>
                  </a:cubicBezTo>
                  <a:cubicBezTo>
                    <a:pt x="19002" y="8247"/>
                    <a:pt x="19002" y="8247"/>
                    <a:pt x="19002" y="8247"/>
                  </a:cubicBezTo>
                  <a:cubicBezTo>
                    <a:pt x="19002" y="6284"/>
                    <a:pt x="19002" y="6284"/>
                    <a:pt x="19002" y="6284"/>
                  </a:cubicBezTo>
                  <a:cubicBezTo>
                    <a:pt x="18883" y="6284"/>
                    <a:pt x="18883" y="6284"/>
                    <a:pt x="18883" y="6284"/>
                  </a:cubicBezTo>
                  <a:cubicBezTo>
                    <a:pt x="18883" y="21207"/>
                    <a:pt x="18883" y="21207"/>
                    <a:pt x="18883" y="21207"/>
                  </a:cubicBezTo>
                  <a:cubicBezTo>
                    <a:pt x="19002" y="21207"/>
                    <a:pt x="19002" y="21207"/>
                    <a:pt x="19002" y="21207"/>
                  </a:cubicBezTo>
                  <a:cubicBezTo>
                    <a:pt x="19002" y="10211"/>
                    <a:pt x="19002" y="10211"/>
                    <a:pt x="19002" y="10211"/>
                  </a:cubicBezTo>
                  <a:cubicBezTo>
                    <a:pt x="19042" y="9033"/>
                    <a:pt x="19142" y="7855"/>
                    <a:pt x="19222" y="7855"/>
                  </a:cubicBezTo>
                  <a:cubicBezTo>
                    <a:pt x="19282" y="7855"/>
                    <a:pt x="19342" y="8247"/>
                    <a:pt x="19342" y="10211"/>
                  </a:cubicBezTo>
                  <a:cubicBezTo>
                    <a:pt x="19342" y="21207"/>
                    <a:pt x="19342" y="21207"/>
                    <a:pt x="19342" y="21207"/>
                  </a:cubicBezTo>
                  <a:cubicBezTo>
                    <a:pt x="19442" y="21207"/>
                    <a:pt x="19442" y="21207"/>
                    <a:pt x="19442" y="21207"/>
                  </a:cubicBezTo>
                  <a:cubicBezTo>
                    <a:pt x="19442" y="10211"/>
                    <a:pt x="19442" y="10211"/>
                    <a:pt x="19442" y="10211"/>
                  </a:cubicBezTo>
                  <a:cubicBezTo>
                    <a:pt x="19442" y="7069"/>
                    <a:pt x="19342" y="5891"/>
                    <a:pt x="19222" y="5891"/>
                  </a:cubicBezTo>
                  <a:moveTo>
                    <a:pt x="18503" y="21207"/>
                  </a:moveTo>
                  <a:cubicBezTo>
                    <a:pt x="18603" y="21207"/>
                    <a:pt x="18603" y="21207"/>
                    <a:pt x="18603" y="21207"/>
                  </a:cubicBezTo>
                  <a:cubicBezTo>
                    <a:pt x="18603" y="6284"/>
                    <a:pt x="18603" y="6284"/>
                    <a:pt x="18603" y="6284"/>
                  </a:cubicBezTo>
                  <a:cubicBezTo>
                    <a:pt x="18503" y="6284"/>
                    <a:pt x="18503" y="6284"/>
                    <a:pt x="18503" y="6284"/>
                  </a:cubicBezTo>
                  <a:lnTo>
                    <a:pt x="18503" y="21207"/>
                  </a:lnTo>
                  <a:close/>
                  <a:moveTo>
                    <a:pt x="18503" y="2749"/>
                  </a:moveTo>
                  <a:cubicBezTo>
                    <a:pt x="18603" y="2749"/>
                    <a:pt x="18603" y="2749"/>
                    <a:pt x="18603" y="2749"/>
                  </a:cubicBezTo>
                  <a:cubicBezTo>
                    <a:pt x="18603" y="0"/>
                    <a:pt x="18603" y="0"/>
                    <a:pt x="18603" y="0"/>
                  </a:cubicBezTo>
                  <a:cubicBezTo>
                    <a:pt x="18503" y="0"/>
                    <a:pt x="18503" y="0"/>
                    <a:pt x="18503" y="0"/>
                  </a:cubicBezTo>
                  <a:lnTo>
                    <a:pt x="18503" y="2749"/>
                  </a:lnTo>
                  <a:close/>
                  <a:moveTo>
                    <a:pt x="17843" y="9818"/>
                  </a:moveTo>
                  <a:cubicBezTo>
                    <a:pt x="17843" y="8640"/>
                    <a:pt x="17903" y="7855"/>
                    <a:pt x="17983" y="7855"/>
                  </a:cubicBezTo>
                  <a:cubicBezTo>
                    <a:pt x="18063" y="7855"/>
                    <a:pt x="18123" y="8247"/>
                    <a:pt x="18183" y="9818"/>
                  </a:cubicBezTo>
                  <a:cubicBezTo>
                    <a:pt x="18263" y="8640"/>
                    <a:pt x="18263" y="8640"/>
                    <a:pt x="18263" y="8640"/>
                  </a:cubicBezTo>
                  <a:cubicBezTo>
                    <a:pt x="18203" y="7069"/>
                    <a:pt x="18103" y="5891"/>
                    <a:pt x="18003" y="5891"/>
                  </a:cubicBezTo>
                  <a:cubicBezTo>
                    <a:pt x="17843" y="5891"/>
                    <a:pt x="17744" y="7462"/>
                    <a:pt x="17744" y="9818"/>
                  </a:cubicBezTo>
                  <a:cubicBezTo>
                    <a:pt x="17724" y="15316"/>
                    <a:pt x="18183" y="13353"/>
                    <a:pt x="18183" y="17280"/>
                  </a:cubicBezTo>
                  <a:cubicBezTo>
                    <a:pt x="18183" y="18458"/>
                    <a:pt x="18143" y="19636"/>
                    <a:pt x="18023" y="19636"/>
                  </a:cubicBezTo>
                  <a:cubicBezTo>
                    <a:pt x="17923" y="19636"/>
                    <a:pt x="17843" y="18851"/>
                    <a:pt x="17804" y="17673"/>
                  </a:cubicBezTo>
                  <a:cubicBezTo>
                    <a:pt x="17724" y="18851"/>
                    <a:pt x="17724" y="18851"/>
                    <a:pt x="17724" y="18851"/>
                  </a:cubicBezTo>
                  <a:cubicBezTo>
                    <a:pt x="17784" y="20422"/>
                    <a:pt x="17903" y="21600"/>
                    <a:pt x="18023" y="21600"/>
                  </a:cubicBezTo>
                  <a:cubicBezTo>
                    <a:pt x="18163" y="21600"/>
                    <a:pt x="18283" y="20029"/>
                    <a:pt x="18283" y="17280"/>
                  </a:cubicBezTo>
                  <a:cubicBezTo>
                    <a:pt x="18283" y="11389"/>
                    <a:pt x="17843" y="13353"/>
                    <a:pt x="17843" y="9818"/>
                  </a:cubicBezTo>
                  <a:moveTo>
                    <a:pt x="17444" y="17673"/>
                  </a:moveTo>
                  <a:cubicBezTo>
                    <a:pt x="17384" y="18458"/>
                    <a:pt x="17304" y="19636"/>
                    <a:pt x="17224" y="19636"/>
                  </a:cubicBezTo>
                  <a:cubicBezTo>
                    <a:pt x="17144" y="19636"/>
                    <a:pt x="17104" y="19244"/>
                    <a:pt x="17104" y="17280"/>
                  </a:cubicBezTo>
                  <a:cubicBezTo>
                    <a:pt x="17104" y="6284"/>
                    <a:pt x="17104" y="6284"/>
                    <a:pt x="17104" y="6284"/>
                  </a:cubicBezTo>
                  <a:cubicBezTo>
                    <a:pt x="16984" y="6284"/>
                    <a:pt x="16984" y="6284"/>
                    <a:pt x="16984" y="6284"/>
                  </a:cubicBezTo>
                  <a:cubicBezTo>
                    <a:pt x="16984" y="17280"/>
                    <a:pt x="16984" y="17280"/>
                    <a:pt x="16984" y="17280"/>
                  </a:cubicBezTo>
                  <a:cubicBezTo>
                    <a:pt x="16984" y="20422"/>
                    <a:pt x="17104" y="21600"/>
                    <a:pt x="17204" y="21600"/>
                  </a:cubicBezTo>
                  <a:cubicBezTo>
                    <a:pt x="17304" y="21600"/>
                    <a:pt x="17384" y="20422"/>
                    <a:pt x="17444" y="19244"/>
                  </a:cubicBezTo>
                  <a:cubicBezTo>
                    <a:pt x="17444" y="19244"/>
                    <a:pt x="17444" y="19244"/>
                    <a:pt x="17444" y="19244"/>
                  </a:cubicBezTo>
                  <a:cubicBezTo>
                    <a:pt x="17444" y="21207"/>
                    <a:pt x="17444" y="21207"/>
                    <a:pt x="17444" y="21207"/>
                  </a:cubicBezTo>
                  <a:cubicBezTo>
                    <a:pt x="17544" y="21207"/>
                    <a:pt x="17544" y="21207"/>
                    <a:pt x="17544" y="21207"/>
                  </a:cubicBezTo>
                  <a:cubicBezTo>
                    <a:pt x="17544" y="6284"/>
                    <a:pt x="17544" y="6284"/>
                    <a:pt x="17544" y="6284"/>
                  </a:cubicBezTo>
                  <a:cubicBezTo>
                    <a:pt x="17444" y="6284"/>
                    <a:pt x="17444" y="6284"/>
                    <a:pt x="17444" y="6284"/>
                  </a:cubicBezTo>
                  <a:lnTo>
                    <a:pt x="17444" y="17673"/>
                  </a:lnTo>
                  <a:close/>
                  <a:moveTo>
                    <a:pt x="16465" y="19636"/>
                  </a:moveTo>
                  <a:cubicBezTo>
                    <a:pt x="16385" y="19636"/>
                    <a:pt x="16345" y="19244"/>
                    <a:pt x="16265" y="17673"/>
                  </a:cubicBezTo>
                  <a:cubicBezTo>
                    <a:pt x="16265" y="9818"/>
                    <a:pt x="16265" y="9818"/>
                    <a:pt x="16265" y="9818"/>
                  </a:cubicBezTo>
                  <a:cubicBezTo>
                    <a:pt x="16325" y="8640"/>
                    <a:pt x="16405" y="7855"/>
                    <a:pt x="16465" y="7855"/>
                  </a:cubicBezTo>
                  <a:cubicBezTo>
                    <a:pt x="16585" y="7855"/>
                    <a:pt x="16685" y="9425"/>
                    <a:pt x="16685" y="13745"/>
                  </a:cubicBezTo>
                  <a:cubicBezTo>
                    <a:pt x="16685" y="17673"/>
                    <a:pt x="16585" y="19636"/>
                    <a:pt x="16465" y="19636"/>
                  </a:cubicBezTo>
                  <a:moveTo>
                    <a:pt x="16485" y="5891"/>
                  </a:moveTo>
                  <a:cubicBezTo>
                    <a:pt x="16405" y="5891"/>
                    <a:pt x="16325" y="6676"/>
                    <a:pt x="16265" y="7462"/>
                  </a:cubicBezTo>
                  <a:cubicBezTo>
                    <a:pt x="16265" y="7855"/>
                    <a:pt x="16265" y="7855"/>
                    <a:pt x="16265" y="7855"/>
                  </a:cubicBezTo>
                  <a:cubicBezTo>
                    <a:pt x="16265" y="393"/>
                    <a:pt x="16265" y="393"/>
                    <a:pt x="16265" y="393"/>
                  </a:cubicBezTo>
                  <a:cubicBezTo>
                    <a:pt x="16165" y="393"/>
                    <a:pt x="16165" y="393"/>
                    <a:pt x="16165" y="393"/>
                  </a:cubicBezTo>
                  <a:cubicBezTo>
                    <a:pt x="16165" y="18065"/>
                    <a:pt x="16165" y="18065"/>
                    <a:pt x="16165" y="18065"/>
                  </a:cubicBezTo>
                  <a:cubicBezTo>
                    <a:pt x="16165" y="19244"/>
                    <a:pt x="16165" y="20029"/>
                    <a:pt x="16145" y="21207"/>
                  </a:cubicBezTo>
                  <a:cubicBezTo>
                    <a:pt x="16225" y="21207"/>
                    <a:pt x="16225" y="21207"/>
                    <a:pt x="16225" y="21207"/>
                  </a:cubicBezTo>
                  <a:cubicBezTo>
                    <a:pt x="16245" y="19636"/>
                    <a:pt x="16245" y="19636"/>
                    <a:pt x="16245" y="19636"/>
                  </a:cubicBezTo>
                  <a:cubicBezTo>
                    <a:pt x="16305" y="20815"/>
                    <a:pt x="16385" y="21600"/>
                    <a:pt x="16465" y="21600"/>
                  </a:cubicBezTo>
                  <a:cubicBezTo>
                    <a:pt x="16605" y="21600"/>
                    <a:pt x="16784" y="19636"/>
                    <a:pt x="16784" y="13745"/>
                  </a:cubicBezTo>
                  <a:cubicBezTo>
                    <a:pt x="16784" y="7855"/>
                    <a:pt x="16605" y="5891"/>
                    <a:pt x="16485" y="5891"/>
                  </a:cubicBezTo>
                  <a:moveTo>
                    <a:pt x="15086" y="9818"/>
                  </a:moveTo>
                  <a:cubicBezTo>
                    <a:pt x="15086" y="8640"/>
                    <a:pt x="15126" y="7855"/>
                    <a:pt x="15226" y="7855"/>
                  </a:cubicBezTo>
                  <a:cubicBezTo>
                    <a:pt x="15306" y="7855"/>
                    <a:pt x="15366" y="8247"/>
                    <a:pt x="15426" y="9818"/>
                  </a:cubicBezTo>
                  <a:cubicBezTo>
                    <a:pt x="15486" y="8640"/>
                    <a:pt x="15486" y="8640"/>
                    <a:pt x="15486" y="8640"/>
                  </a:cubicBezTo>
                  <a:cubicBezTo>
                    <a:pt x="15446" y="7069"/>
                    <a:pt x="15326" y="5891"/>
                    <a:pt x="15226" y="5891"/>
                  </a:cubicBezTo>
                  <a:cubicBezTo>
                    <a:pt x="15086" y="5891"/>
                    <a:pt x="14986" y="7462"/>
                    <a:pt x="14966" y="9818"/>
                  </a:cubicBezTo>
                  <a:cubicBezTo>
                    <a:pt x="14966" y="15316"/>
                    <a:pt x="15426" y="13353"/>
                    <a:pt x="15426" y="17280"/>
                  </a:cubicBezTo>
                  <a:cubicBezTo>
                    <a:pt x="15426" y="18458"/>
                    <a:pt x="15366" y="19636"/>
                    <a:pt x="15246" y="19636"/>
                  </a:cubicBezTo>
                  <a:cubicBezTo>
                    <a:pt x="15166" y="19636"/>
                    <a:pt x="15086" y="18851"/>
                    <a:pt x="15026" y="17673"/>
                  </a:cubicBezTo>
                  <a:cubicBezTo>
                    <a:pt x="14946" y="18851"/>
                    <a:pt x="14946" y="18851"/>
                    <a:pt x="14946" y="18851"/>
                  </a:cubicBezTo>
                  <a:cubicBezTo>
                    <a:pt x="15026" y="20422"/>
                    <a:pt x="15146" y="21600"/>
                    <a:pt x="15266" y="21600"/>
                  </a:cubicBezTo>
                  <a:cubicBezTo>
                    <a:pt x="15406" y="21600"/>
                    <a:pt x="15526" y="20029"/>
                    <a:pt x="15526" y="17280"/>
                  </a:cubicBezTo>
                  <a:cubicBezTo>
                    <a:pt x="15526" y="11389"/>
                    <a:pt x="15086" y="13353"/>
                    <a:pt x="15086" y="9818"/>
                  </a:cubicBezTo>
                  <a:moveTo>
                    <a:pt x="14567" y="5891"/>
                  </a:moveTo>
                  <a:cubicBezTo>
                    <a:pt x="14467" y="5891"/>
                    <a:pt x="14387" y="7069"/>
                    <a:pt x="14327" y="8247"/>
                  </a:cubicBezTo>
                  <a:cubicBezTo>
                    <a:pt x="14327" y="8247"/>
                    <a:pt x="14327" y="8247"/>
                    <a:pt x="14327" y="8247"/>
                  </a:cubicBezTo>
                  <a:cubicBezTo>
                    <a:pt x="14327" y="6284"/>
                    <a:pt x="14327" y="6284"/>
                    <a:pt x="14327" y="6284"/>
                  </a:cubicBezTo>
                  <a:cubicBezTo>
                    <a:pt x="14227" y="6284"/>
                    <a:pt x="14227" y="6284"/>
                    <a:pt x="14227" y="6284"/>
                  </a:cubicBezTo>
                  <a:cubicBezTo>
                    <a:pt x="14227" y="21207"/>
                    <a:pt x="14227" y="21207"/>
                    <a:pt x="14227" y="21207"/>
                  </a:cubicBezTo>
                  <a:cubicBezTo>
                    <a:pt x="14327" y="21207"/>
                    <a:pt x="14327" y="21207"/>
                    <a:pt x="14327" y="21207"/>
                  </a:cubicBezTo>
                  <a:cubicBezTo>
                    <a:pt x="14327" y="10211"/>
                    <a:pt x="14327" y="10211"/>
                    <a:pt x="14327" y="10211"/>
                  </a:cubicBezTo>
                  <a:cubicBezTo>
                    <a:pt x="14367" y="9033"/>
                    <a:pt x="14467" y="7855"/>
                    <a:pt x="14547" y="7855"/>
                  </a:cubicBezTo>
                  <a:cubicBezTo>
                    <a:pt x="14626" y="7855"/>
                    <a:pt x="14666" y="8247"/>
                    <a:pt x="14666" y="10211"/>
                  </a:cubicBezTo>
                  <a:cubicBezTo>
                    <a:pt x="14666" y="21207"/>
                    <a:pt x="14666" y="21207"/>
                    <a:pt x="14666" y="21207"/>
                  </a:cubicBezTo>
                  <a:cubicBezTo>
                    <a:pt x="14786" y="21207"/>
                    <a:pt x="14786" y="21207"/>
                    <a:pt x="14786" y="21207"/>
                  </a:cubicBezTo>
                  <a:cubicBezTo>
                    <a:pt x="14786" y="10211"/>
                    <a:pt x="14786" y="10211"/>
                    <a:pt x="14786" y="10211"/>
                  </a:cubicBezTo>
                  <a:cubicBezTo>
                    <a:pt x="14786" y="7069"/>
                    <a:pt x="14666" y="5891"/>
                    <a:pt x="14567" y="5891"/>
                  </a:cubicBezTo>
                  <a:moveTo>
                    <a:pt x="13887" y="17280"/>
                  </a:moveTo>
                  <a:cubicBezTo>
                    <a:pt x="13807" y="18851"/>
                    <a:pt x="13727" y="19636"/>
                    <a:pt x="13647" y="19636"/>
                  </a:cubicBezTo>
                  <a:cubicBezTo>
                    <a:pt x="13587" y="19636"/>
                    <a:pt x="13507" y="18851"/>
                    <a:pt x="13507" y="17673"/>
                  </a:cubicBezTo>
                  <a:cubicBezTo>
                    <a:pt x="13507" y="15316"/>
                    <a:pt x="13627" y="14138"/>
                    <a:pt x="13887" y="13353"/>
                  </a:cubicBezTo>
                  <a:lnTo>
                    <a:pt x="13887" y="17280"/>
                  </a:lnTo>
                  <a:close/>
                  <a:moveTo>
                    <a:pt x="13987" y="10604"/>
                  </a:moveTo>
                  <a:cubicBezTo>
                    <a:pt x="13987" y="7069"/>
                    <a:pt x="13847" y="5891"/>
                    <a:pt x="13727" y="5891"/>
                  </a:cubicBezTo>
                  <a:cubicBezTo>
                    <a:pt x="13567" y="5891"/>
                    <a:pt x="13488" y="7462"/>
                    <a:pt x="13428" y="9033"/>
                  </a:cubicBezTo>
                  <a:cubicBezTo>
                    <a:pt x="13527" y="10211"/>
                    <a:pt x="13527" y="10211"/>
                    <a:pt x="13527" y="10211"/>
                  </a:cubicBezTo>
                  <a:cubicBezTo>
                    <a:pt x="13547" y="9033"/>
                    <a:pt x="13607" y="7855"/>
                    <a:pt x="13727" y="7855"/>
                  </a:cubicBezTo>
                  <a:cubicBezTo>
                    <a:pt x="13807" y="7855"/>
                    <a:pt x="13887" y="8640"/>
                    <a:pt x="13887" y="10604"/>
                  </a:cubicBezTo>
                  <a:cubicBezTo>
                    <a:pt x="13887" y="11389"/>
                    <a:pt x="13887" y="11389"/>
                    <a:pt x="13887" y="11389"/>
                  </a:cubicBezTo>
                  <a:cubicBezTo>
                    <a:pt x="13547" y="12567"/>
                    <a:pt x="13408" y="14138"/>
                    <a:pt x="13408" y="17280"/>
                  </a:cubicBezTo>
                  <a:cubicBezTo>
                    <a:pt x="13408" y="20029"/>
                    <a:pt x="13507" y="21600"/>
                    <a:pt x="13627" y="21600"/>
                  </a:cubicBezTo>
                  <a:cubicBezTo>
                    <a:pt x="13747" y="21600"/>
                    <a:pt x="13827" y="20422"/>
                    <a:pt x="13887" y="19244"/>
                  </a:cubicBezTo>
                  <a:cubicBezTo>
                    <a:pt x="13887" y="21207"/>
                    <a:pt x="13887" y="21207"/>
                    <a:pt x="13887" y="21207"/>
                  </a:cubicBezTo>
                  <a:cubicBezTo>
                    <a:pt x="14007" y="21207"/>
                    <a:pt x="14007" y="21207"/>
                    <a:pt x="14007" y="21207"/>
                  </a:cubicBezTo>
                  <a:cubicBezTo>
                    <a:pt x="13987" y="20422"/>
                    <a:pt x="13987" y="19636"/>
                    <a:pt x="13987" y="18065"/>
                  </a:cubicBezTo>
                  <a:lnTo>
                    <a:pt x="13987" y="10604"/>
                  </a:lnTo>
                  <a:close/>
                  <a:moveTo>
                    <a:pt x="12988" y="7855"/>
                  </a:moveTo>
                  <a:cubicBezTo>
                    <a:pt x="13088" y="7855"/>
                    <a:pt x="13168" y="9425"/>
                    <a:pt x="13168" y="12567"/>
                  </a:cubicBezTo>
                  <a:cubicBezTo>
                    <a:pt x="12768" y="12567"/>
                    <a:pt x="12768" y="12567"/>
                    <a:pt x="12768" y="12567"/>
                  </a:cubicBezTo>
                  <a:cubicBezTo>
                    <a:pt x="12788" y="9425"/>
                    <a:pt x="12848" y="7855"/>
                    <a:pt x="12988" y="7855"/>
                  </a:cubicBezTo>
                  <a:moveTo>
                    <a:pt x="12988" y="19636"/>
                  </a:moveTo>
                  <a:cubicBezTo>
                    <a:pt x="12868" y="19636"/>
                    <a:pt x="12768" y="17673"/>
                    <a:pt x="12768" y="14138"/>
                  </a:cubicBezTo>
                  <a:cubicBezTo>
                    <a:pt x="13268" y="14138"/>
                    <a:pt x="13268" y="14138"/>
                    <a:pt x="13268" y="14138"/>
                  </a:cubicBezTo>
                  <a:cubicBezTo>
                    <a:pt x="13268" y="12960"/>
                    <a:pt x="13268" y="12960"/>
                    <a:pt x="13268" y="12960"/>
                  </a:cubicBezTo>
                  <a:cubicBezTo>
                    <a:pt x="13268" y="7855"/>
                    <a:pt x="13128" y="5891"/>
                    <a:pt x="12968" y="5891"/>
                  </a:cubicBezTo>
                  <a:cubicBezTo>
                    <a:pt x="12788" y="5891"/>
                    <a:pt x="12668" y="9033"/>
                    <a:pt x="12668" y="13745"/>
                  </a:cubicBezTo>
                  <a:cubicBezTo>
                    <a:pt x="12668" y="19244"/>
                    <a:pt x="12828" y="21600"/>
                    <a:pt x="12988" y="21600"/>
                  </a:cubicBezTo>
                  <a:cubicBezTo>
                    <a:pt x="13168" y="21600"/>
                    <a:pt x="13248" y="19636"/>
                    <a:pt x="13288" y="18065"/>
                  </a:cubicBezTo>
                  <a:cubicBezTo>
                    <a:pt x="13208" y="17280"/>
                    <a:pt x="13208" y="17280"/>
                    <a:pt x="13208" y="17280"/>
                  </a:cubicBezTo>
                  <a:cubicBezTo>
                    <a:pt x="13168" y="18851"/>
                    <a:pt x="13088" y="19636"/>
                    <a:pt x="12988" y="19636"/>
                  </a:cubicBezTo>
                  <a:moveTo>
                    <a:pt x="12269" y="5891"/>
                  </a:moveTo>
                  <a:cubicBezTo>
                    <a:pt x="12169" y="5891"/>
                    <a:pt x="12089" y="7069"/>
                    <a:pt x="12029" y="8247"/>
                  </a:cubicBezTo>
                  <a:cubicBezTo>
                    <a:pt x="11989" y="7069"/>
                    <a:pt x="11929" y="5891"/>
                    <a:pt x="11829" y="5891"/>
                  </a:cubicBezTo>
                  <a:cubicBezTo>
                    <a:pt x="11749" y="5891"/>
                    <a:pt x="11669" y="6676"/>
                    <a:pt x="11609" y="8247"/>
                  </a:cubicBezTo>
                  <a:cubicBezTo>
                    <a:pt x="11589" y="8247"/>
                    <a:pt x="11589" y="8247"/>
                    <a:pt x="11589" y="8247"/>
                  </a:cubicBezTo>
                  <a:cubicBezTo>
                    <a:pt x="11589" y="6284"/>
                    <a:pt x="11589" y="6284"/>
                    <a:pt x="11589" y="6284"/>
                  </a:cubicBezTo>
                  <a:cubicBezTo>
                    <a:pt x="11489" y="6284"/>
                    <a:pt x="11489" y="6284"/>
                    <a:pt x="11489" y="6284"/>
                  </a:cubicBezTo>
                  <a:cubicBezTo>
                    <a:pt x="11489" y="21207"/>
                    <a:pt x="11489" y="21207"/>
                    <a:pt x="11489" y="21207"/>
                  </a:cubicBezTo>
                  <a:cubicBezTo>
                    <a:pt x="11589" y="21207"/>
                    <a:pt x="11589" y="21207"/>
                    <a:pt x="11589" y="21207"/>
                  </a:cubicBezTo>
                  <a:cubicBezTo>
                    <a:pt x="11589" y="10211"/>
                    <a:pt x="11589" y="10211"/>
                    <a:pt x="11589" y="10211"/>
                  </a:cubicBezTo>
                  <a:cubicBezTo>
                    <a:pt x="11649" y="9033"/>
                    <a:pt x="11709" y="7855"/>
                    <a:pt x="11809" y="7855"/>
                  </a:cubicBezTo>
                  <a:cubicBezTo>
                    <a:pt x="11889" y="7855"/>
                    <a:pt x="11929" y="8640"/>
                    <a:pt x="11929" y="10604"/>
                  </a:cubicBezTo>
                  <a:cubicBezTo>
                    <a:pt x="11929" y="21207"/>
                    <a:pt x="11929" y="21207"/>
                    <a:pt x="11929" y="21207"/>
                  </a:cubicBezTo>
                  <a:cubicBezTo>
                    <a:pt x="12029" y="21207"/>
                    <a:pt x="12029" y="21207"/>
                    <a:pt x="12029" y="21207"/>
                  </a:cubicBezTo>
                  <a:cubicBezTo>
                    <a:pt x="12029" y="10211"/>
                    <a:pt x="12029" y="10211"/>
                    <a:pt x="12029" y="10211"/>
                  </a:cubicBezTo>
                  <a:cubicBezTo>
                    <a:pt x="12089" y="9033"/>
                    <a:pt x="12149" y="7855"/>
                    <a:pt x="12249" y="7855"/>
                  </a:cubicBezTo>
                  <a:cubicBezTo>
                    <a:pt x="12329" y="7855"/>
                    <a:pt x="12369" y="8640"/>
                    <a:pt x="12369" y="10604"/>
                  </a:cubicBezTo>
                  <a:cubicBezTo>
                    <a:pt x="12369" y="21207"/>
                    <a:pt x="12369" y="21207"/>
                    <a:pt x="12369" y="21207"/>
                  </a:cubicBezTo>
                  <a:cubicBezTo>
                    <a:pt x="12468" y="21207"/>
                    <a:pt x="12468" y="21207"/>
                    <a:pt x="12468" y="21207"/>
                  </a:cubicBezTo>
                  <a:cubicBezTo>
                    <a:pt x="12468" y="10604"/>
                    <a:pt x="12468" y="10604"/>
                    <a:pt x="12468" y="10604"/>
                  </a:cubicBezTo>
                  <a:cubicBezTo>
                    <a:pt x="12468" y="6676"/>
                    <a:pt x="12369" y="5891"/>
                    <a:pt x="12269" y="5891"/>
                  </a:cubicBezTo>
                  <a:moveTo>
                    <a:pt x="10550" y="5891"/>
                  </a:moveTo>
                  <a:cubicBezTo>
                    <a:pt x="10470" y="5891"/>
                    <a:pt x="10390" y="7069"/>
                    <a:pt x="10330" y="8247"/>
                  </a:cubicBezTo>
                  <a:cubicBezTo>
                    <a:pt x="10330" y="8247"/>
                    <a:pt x="10330" y="8247"/>
                    <a:pt x="10330" y="8247"/>
                  </a:cubicBezTo>
                  <a:cubicBezTo>
                    <a:pt x="10330" y="6284"/>
                    <a:pt x="10330" y="6284"/>
                    <a:pt x="10330" y="6284"/>
                  </a:cubicBezTo>
                  <a:cubicBezTo>
                    <a:pt x="10231" y="6284"/>
                    <a:pt x="10231" y="6284"/>
                    <a:pt x="10231" y="6284"/>
                  </a:cubicBezTo>
                  <a:cubicBezTo>
                    <a:pt x="10231" y="21207"/>
                    <a:pt x="10231" y="21207"/>
                    <a:pt x="10231" y="21207"/>
                  </a:cubicBezTo>
                  <a:cubicBezTo>
                    <a:pt x="10330" y="21207"/>
                    <a:pt x="10330" y="21207"/>
                    <a:pt x="10330" y="21207"/>
                  </a:cubicBezTo>
                  <a:cubicBezTo>
                    <a:pt x="10330" y="10211"/>
                    <a:pt x="10330" y="10211"/>
                    <a:pt x="10330" y="10211"/>
                  </a:cubicBezTo>
                  <a:cubicBezTo>
                    <a:pt x="10370" y="9033"/>
                    <a:pt x="10470" y="7855"/>
                    <a:pt x="10550" y="7855"/>
                  </a:cubicBezTo>
                  <a:cubicBezTo>
                    <a:pt x="10630" y="7855"/>
                    <a:pt x="10670" y="8247"/>
                    <a:pt x="10670" y="10211"/>
                  </a:cubicBezTo>
                  <a:cubicBezTo>
                    <a:pt x="10670" y="21207"/>
                    <a:pt x="10670" y="21207"/>
                    <a:pt x="10670" y="21207"/>
                  </a:cubicBezTo>
                  <a:cubicBezTo>
                    <a:pt x="10770" y="21207"/>
                    <a:pt x="10770" y="21207"/>
                    <a:pt x="10770" y="21207"/>
                  </a:cubicBezTo>
                  <a:cubicBezTo>
                    <a:pt x="10770" y="10211"/>
                    <a:pt x="10770" y="10211"/>
                    <a:pt x="10770" y="10211"/>
                  </a:cubicBezTo>
                  <a:cubicBezTo>
                    <a:pt x="10770" y="7069"/>
                    <a:pt x="10670" y="5891"/>
                    <a:pt x="10550" y="5891"/>
                  </a:cubicBezTo>
                  <a:moveTo>
                    <a:pt x="9711" y="19636"/>
                  </a:moveTo>
                  <a:cubicBezTo>
                    <a:pt x="9591" y="19636"/>
                    <a:pt x="9511" y="17673"/>
                    <a:pt x="9511" y="13745"/>
                  </a:cubicBezTo>
                  <a:cubicBezTo>
                    <a:pt x="9511" y="9818"/>
                    <a:pt x="9591" y="7855"/>
                    <a:pt x="9711" y="7855"/>
                  </a:cubicBezTo>
                  <a:cubicBezTo>
                    <a:pt x="9851" y="7855"/>
                    <a:pt x="9931" y="9818"/>
                    <a:pt x="9931" y="13745"/>
                  </a:cubicBezTo>
                  <a:cubicBezTo>
                    <a:pt x="9931" y="17673"/>
                    <a:pt x="9851" y="19636"/>
                    <a:pt x="9711" y="19636"/>
                  </a:cubicBezTo>
                  <a:moveTo>
                    <a:pt x="9711" y="5891"/>
                  </a:moveTo>
                  <a:cubicBezTo>
                    <a:pt x="9511" y="5891"/>
                    <a:pt x="9411" y="9425"/>
                    <a:pt x="9411" y="13745"/>
                  </a:cubicBezTo>
                  <a:cubicBezTo>
                    <a:pt x="9411" y="18065"/>
                    <a:pt x="9511" y="21600"/>
                    <a:pt x="9711" y="21600"/>
                  </a:cubicBezTo>
                  <a:cubicBezTo>
                    <a:pt x="9931" y="21600"/>
                    <a:pt x="10031" y="18065"/>
                    <a:pt x="10031" y="13745"/>
                  </a:cubicBezTo>
                  <a:cubicBezTo>
                    <a:pt x="10031" y="9425"/>
                    <a:pt x="9931" y="5891"/>
                    <a:pt x="9711" y="5891"/>
                  </a:cubicBezTo>
                  <a:moveTo>
                    <a:pt x="9092" y="21207"/>
                  </a:moveTo>
                  <a:cubicBezTo>
                    <a:pt x="9191" y="21207"/>
                    <a:pt x="9191" y="21207"/>
                    <a:pt x="9191" y="21207"/>
                  </a:cubicBezTo>
                  <a:cubicBezTo>
                    <a:pt x="9191" y="6284"/>
                    <a:pt x="9191" y="6284"/>
                    <a:pt x="9191" y="6284"/>
                  </a:cubicBezTo>
                  <a:cubicBezTo>
                    <a:pt x="9092" y="6284"/>
                    <a:pt x="9092" y="6284"/>
                    <a:pt x="9092" y="6284"/>
                  </a:cubicBezTo>
                  <a:lnTo>
                    <a:pt x="9092" y="21207"/>
                  </a:lnTo>
                  <a:close/>
                  <a:moveTo>
                    <a:pt x="9092" y="2749"/>
                  </a:moveTo>
                  <a:cubicBezTo>
                    <a:pt x="9191" y="2749"/>
                    <a:pt x="9191" y="2749"/>
                    <a:pt x="9191" y="2749"/>
                  </a:cubicBezTo>
                  <a:cubicBezTo>
                    <a:pt x="9191" y="0"/>
                    <a:pt x="9191" y="0"/>
                    <a:pt x="9191" y="0"/>
                  </a:cubicBezTo>
                  <a:cubicBezTo>
                    <a:pt x="9092" y="0"/>
                    <a:pt x="9092" y="0"/>
                    <a:pt x="9092" y="0"/>
                  </a:cubicBezTo>
                  <a:lnTo>
                    <a:pt x="9092" y="2749"/>
                  </a:lnTo>
                  <a:close/>
                  <a:moveTo>
                    <a:pt x="8692" y="18851"/>
                  </a:moveTo>
                  <a:cubicBezTo>
                    <a:pt x="8692" y="7855"/>
                    <a:pt x="8692" y="7855"/>
                    <a:pt x="8692" y="7855"/>
                  </a:cubicBezTo>
                  <a:cubicBezTo>
                    <a:pt x="8872" y="7855"/>
                    <a:pt x="8872" y="7855"/>
                    <a:pt x="8872" y="7855"/>
                  </a:cubicBezTo>
                  <a:cubicBezTo>
                    <a:pt x="8872" y="6284"/>
                    <a:pt x="8872" y="6284"/>
                    <a:pt x="8872" y="6284"/>
                  </a:cubicBezTo>
                  <a:cubicBezTo>
                    <a:pt x="8692" y="6284"/>
                    <a:pt x="8692" y="6284"/>
                    <a:pt x="8692" y="6284"/>
                  </a:cubicBezTo>
                  <a:cubicBezTo>
                    <a:pt x="8692" y="1178"/>
                    <a:pt x="8692" y="1178"/>
                    <a:pt x="8692" y="1178"/>
                  </a:cubicBezTo>
                  <a:cubicBezTo>
                    <a:pt x="8592" y="1178"/>
                    <a:pt x="8592" y="1178"/>
                    <a:pt x="8592" y="1178"/>
                  </a:cubicBezTo>
                  <a:cubicBezTo>
                    <a:pt x="8592" y="6284"/>
                    <a:pt x="8592" y="6284"/>
                    <a:pt x="8592" y="6284"/>
                  </a:cubicBezTo>
                  <a:cubicBezTo>
                    <a:pt x="8452" y="6284"/>
                    <a:pt x="8452" y="6284"/>
                    <a:pt x="8452" y="6284"/>
                  </a:cubicBezTo>
                  <a:cubicBezTo>
                    <a:pt x="8452" y="7855"/>
                    <a:pt x="8452" y="7855"/>
                    <a:pt x="8452" y="7855"/>
                  </a:cubicBezTo>
                  <a:cubicBezTo>
                    <a:pt x="8592" y="7855"/>
                    <a:pt x="8592" y="7855"/>
                    <a:pt x="8592" y="7855"/>
                  </a:cubicBezTo>
                  <a:cubicBezTo>
                    <a:pt x="8592" y="19244"/>
                    <a:pt x="8592" y="19244"/>
                    <a:pt x="8592" y="19244"/>
                  </a:cubicBezTo>
                  <a:cubicBezTo>
                    <a:pt x="8592" y="21207"/>
                    <a:pt x="8632" y="21600"/>
                    <a:pt x="8752" y="21600"/>
                  </a:cubicBezTo>
                  <a:cubicBezTo>
                    <a:pt x="8812" y="21600"/>
                    <a:pt x="8852" y="21600"/>
                    <a:pt x="8872" y="21207"/>
                  </a:cubicBezTo>
                  <a:cubicBezTo>
                    <a:pt x="8872" y="19636"/>
                    <a:pt x="8872" y="19636"/>
                    <a:pt x="8872" y="19636"/>
                  </a:cubicBezTo>
                  <a:cubicBezTo>
                    <a:pt x="8852" y="19636"/>
                    <a:pt x="8812" y="19636"/>
                    <a:pt x="8772" y="19636"/>
                  </a:cubicBezTo>
                  <a:cubicBezTo>
                    <a:pt x="8712" y="19636"/>
                    <a:pt x="8692" y="19636"/>
                    <a:pt x="8692" y="18851"/>
                  </a:cubicBezTo>
                  <a:moveTo>
                    <a:pt x="8232" y="17280"/>
                  </a:moveTo>
                  <a:cubicBezTo>
                    <a:pt x="8152" y="18851"/>
                    <a:pt x="8073" y="19636"/>
                    <a:pt x="7993" y="19636"/>
                  </a:cubicBezTo>
                  <a:cubicBezTo>
                    <a:pt x="7933" y="19636"/>
                    <a:pt x="7853" y="18851"/>
                    <a:pt x="7853" y="17673"/>
                  </a:cubicBezTo>
                  <a:cubicBezTo>
                    <a:pt x="7853" y="15316"/>
                    <a:pt x="7973" y="14138"/>
                    <a:pt x="8232" y="13353"/>
                  </a:cubicBezTo>
                  <a:lnTo>
                    <a:pt x="8232" y="17280"/>
                  </a:lnTo>
                  <a:close/>
                  <a:moveTo>
                    <a:pt x="8332" y="10604"/>
                  </a:moveTo>
                  <a:cubicBezTo>
                    <a:pt x="8332" y="7069"/>
                    <a:pt x="8192" y="5891"/>
                    <a:pt x="8073" y="5891"/>
                  </a:cubicBezTo>
                  <a:cubicBezTo>
                    <a:pt x="7913" y="5891"/>
                    <a:pt x="7833" y="7462"/>
                    <a:pt x="7773" y="9033"/>
                  </a:cubicBezTo>
                  <a:cubicBezTo>
                    <a:pt x="7873" y="10211"/>
                    <a:pt x="7873" y="10211"/>
                    <a:pt x="7873" y="10211"/>
                  </a:cubicBezTo>
                  <a:cubicBezTo>
                    <a:pt x="7893" y="9033"/>
                    <a:pt x="7953" y="7855"/>
                    <a:pt x="8073" y="7855"/>
                  </a:cubicBezTo>
                  <a:cubicBezTo>
                    <a:pt x="8152" y="7855"/>
                    <a:pt x="8232" y="8640"/>
                    <a:pt x="8232" y="10604"/>
                  </a:cubicBezTo>
                  <a:cubicBezTo>
                    <a:pt x="8232" y="11389"/>
                    <a:pt x="8232" y="11389"/>
                    <a:pt x="8232" y="11389"/>
                  </a:cubicBezTo>
                  <a:cubicBezTo>
                    <a:pt x="7893" y="12567"/>
                    <a:pt x="7753" y="14138"/>
                    <a:pt x="7753" y="17280"/>
                  </a:cubicBezTo>
                  <a:cubicBezTo>
                    <a:pt x="7753" y="20029"/>
                    <a:pt x="7853" y="21600"/>
                    <a:pt x="7973" y="21600"/>
                  </a:cubicBezTo>
                  <a:cubicBezTo>
                    <a:pt x="8093" y="21600"/>
                    <a:pt x="8172" y="20422"/>
                    <a:pt x="8232" y="19244"/>
                  </a:cubicBezTo>
                  <a:cubicBezTo>
                    <a:pt x="8232" y="21207"/>
                    <a:pt x="8232" y="21207"/>
                    <a:pt x="8232" y="21207"/>
                  </a:cubicBezTo>
                  <a:cubicBezTo>
                    <a:pt x="8352" y="21207"/>
                    <a:pt x="8352" y="21207"/>
                    <a:pt x="8352" y="21207"/>
                  </a:cubicBezTo>
                  <a:cubicBezTo>
                    <a:pt x="8332" y="20422"/>
                    <a:pt x="8332" y="19636"/>
                    <a:pt x="8332" y="18065"/>
                  </a:cubicBezTo>
                  <a:lnTo>
                    <a:pt x="8332" y="10604"/>
                  </a:lnTo>
                  <a:close/>
                  <a:moveTo>
                    <a:pt x="7353" y="18851"/>
                  </a:moveTo>
                  <a:cubicBezTo>
                    <a:pt x="7353" y="18851"/>
                    <a:pt x="7353" y="18851"/>
                    <a:pt x="7353" y="18851"/>
                  </a:cubicBezTo>
                  <a:cubicBezTo>
                    <a:pt x="7173" y="6284"/>
                    <a:pt x="7173" y="6284"/>
                    <a:pt x="7173" y="6284"/>
                  </a:cubicBezTo>
                  <a:cubicBezTo>
                    <a:pt x="7053" y="6284"/>
                    <a:pt x="7053" y="6284"/>
                    <a:pt x="7053" y="6284"/>
                  </a:cubicBezTo>
                  <a:cubicBezTo>
                    <a:pt x="7293" y="21207"/>
                    <a:pt x="7293" y="21207"/>
                    <a:pt x="7293" y="21207"/>
                  </a:cubicBezTo>
                  <a:cubicBezTo>
                    <a:pt x="7433" y="21207"/>
                    <a:pt x="7433" y="21207"/>
                    <a:pt x="7433" y="21207"/>
                  </a:cubicBezTo>
                  <a:cubicBezTo>
                    <a:pt x="7673" y="6284"/>
                    <a:pt x="7673" y="6284"/>
                    <a:pt x="7673" y="6284"/>
                  </a:cubicBezTo>
                  <a:cubicBezTo>
                    <a:pt x="7553" y="6284"/>
                    <a:pt x="7553" y="6284"/>
                    <a:pt x="7553" y="6284"/>
                  </a:cubicBezTo>
                  <a:lnTo>
                    <a:pt x="7353" y="18851"/>
                  </a:lnTo>
                  <a:close/>
                  <a:moveTo>
                    <a:pt x="6654" y="19636"/>
                  </a:moveTo>
                  <a:cubicBezTo>
                    <a:pt x="6534" y="19636"/>
                    <a:pt x="6454" y="17673"/>
                    <a:pt x="6454" y="13745"/>
                  </a:cubicBezTo>
                  <a:cubicBezTo>
                    <a:pt x="6454" y="9818"/>
                    <a:pt x="6534" y="7855"/>
                    <a:pt x="6654" y="7855"/>
                  </a:cubicBezTo>
                  <a:cubicBezTo>
                    <a:pt x="6794" y="7855"/>
                    <a:pt x="6874" y="9818"/>
                    <a:pt x="6874" y="13745"/>
                  </a:cubicBezTo>
                  <a:cubicBezTo>
                    <a:pt x="6874" y="17673"/>
                    <a:pt x="6794" y="19636"/>
                    <a:pt x="6654" y="19636"/>
                  </a:cubicBezTo>
                  <a:moveTo>
                    <a:pt x="6654" y="5891"/>
                  </a:moveTo>
                  <a:cubicBezTo>
                    <a:pt x="6454" y="5891"/>
                    <a:pt x="6354" y="9425"/>
                    <a:pt x="6354" y="13745"/>
                  </a:cubicBezTo>
                  <a:cubicBezTo>
                    <a:pt x="6354" y="18065"/>
                    <a:pt x="6454" y="21600"/>
                    <a:pt x="6654" y="21600"/>
                  </a:cubicBezTo>
                  <a:cubicBezTo>
                    <a:pt x="6874" y="21600"/>
                    <a:pt x="6974" y="18065"/>
                    <a:pt x="6974" y="13745"/>
                  </a:cubicBezTo>
                  <a:cubicBezTo>
                    <a:pt x="6974" y="9425"/>
                    <a:pt x="6874" y="5891"/>
                    <a:pt x="6654" y="5891"/>
                  </a:cubicBezTo>
                  <a:moveTo>
                    <a:pt x="5935" y="5891"/>
                  </a:moveTo>
                  <a:cubicBezTo>
                    <a:pt x="5855" y="5891"/>
                    <a:pt x="5775" y="7069"/>
                    <a:pt x="5715" y="8247"/>
                  </a:cubicBezTo>
                  <a:cubicBezTo>
                    <a:pt x="5695" y="8247"/>
                    <a:pt x="5695" y="8247"/>
                    <a:pt x="5695" y="8247"/>
                  </a:cubicBezTo>
                  <a:cubicBezTo>
                    <a:pt x="5695" y="6284"/>
                    <a:pt x="5695" y="6284"/>
                    <a:pt x="5695" y="6284"/>
                  </a:cubicBezTo>
                  <a:cubicBezTo>
                    <a:pt x="5595" y="6284"/>
                    <a:pt x="5595" y="6284"/>
                    <a:pt x="5595" y="6284"/>
                  </a:cubicBezTo>
                  <a:cubicBezTo>
                    <a:pt x="5595" y="21207"/>
                    <a:pt x="5595" y="21207"/>
                    <a:pt x="5595" y="21207"/>
                  </a:cubicBezTo>
                  <a:cubicBezTo>
                    <a:pt x="5695" y="21207"/>
                    <a:pt x="5695" y="21207"/>
                    <a:pt x="5695" y="21207"/>
                  </a:cubicBezTo>
                  <a:cubicBezTo>
                    <a:pt x="5695" y="10211"/>
                    <a:pt x="5695" y="10211"/>
                    <a:pt x="5695" y="10211"/>
                  </a:cubicBezTo>
                  <a:cubicBezTo>
                    <a:pt x="5755" y="9033"/>
                    <a:pt x="5835" y="7855"/>
                    <a:pt x="5915" y="7855"/>
                  </a:cubicBezTo>
                  <a:cubicBezTo>
                    <a:pt x="5994" y="7855"/>
                    <a:pt x="6054" y="8247"/>
                    <a:pt x="6054" y="10211"/>
                  </a:cubicBezTo>
                  <a:cubicBezTo>
                    <a:pt x="6054" y="21207"/>
                    <a:pt x="6054" y="21207"/>
                    <a:pt x="6054" y="21207"/>
                  </a:cubicBezTo>
                  <a:cubicBezTo>
                    <a:pt x="6154" y="21207"/>
                    <a:pt x="6154" y="21207"/>
                    <a:pt x="6154" y="21207"/>
                  </a:cubicBezTo>
                  <a:cubicBezTo>
                    <a:pt x="6154" y="10211"/>
                    <a:pt x="6154" y="10211"/>
                    <a:pt x="6154" y="10211"/>
                  </a:cubicBezTo>
                  <a:cubicBezTo>
                    <a:pt x="6154" y="7069"/>
                    <a:pt x="6054" y="5891"/>
                    <a:pt x="5935" y="5891"/>
                  </a:cubicBezTo>
                  <a:moveTo>
                    <a:pt x="5115" y="5891"/>
                  </a:moveTo>
                  <a:cubicBezTo>
                    <a:pt x="5015" y="5891"/>
                    <a:pt x="4935" y="7069"/>
                    <a:pt x="4875" y="8247"/>
                  </a:cubicBezTo>
                  <a:cubicBezTo>
                    <a:pt x="4875" y="8247"/>
                    <a:pt x="4875" y="8247"/>
                    <a:pt x="4875" y="8247"/>
                  </a:cubicBezTo>
                  <a:cubicBezTo>
                    <a:pt x="4875" y="6284"/>
                    <a:pt x="4875" y="6284"/>
                    <a:pt x="4875" y="6284"/>
                  </a:cubicBezTo>
                  <a:cubicBezTo>
                    <a:pt x="4776" y="6284"/>
                    <a:pt x="4776" y="6284"/>
                    <a:pt x="4776" y="6284"/>
                  </a:cubicBezTo>
                  <a:cubicBezTo>
                    <a:pt x="4776" y="21207"/>
                    <a:pt x="4776" y="21207"/>
                    <a:pt x="4776" y="21207"/>
                  </a:cubicBezTo>
                  <a:cubicBezTo>
                    <a:pt x="4875" y="21207"/>
                    <a:pt x="4875" y="21207"/>
                    <a:pt x="4875" y="21207"/>
                  </a:cubicBezTo>
                  <a:cubicBezTo>
                    <a:pt x="4875" y="10211"/>
                    <a:pt x="4875" y="10211"/>
                    <a:pt x="4875" y="10211"/>
                  </a:cubicBezTo>
                  <a:cubicBezTo>
                    <a:pt x="4915" y="9033"/>
                    <a:pt x="5015" y="7855"/>
                    <a:pt x="5095" y="7855"/>
                  </a:cubicBezTo>
                  <a:cubicBezTo>
                    <a:pt x="5175" y="7855"/>
                    <a:pt x="5215" y="8247"/>
                    <a:pt x="5215" y="10211"/>
                  </a:cubicBezTo>
                  <a:cubicBezTo>
                    <a:pt x="5215" y="21207"/>
                    <a:pt x="5215" y="21207"/>
                    <a:pt x="5215" y="21207"/>
                  </a:cubicBezTo>
                  <a:cubicBezTo>
                    <a:pt x="5335" y="21207"/>
                    <a:pt x="5335" y="21207"/>
                    <a:pt x="5335" y="21207"/>
                  </a:cubicBezTo>
                  <a:cubicBezTo>
                    <a:pt x="5335" y="10211"/>
                    <a:pt x="5335" y="10211"/>
                    <a:pt x="5335" y="10211"/>
                  </a:cubicBezTo>
                  <a:cubicBezTo>
                    <a:pt x="5335" y="7069"/>
                    <a:pt x="5215" y="5891"/>
                    <a:pt x="5115" y="5891"/>
                  </a:cubicBezTo>
                  <a:moveTo>
                    <a:pt x="4376" y="2749"/>
                  </a:moveTo>
                  <a:cubicBezTo>
                    <a:pt x="4476" y="2749"/>
                    <a:pt x="4476" y="2749"/>
                    <a:pt x="4476" y="2749"/>
                  </a:cubicBezTo>
                  <a:cubicBezTo>
                    <a:pt x="4476" y="0"/>
                    <a:pt x="4476" y="0"/>
                    <a:pt x="4476" y="0"/>
                  </a:cubicBezTo>
                  <a:cubicBezTo>
                    <a:pt x="4376" y="0"/>
                    <a:pt x="4376" y="0"/>
                    <a:pt x="4376" y="0"/>
                  </a:cubicBezTo>
                  <a:lnTo>
                    <a:pt x="4376" y="2749"/>
                  </a:lnTo>
                  <a:close/>
                  <a:moveTo>
                    <a:pt x="4376" y="21207"/>
                  </a:moveTo>
                  <a:cubicBezTo>
                    <a:pt x="4476" y="21207"/>
                    <a:pt x="4476" y="21207"/>
                    <a:pt x="4476" y="21207"/>
                  </a:cubicBezTo>
                  <a:cubicBezTo>
                    <a:pt x="4476" y="6284"/>
                    <a:pt x="4476" y="6284"/>
                    <a:pt x="4476" y="6284"/>
                  </a:cubicBezTo>
                  <a:cubicBezTo>
                    <a:pt x="4376" y="6284"/>
                    <a:pt x="4376" y="6284"/>
                    <a:pt x="4376" y="6284"/>
                  </a:cubicBezTo>
                  <a:lnTo>
                    <a:pt x="4376" y="21207"/>
                  </a:lnTo>
                  <a:close/>
                  <a:moveTo>
                    <a:pt x="3397" y="7855"/>
                  </a:moveTo>
                  <a:cubicBezTo>
                    <a:pt x="3517" y="7855"/>
                    <a:pt x="3577" y="9425"/>
                    <a:pt x="3577" y="12567"/>
                  </a:cubicBezTo>
                  <a:cubicBezTo>
                    <a:pt x="3197" y="12567"/>
                    <a:pt x="3197" y="12567"/>
                    <a:pt x="3197" y="12567"/>
                  </a:cubicBezTo>
                  <a:cubicBezTo>
                    <a:pt x="3197" y="9425"/>
                    <a:pt x="3277" y="7855"/>
                    <a:pt x="3397" y="7855"/>
                  </a:cubicBezTo>
                  <a:moveTo>
                    <a:pt x="3417" y="19636"/>
                  </a:moveTo>
                  <a:cubicBezTo>
                    <a:pt x="3297" y="19636"/>
                    <a:pt x="3197" y="17673"/>
                    <a:pt x="3197" y="14138"/>
                  </a:cubicBezTo>
                  <a:cubicBezTo>
                    <a:pt x="3697" y="14138"/>
                    <a:pt x="3697" y="14138"/>
                    <a:pt x="3697" y="14138"/>
                  </a:cubicBezTo>
                  <a:cubicBezTo>
                    <a:pt x="3697" y="12960"/>
                    <a:pt x="3697" y="12960"/>
                    <a:pt x="3697" y="12960"/>
                  </a:cubicBezTo>
                  <a:cubicBezTo>
                    <a:pt x="3697" y="7855"/>
                    <a:pt x="3557" y="5891"/>
                    <a:pt x="3397" y="5891"/>
                  </a:cubicBezTo>
                  <a:cubicBezTo>
                    <a:pt x="3217" y="5891"/>
                    <a:pt x="3077" y="9033"/>
                    <a:pt x="3077" y="13745"/>
                  </a:cubicBezTo>
                  <a:cubicBezTo>
                    <a:pt x="3077" y="19244"/>
                    <a:pt x="3257" y="21600"/>
                    <a:pt x="3417" y="21600"/>
                  </a:cubicBezTo>
                  <a:cubicBezTo>
                    <a:pt x="3597" y="21600"/>
                    <a:pt x="3657" y="19636"/>
                    <a:pt x="3717" y="18065"/>
                  </a:cubicBezTo>
                  <a:cubicBezTo>
                    <a:pt x="3637" y="17280"/>
                    <a:pt x="3637" y="17280"/>
                    <a:pt x="3637" y="17280"/>
                  </a:cubicBezTo>
                  <a:cubicBezTo>
                    <a:pt x="3597" y="18851"/>
                    <a:pt x="3517" y="19636"/>
                    <a:pt x="3417" y="19636"/>
                  </a:cubicBezTo>
                  <a:moveTo>
                    <a:pt x="2737" y="9033"/>
                  </a:moveTo>
                  <a:cubicBezTo>
                    <a:pt x="2737" y="9033"/>
                    <a:pt x="2737" y="9033"/>
                    <a:pt x="2737" y="9033"/>
                  </a:cubicBezTo>
                  <a:cubicBezTo>
                    <a:pt x="2737" y="6284"/>
                    <a:pt x="2737" y="6284"/>
                    <a:pt x="2737" y="6284"/>
                  </a:cubicBezTo>
                  <a:cubicBezTo>
                    <a:pt x="2638" y="6284"/>
                    <a:pt x="2638" y="6284"/>
                    <a:pt x="2638" y="6284"/>
                  </a:cubicBezTo>
                  <a:cubicBezTo>
                    <a:pt x="2638" y="21207"/>
                    <a:pt x="2638" y="21207"/>
                    <a:pt x="2638" y="21207"/>
                  </a:cubicBezTo>
                  <a:cubicBezTo>
                    <a:pt x="2737" y="21207"/>
                    <a:pt x="2737" y="21207"/>
                    <a:pt x="2737" y="21207"/>
                  </a:cubicBezTo>
                  <a:cubicBezTo>
                    <a:pt x="2737" y="12960"/>
                    <a:pt x="2737" y="12960"/>
                    <a:pt x="2737" y="12960"/>
                  </a:cubicBezTo>
                  <a:cubicBezTo>
                    <a:pt x="2797" y="9818"/>
                    <a:pt x="2857" y="8247"/>
                    <a:pt x="2997" y="8247"/>
                  </a:cubicBezTo>
                  <a:cubicBezTo>
                    <a:pt x="2997" y="5891"/>
                    <a:pt x="2997" y="5891"/>
                    <a:pt x="2997" y="5891"/>
                  </a:cubicBezTo>
                  <a:cubicBezTo>
                    <a:pt x="2857" y="5891"/>
                    <a:pt x="2797" y="7069"/>
                    <a:pt x="2737" y="9033"/>
                  </a:cubicBezTo>
                  <a:moveTo>
                    <a:pt x="2158" y="7855"/>
                  </a:moveTo>
                  <a:cubicBezTo>
                    <a:pt x="2278" y="7855"/>
                    <a:pt x="2338" y="9425"/>
                    <a:pt x="2338" y="12567"/>
                  </a:cubicBezTo>
                  <a:cubicBezTo>
                    <a:pt x="1958" y="12567"/>
                    <a:pt x="1958" y="12567"/>
                    <a:pt x="1958" y="12567"/>
                  </a:cubicBezTo>
                  <a:cubicBezTo>
                    <a:pt x="1958" y="9425"/>
                    <a:pt x="2038" y="7855"/>
                    <a:pt x="2158" y="7855"/>
                  </a:cubicBezTo>
                  <a:moveTo>
                    <a:pt x="2178" y="19636"/>
                  </a:moveTo>
                  <a:cubicBezTo>
                    <a:pt x="2058" y="19636"/>
                    <a:pt x="1958" y="17673"/>
                    <a:pt x="1958" y="14138"/>
                  </a:cubicBezTo>
                  <a:cubicBezTo>
                    <a:pt x="2458" y="14138"/>
                    <a:pt x="2458" y="14138"/>
                    <a:pt x="2458" y="14138"/>
                  </a:cubicBezTo>
                  <a:cubicBezTo>
                    <a:pt x="2458" y="12960"/>
                    <a:pt x="2458" y="12960"/>
                    <a:pt x="2458" y="12960"/>
                  </a:cubicBezTo>
                  <a:cubicBezTo>
                    <a:pt x="2458" y="7855"/>
                    <a:pt x="2318" y="5891"/>
                    <a:pt x="2158" y="5891"/>
                  </a:cubicBezTo>
                  <a:cubicBezTo>
                    <a:pt x="1978" y="5891"/>
                    <a:pt x="1838" y="9033"/>
                    <a:pt x="1838" y="13745"/>
                  </a:cubicBezTo>
                  <a:cubicBezTo>
                    <a:pt x="1838" y="19244"/>
                    <a:pt x="2018" y="21600"/>
                    <a:pt x="2178" y="21600"/>
                  </a:cubicBezTo>
                  <a:cubicBezTo>
                    <a:pt x="2358" y="21600"/>
                    <a:pt x="2418" y="19636"/>
                    <a:pt x="2478" y="18065"/>
                  </a:cubicBezTo>
                  <a:cubicBezTo>
                    <a:pt x="2398" y="17280"/>
                    <a:pt x="2398" y="17280"/>
                    <a:pt x="2398" y="17280"/>
                  </a:cubicBezTo>
                  <a:cubicBezTo>
                    <a:pt x="2358" y="18851"/>
                    <a:pt x="2278" y="19636"/>
                    <a:pt x="2178" y="19636"/>
                  </a:cubicBezTo>
                  <a:moveTo>
                    <a:pt x="1439" y="5891"/>
                  </a:moveTo>
                  <a:cubicBezTo>
                    <a:pt x="1339" y="5891"/>
                    <a:pt x="1259" y="7069"/>
                    <a:pt x="1199" y="8247"/>
                  </a:cubicBezTo>
                  <a:cubicBezTo>
                    <a:pt x="1199" y="8247"/>
                    <a:pt x="1199" y="8247"/>
                    <a:pt x="1199" y="8247"/>
                  </a:cubicBezTo>
                  <a:cubicBezTo>
                    <a:pt x="1199" y="393"/>
                    <a:pt x="1199" y="393"/>
                    <a:pt x="1199" y="393"/>
                  </a:cubicBezTo>
                  <a:cubicBezTo>
                    <a:pt x="1099" y="393"/>
                    <a:pt x="1099" y="393"/>
                    <a:pt x="1099" y="393"/>
                  </a:cubicBezTo>
                  <a:cubicBezTo>
                    <a:pt x="1099" y="21207"/>
                    <a:pt x="1099" y="21207"/>
                    <a:pt x="1099" y="21207"/>
                  </a:cubicBezTo>
                  <a:cubicBezTo>
                    <a:pt x="1199" y="21207"/>
                    <a:pt x="1199" y="21207"/>
                    <a:pt x="1199" y="21207"/>
                  </a:cubicBezTo>
                  <a:cubicBezTo>
                    <a:pt x="1199" y="10211"/>
                    <a:pt x="1199" y="10211"/>
                    <a:pt x="1199" y="10211"/>
                  </a:cubicBezTo>
                  <a:cubicBezTo>
                    <a:pt x="1239" y="9033"/>
                    <a:pt x="1339" y="7855"/>
                    <a:pt x="1419" y="7855"/>
                  </a:cubicBezTo>
                  <a:cubicBezTo>
                    <a:pt x="1499" y="7855"/>
                    <a:pt x="1539" y="8247"/>
                    <a:pt x="1539" y="10211"/>
                  </a:cubicBezTo>
                  <a:cubicBezTo>
                    <a:pt x="1539" y="21207"/>
                    <a:pt x="1539" y="21207"/>
                    <a:pt x="1539" y="21207"/>
                  </a:cubicBezTo>
                  <a:cubicBezTo>
                    <a:pt x="1658" y="21207"/>
                    <a:pt x="1658" y="21207"/>
                    <a:pt x="1658" y="21207"/>
                  </a:cubicBezTo>
                  <a:cubicBezTo>
                    <a:pt x="1658" y="10211"/>
                    <a:pt x="1658" y="10211"/>
                    <a:pt x="1658" y="10211"/>
                  </a:cubicBezTo>
                  <a:cubicBezTo>
                    <a:pt x="1658" y="7069"/>
                    <a:pt x="1539" y="5891"/>
                    <a:pt x="1439" y="5891"/>
                  </a:cubicBezTo>
                  <a:moveTo>
                    <a:pt x="679" y="18065"/>
                  </a:moveTo>
                  <a:cubicBezTo>
                    <a:pt x="679" y="18065"/>
                    <a:pt x="679" y="18065"/>
                    <a:pt x="679" y="18065"/>
                  </a:cubicBezTo>
                  <a:cubicBezTo>
                    <a:pt x="520" y="6284"/>
                    <a:pt x="520" y="6284"/>
                    <a:pt x="520" y="6284"/>
                  </a:cubicBezTo>
                  <a:cubicBezTo>
                    <a:pt x="420" y="6284"/>
                    <a:pt x="420" y="6284"/>
                    <a:pt x="420" y="6284"/>
                  </a:cubicBezTo>
                  <a:cubicBezTo>
                    <a:pt x="260" y="17673"/>
                    <a:pt x="260" y="17673"/>
                    <a:pt x="260" y="17673"/>
                  </a:cubicBezTo>
                  <a:cubicBezTo>
                    <a:pt x="260" y="17673"/>
                    <a:pt x="260" y="17673"/>
                    <a:pt x="260" y="17673"/>
                  </a:cubicBezTo>
                  <a:cubicBezTo>
                    <a:pt x="100" y="6284"/>
                    <a:pt x="100" y="6284"/>
                    <a:pt x="100" y="6284"/>
                  </a:cubicBezTo>
                  <a:cubicBezTo>
                    <a:pt x="0" y="6284"/>
                    <a:pt x="0" y="6284"/>
                    <a:pt x="0" y="6284"/>
                  </a:cubicBezTo>
                  <a:cubicBezTo>
                    <a:pt x="200" y="21207"/>
                    <a:pt x="200" y="21207"/>
                    <a:pt x="200" y="21207"/>
                  </a:cubicBezTo>
                  <a:cubicBezTo>
                    <a:pt x="320" y="21207"/>
                    <a:pt x="320" y="21207"/>
                    <a:pt x="320" y="21207"/>
                  </a:cubicBezTo>
                  <a:cubicBezTo>
                    <a:pt x="460" y="9818"/>
                    <a:pt x="460" y="9818"/>
                    <a:pt x="460" y="9818"/>
                  </a:cubicBezTo>
                  <a:cubicBezTo>
                    <a:pt x="460" y="9818"/>
                    <a:pt x="460" y="9818"/>
                    <a:pt x="460" y="9818"/>
                  </a:cubicBezTo>
                  <a:cubicBezTo>
                    <a:pt x="619" y="21207"/>
                    <a:pt x="619" y="21207"/>
                    <a:pt x="619" y="21207"/>
                  </a:cubicBezTo>
                  <a:cubicBezTo>
                    <a:pt x="719" y="21207"/>
                    <a:pt x="719" y="21207"/>
                    <a:pt x="719" y="21207"/>
                  </a:cubicBezTo>
                  <a:cubicBezTo>
                    <a:pt x="939" y="6284"/>
                    <a:pt x="939" y="6284"/>
                    <a:pt x="939" y="6284"/>
                  </a:cubicBezTo>
                  <a:cubicBezTo>
                    <a:pt x="819" y="6284"/>
                    <a:pt x="819" y="6284"/>
                    <a:pt x="819" y="6284"/>
                  </a:cubicBezTo>
                  <a:lnTo>
                    <a:pt x="679" y="18065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  <p:sp>
          <p:nvSpPr>
            <p:cNvPr id="440" name="Freeform 7"/>
            <p:cNvSpPr/>
            <p:nvPr/>
          </p:nvSpPr>
          <p:spPr>
            <a:xfrm>
              <a:off x="-1" y="82549"/>
              <a:ext cx="363539" cy="3032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095" y="5445"/>
                  </a:moveTo>
                  <a:cubicBezTo>
                    <a:pt x="20020" y="5445"/>
                    <a:pt x="20020" y="5445"/>
                    <a:pt x="20020" y="5445"/>
                  </a:cubicBezTo>
                  <a:cubicBezTo>
                    <a:pt x="19192" y="5445"/>
                    <a:pt x="18514" y="6353"/>
                    <a:pt x="18514" y="7351"/>
                  </a:cubicBezTo>
                  <a:cubicBezTo>
                    <a:pt x="18514" y="13160"/>
                    <a:pt x="14601" y="17879"/>
                    <a:pt x="9784" y="17879"/>
                  </a:cubicBezTo>
                  <a:cubicBezTo>
                    <a:pt x="6096" y="17879"/>
                    <a:pt x="3086" y="14249"/>
                    <a:pt x="3086" y="9802"/>
                  </a:cubicBezTo>
                  <a:cubicBezTo>
                    <a:pt x="3086" y="6444"/>
                    <a:pt x="5344" y="3721"/>
                    <a:pt x="8128" y="3721"/>
                  </a:cubicBezTo>
                  <a:cubicBezTo>
                    <a:pt x="10236" y="3721"/>
                    <a:pt x="11891" y="5718"/>
                    <a:pt x="11891" y="8168"/>
                  </a:cubicBezTo>
                  <a:cubicBezTo>
                    <a:pt x="11891" y="8440"/>
                    <a:pt x="11816" y="8531"/>
                    <a:pt x="11816" y="8622"/>
                  </a:cubicBezTo>
                  <a:cubicBezTo>
                    <a:pt x="11666" y="8713"/>
                    <a:pt x="11214" y="8713"/>
                    <a:pt x="10762" y="8713"/>
                  </a:cubicBezTo>
                  <a:cubicBezTo>
                    <a:pt x="10537" y="8713"/>
                    <a:pt x="10311" y="8713"/>
                    <a:pt x="10085" y="8713"/>
                  </a:cubicBezTo>
                  <a:cubicBezTo>
                    <a:pt x="9784" y="8713"/>
                    <a:pt x="9483" y="8713"/>
                    <a:pt x="9182" y="8713"/>
                  </a:cubicBezTo>
                  <a:cubicBezTo>
                    <a:pt x="8354" y="8713"/>
                    <a:pt x="7677" y="9529"/>
                    <a:pt x="7677" y="10528"/>
                  </a:cubicBezTo>
                  <a:cubicBezTo>
                    <a:pt x="7677" y="10528"/>
                    <a:pt x="7677" y="10528"/>
                    <a:pt x="7677" y="10528"/>
                  </a:cubicBezTo>
                  <a:cubicBezTo>
                    <a:pt x="7677" y="11526"/>
                    <a:pt x="8354" y="12434"/>
                    <a:pt x="9182" y="12434"/>
                  </a:cubicBezTo>
                  <a:cubicBezTo>
                    <a:pt x="9483" y="12434"/>
                    <a:pt x="9784" y="12434"/>
                    <a:pt x="10010" y="12434"/>
                  </a:cubicBezTo>
                  <a:cubicBezTo>
                    <a:pt x="10311" y="12434"/>
                    <a:pt x="10537" y="12434"/>
                    <a:pt x="10838" y="12434"/>
                  </a:cubicBezTo>
                  <a:cubicBezTo>
                    <a:pt x="12042" y="12434"/>
                    <a:pt x="13171" y="12252"/>
                    <a:pt x="13999" y="11254"/>
                  </a:cubicBezTo>
                  <a:cubicBezTo>
                    <a:pt x="14601" y="10528"/>
                    <a:pt x="14977" y="9529"/>
                    <a:pt x="14977" y="8168"/>
                  </a:cubicBezTo>
                  <a:cubicBezTo>
                    <a:pt x="14977" y="3721"/>
                    <a:pt x="11891" y="0"/>
                    <a:pt x="8128" y="0"/>
                  </a:cubicBezTo>
                  <a:cubicBezTo>
                    <a:pt x="3688" y="0"/>
                    <a:pt x="0" y="4447"/>
                    <a:pt x="0" y="9802"/>
                  </a:cubicBezTo>
                  <a:cubicBezTo>
                    <a:pt x="0" y="16245"/>
                    <a:pt x="4440" y="21600"/>
                    <a:pt x="9784" y="21600"/>
                  </a:cubicBezTo>
                  <a:cubicBezTo>
                    <a:pt x="16256" y="21600"/>
                    <a:pt x="21600" y="15156"/>
                    <a:pt x="21600" y="7351"/>
                  </a:cubicBezTo>
                  <a:cubicBezTo>
                    <a:pt x="21600" y="6353"/>
                    <a:pt x="20923" y="5445"/>
                    <a:pt x="20095" y="5445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  <p:sp>
          <p:nvSpPr>
            <p:cNvPr id="441" name="Freeform 8"/>
            <p:cNvSpPr/>
            <p:nvPr/>
          </p:nvSpPr>
          <p:spPr>
            <a:xfrm>
              <a:off x="295275" y="-1"/>
              <a:ext cx="85726" cy="873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5247"/>
                  </a:moveTo>
                  <a:cubicBezTo>
                    <a:pt x="8259" y="15247"/>
                    <a:pt x="6353" y="13341"/>
                    <a:pt x="6353" y="10800"/>
                  </a:cubicBezTo>
                  <a:cubicBezTo>
                    <a:pt x="6353" y="8576"/>
                    <a:pt x="8259" y="6671"/>
                    <a:pt x="10800" y="6671"/>
                  </a:cubicBezTo>
                  <a:cubicBezTo>
                    <a:pt x="13024" y="6671"/>
                    <a:pt x="14929" y="8576"/>
                    <a:pt x="14929" y="10800"/>
                  </a:cubicBezTo>
                  <a:cubicBezTo>
                    <a:pt x="14929" y="13341"/>
                    <a:pt x="13024" y="15247"/>
                    <a:pt x="10800" y="15247"/>
                  </a:cubicBezTo>
                  <a:moveTo>
                    <a:pt x="10800" y="0"/>
                  </a:moveTo>
                  <a:cubicBezTo>
                    <a:pt x="10800" y="0"/>
                    <a:pt x="10800" y="0"/>
                    <a:pt x="10800" y="0"/>
                  </a:cubicBezTo>
                  <a:cubicBezTo>
                    <a:pt x="4765" y="0"/>
                    <a:pt x="0" y="4765"/>
                    <a:pt x="0" y="10800"/>
                  </a:cubicBezTo>
                  <a:cubicBezTo>
                    <a:pt x="0" y="16835"/>
                    <a:pt x="4765" y="21600"/>
                    <a:pt x="10800" y="21600"/>
                  </a:cubicBezTo>
                  <a:cubicBezTo>
                    <a:pt x="16835" y="21600"/>
                    <a:pt x="21600" y="16835"/>
                    <a:pt x="21600" y="10800"/>
                  </a:cubicBezTo>
                  <a:cubicBezTo>
                    <a:pt x="21600" y="4765"/>
                    <a:pt x="16835" y="0"/>
                    <a:pt x="10800" y="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</p:grpSp>
      <p:sp>
        <p:nvSpPr>
          <p:cNvPr id="443" name="Title Text"/>
          <p:cNvSpPr txBox="1">
            <a:spLocks noGrp="1"/>
          </p:cNvSpPr>
          <p:nvPr>
            <p:ph type="title"/>
          </p:nvPr>
        </p:nvSpPr>
        <p:spPr>
          <a:xfrm>
            <a:off x="1775521" y="764707"/>
            <a:ext cx="9313035" cy="605484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rgbClr val="FFCA05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itle Text</a:t>
            </a:r>
          </a:p>
        </p:txBody>
      </p:sp>
      <p:sp>
        <p:nvSpPr>
          <p:cNvPr id="444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1775521" y="1370112"/>
            <a:ext cx="9313035" cy="1944292"/>
          </a:xfrm>
          <a:prstGeom prst="rect">
            <a:avLst/>
          </a:prstGeom>
        </p:spPr>
        <p:txBody>
          <a:bodyPr/>
          <a:lstStyle>
            <a:lvl1pPr>
              <a:buClr>
                <a:srgbClr val="FFCA05"/>
              </a:buClr>
              <a:defRPr sz="1800">
                <a:latin typeface="Arial"/>
                <a:ea typeface="Arial"/>
                <a:cs typeface="Arial"/>
                <a:sym typeface="Arial"/>
              </a:defRPr>
            </a:lvl1pPr>
            <a:lvl2pPr marL="628650" indent="-171450">
              <a:buClr>
                <a:srgbClr val="FFCA05"/>
              </a:buClr>
              <a:defRPr sz="1800">
                <a:latin typeface="Arial"/>
                <a:ea typeface="Arial"/>
                <a:cs typeface="Arial"/>
                <a:sym typeface="Arial"/>
              </a:defRPr>
            </a:lvl2pPr>
            <a:lvl3pPr marL="1120139" indent="-205739">
              <a:buClr>
                <a:srgbClr val="FFCA05"/>
              </a:buClr>
              <a:defRPr sz="1800">
                <a:latin typeface="Arial"/>
                <a:ea typeface="Arial"/>
                <a:cs typeface="Arial"/>
                <a:sym typeface="Arial"/>
              </a:defRPr>
            </a:lvl3pPr>
            <a:lvl4pPr marL="1600200" indent="-228600">
              <a:buClr>
                <a:srgbClr val="FFCA05"/>
              </a:buClr>
              <a:defRPr sz="1800">
                <a:latin typeface="Arial"/>
                <a:ea typeface="Arial"/>
                <a:cs typeface="Arial"/>
                <a:sym typeface="Arial"/>
              </a:defRPr>
            </a:lvl4pPr>
            <a:lvl5pPr marL="2057400" indent="-228600">
              <a:buClr>
                <a:srgbClr val="FFCA05"/>
              </a:buClr>
              <a:defRPr sz="1800">
                <a:latin typeface="Arial"/>
                <a:ea typeface="Arial"/>
                <a:cs typeface="Arial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4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Custom Layout">
    <p:bg>
      <p:bgPr>
        <a:gradFill flip="none" rotWithShape="1">
          <a:gsLst>
            <a:gs pos="50000">
              <a:srgbClr val="E5E5E2"/>
            </a:gs>
            <a:gs pos="100000">
              <a:srgbClr val="CECEC7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2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rcRect b="9396"/>
          <a:stretch>
            <a:fillRect/>
          </a:stretch>
        </p:blipFill>
        <p:spPr>
          <a:xfrm>
            <a:off x="0" y="-1"/>
            <a:ext cx="12192000" cy="6858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453" name="Picture 6" descr="Picture 6"/>
          <p:cNvPicPr>
            <a:picLocks noChangeAspect="1"/>
          </p:cNvPicPr>
          <p:nvPr/>
        </p:nvPicPr>
        <p:blipFill>
          <a:blip r:embed="rId3">
            <a:extLst/>
          </a:blip>
          <a:srcRect b="87606"/>
          <a:stretch>
            <a:fillRect/>
          </a:stretch>
        </p:blipFill>
        <p:spPr>
          <a:xfrm>
            <a:off x="0" y="-1"/>
            <a:ext cx="12192000" cy="931818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458" name="Group 4"/>
          <p:cNvGrpSpPr/>
          <p:nvPr/>
        </p:nvGrpSpPr>
        <p:grpSpPr>
          <a:xfrm>
            <a:off x="10056814" y="238125"/>
            <a:ext cx="1858965" cy="496888"/>
            <a:chOff x="0" y="0"/>
            <a:chExt cx="1858963" cy="496887"/>
          </a:xfrm>
        </p:grpSpPr>
        <p:sp>
          <p:nvSpPr>
            <p:cNvPr id="454" name="Freeform 5"/>
            <p:cNvSpPr/>
            <p:nvPr/>
          </p:nvSpPr>
          <p:spPr>
            <a:xfrm>
              <a:off x="465137" y="-1"/>
              <a:ext cx="1393827" cy="369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53" y="16982"/>
                  </a:moveTo>
                  <a:cubicBezTo>
                    <a:pt x="14753" y="18621"/>
                    <a:pt x="14439" y="19738"/>
                    <a:pt x="14008" y="19738"/>
                  </a:cubicBezTo>
                  <a:cubicBezTo>
                    <a:pt x="13596" y="19738"/>
                    <a:pt x="13596" y="19738"/>
                    <a:pt x="13596" y="19738"/>
                  </a:cubicBezTo>
                  <a:cubicBezTo>
                    <a:pt x="13596" y="14152"/>
                    <a:pt x="13596" y="14152"/>
                    <a:pt x="13596" y="14152"/>
                  </a:cubicBezTo>
                  <a:cubicBezTo>
                    <a:pt x="14008" y="14152"/>
                    <a:pt x="14008" y="14152"/>
                    <a:pt x="14008" y="14152"/>
                  </a:cubicBezTo>
                  <a:cubicBezTo>
                    <a:pt x="14439" y="14152"/>
                    <a:pt x="14753" y="15269"/>
                    <a:pt x="14753" y="16908"/>
                  </a:cubicBezTo>
                  <a:lnTo>
                    <a:pt x="14753" y="16982"/>
                  </a:lnTo>
                  <a:close/>
                  <a:moveTo>
                    <a:pt x="14008" y="12290"/>
                  </a:moveTo>
                  <a:cubicBezTo>
                    <a:pt x="13046" y="12290"/>
                    <a:pt x="13046" y="12290"/>
                    <a:pt x="13046" y="12290"/>
                  </a:cubicBezTo>
                  <a:cubicBezTo>
                    <a:pt x="13046" y="21600"/>
                    <a:pt x="13046" y="21600"/>
                    <a:pt x="13046" y="21600"/>
                  </a:cubicBezTo>
                  <a:cubicBezTo>
                    <a:pt x="14008" y="21600"/>
                    <a:pt x="14008" y="21600"/>
                    <a:pt x="14008" y="21600"/>
                  </a:cubicBezTo>
                  <a:cubicBezTo>
                    <a:pt x="14773" y="21600"/>
                    <a:pt x="15302" y="19589"/>
                    <a:pt x="15302" y="16908"/>
                  </a:cubicBezTo>
                  <a:cubicBezTo>
                    <a:pt x="15302" y="16908"/>
                    <a:pt x="15302" y="16908"/>
                    <a:pt x="15302" y="16908"/>
                  </a:cubicBezTo>
                  <a:cubicBezTo>
                    <a:pt x="15302" y="14301"/>
                    <a:pt x="14773" y="12290"/>
                    <a:pt x="14008" y="12290"/>
                  </a:cubicBezTo>
                  <a:moveTo>
                    <a:pt x="12105" y="18025"/>
                  </a:moveTo>
                  <a:cubicBezTo>
                    <a:pt x="10967" y="12290"/>
                    <a:pt x="10967" y="12290"/>
                    <a:pt x="10967" y="12290"/>
                  </a:cubicBezTo>
                  <a:cubicBezTo>
                    <a:pt x="10476" y="12290"/>
                    <a:pt x="10476" y="12290"/>
                    <a:pt x="10476" y="12290"/>
                  </a:cubicBezTo>
                  <a:cubicBezTo>
                    <a:pt x="10476" y="21600"/>
                    <a:pt x="10476" y="21600"/>
                    <a:pt x="10476" y="21600"/>
                  </a:cubicBezTo>
                  <a:cubicBezTo>
                    <a:pt x="11006" y="21600"/>
                    <a:pt x="11006" y="21600"/>
                    <a:pt x="11006" y="21600"/>
                  </a:cubicBezTo>
                  <a:cubicBezTo>
                    <a:pt x="11006" y="15716"/>
                    <a:pt x="11006" y="15716"/>
                    <a:pt x="11006" y="15716"/>
                  </a:cubicBezTo>
                  <a:cubicBezTo>
                    <a:pt x="12183" y="21600"/>
                    <a:pt x="12183" y="21600"/>
                    <a:pt x="12183" y="21600"/>
                  </a:cubicBezTo>
                  <a:cubicBezTo>
                    <a:pt x="12634" y="21600"/>
                    <a:pt x="12634" y="21600"/>
                    <a:pt x="12634" y="21600"/>
                  </a:cubicBezTo>
                  <a:cubicBezTo>
                    <a:pt x="12634" y="12290"/>
                    <a:pt x="12634" y="12290"/>
                    <a:pt x="12634" y="12290"/>
                  </a:cubicBezTo>
                  <a:cubicBezTo>
                    <a:pt x="12105" y="12290"/>
                    <a:pt x="12105" y="12290"/>
                    <a:pt x="12105" y="12290"/>
                  </a:cubicBezTo>
                  <a:lnTo>
                    <a:pt x="12105" y="18025"/>
                  </a:lnTo>
                  <a:close/>
                  <a:moveTo>
                    <a:pt x="8573" y="17727"/>
                  </a:moveTo>
                  <a:cubicBezTo>
                    <a:pt x="8907" y="14673"/>
                    <a:pt x="8907" y="14673"/>
                    <a:pt x="8907" y="14673"/>
                  </a:cubicBezTo>
                  <a:cubicBezTo>
                    <a:pt x="9221" y="17727"/>
                    <a:pt x="9221" y="17727"/>
                    <a:pt x="9221" y="17727"/>
                  </a:cubicBezTo>
                  <a:lnTo>
                    <a:pt x="8573" y="17727"/>
                  </a:lnTo>
                  <a:close/>
                  <a:moveTo>
                    <a:pt x="8671" y="12215"/>
                  </a:moveTo>
                  <a:cubicBezTo>
                    <a:pt x="7612" y="21600"/>
                    <a:pt x="7612" y="21600"/>
                    <a:pt x="7612" y="21600"/>
                  </a:cubicBezTo>
                  <a:cubicBezTo>
                    <a:pt x="8161" y="21600"/>
                    <a:pt x="8161" y="21600"/>
                    <a:pt x="8161" y="21600"/>
                  </a:cubicBezTo>
                  <a:cubicBezTo>
                    <a:pt x="8397" y="19514"/>
                    <a:pt x="8397" y="19514"/>
                    <a:pt x="8397" y="19514"/>
                  </a:cubicBezTo>
                  <a:cubicBezTo>
                    <a:pt x="9417" y="19514"/>
                    <a:pt x="9417" y="19514"/>
                    <a:pt x="9417" y="19514"/>
                  </a:cubicBezTo>
                  <a:cubicBezTo>
                    <a:pt x="9652" y="21600"/>
                    <a:pt x="9652" y="21600"/>
                    <a:pt x="9652" y="21600"/>
                  </a:cubicBezTo>
                  <a:cubicBezTo>
                    <a:pt x="10202" y="21600"/>
                    <a:pt x="10202" y="21600"/>
                    <a:pt x="10202" y="21600"/>
                  </a:cubicBezTo>
                  <a:cubicBezTo>
                    <a:pt x="9162" y="12215"/>
                    <a:pt x="9162" y="12215"/>
                    <a:pt x="9162" y="12215"/>
                  </a:cubicBezTo>
                  <a:lnTo>
                    <a:pt x="8671" y="12215"/>
                  </a:lnTo>
                  <a:close/>
                  <a:moveTo>
                    <a:pt x="6180" y="12290"/>
                  </a:moveTo>
                  <a:cubicBezTo>
                    <a:pt x="5650" y="12290"/>
                    <a:pt x="5650" y="12290"/>
                    <a:pt x="5650" y="12290"/>
                  </a:cubicBezTo>
                  <a:cubicBezTo>
                    <a:pt x="5650" y="21600"/>
                    <a:pt x="5650" y="21600"/>
                    <a:pt x="5650" y="21600"/>
                  </a:cubicBezTo>
                  <a:cubicBezTo>
                    <a:pt x="7396" y="21600"/>
                    <a:pt x="7396" y="21600"/>
                    <a:pt x="7396" y="21600"/>
                  </a:cubicBezTo>
                  <a:cubicBezTo>
                    <a:pt x="7396" y="19738"/>
                    <a:pt x="7396" y="19738"/>
                    <a:pt x="7396" y="19738"/>
                  </a:cubicBezTo>
                  <a:cubicBezTo>
                    <a:pt x="6180" y="19738"/>
                    <a:pt x="6180" y="19738"/>
                    <a:pt x="6180" y="19738"/>
                  </a:cubicBezTo>
                  <a:lnTo>
                    <a:pt x="6180" y="12290"/>
                  </a:lnTo>
                  <a:close/>
                  <a:moveTo>
                    <a:pt x="3943" y="17801"/>
                  </a:moveTo>
                  <a:cubicBezTo>
                    <a:pt x="5081" y="17801"/>
                    <a:pt x="5081" y="17801"/>
                    <a:pt x="5081" y="17801"/>
                  </a:cubicBezTo>
                  <a:cubicBezTo>
                    <a:pt x="5081" y="16014"/>
                    <a:pt x="5081" y="16014"/>
                    <a:pt x="5081" y="16014"/>
                  </a:cubicBezTo>
                  <a:cubicBezTo>
                    <a:pt x="3943" y="16014"/>
                    <a:pt x="3943" y="16014"/>
                    <a:pt x="3943" y="16014"/>
                  </a:cubicBezTo>
                  <a:cubicBezTo>
                    <a:pt x="3943" y="14152"/>
                    <a:pt x="3943" y="14152"/>
                    <a:pt x="3943" y="14152"/>
                  </a:cubicBezTo>
                  <a:cubicBezTo>
                    <a:pt x="5238" y="14152"/>
                    <a:pt x="5238" y="14152"/>
                    <a:pt x="5238" y="14152"/>
                  </a:cubicBezTo>
                  <a:cubicBezTo>
                    <a:pt x="5238" y="12290"/>
                    <a:pt x="5238" y="12290"/>
                    <a:pt x="5238" y="12290"/>
                  </a:cubicBezTo>
                  <a:cubicBezTo>
                    <a:pt x="3394" y="12290"/>
                    <a:pt x="3394" y="12290"/>
                    <a:pt x="3394" y="12290"/>
                  </a:cubicBezTo>
                  <a:cubicBezTo>
                    <a:pt x="3394" y="21600"/>
                    <a:pt x="3394" y="21600"/>
                    <a:pt x="3394" y="21600"/>
                  </a:cubicBezTo>
                  <a:cubicBezTo>
                    <a:pt x="5258" y="21600"/>
                    <a:pt x="5258" y="21600"/>
                    <a:pt x="5258" y="21600"/>
                  </a:cubicBezTo>
                  <a:cubicBezTo>
                    <a:pt x="5258" y="19738"/>
                    <a:pt x="5258" y="19738"/>
                    <a:pt x="5258" y="19738"/>
                  </a:cubicBezTo>
                  <a:cubicBezTo>
                    <a:pt x="3943" y="19738"/>
                    <a:pt x="3943" y="19738"/>
                    <a:pt x="3943" y="19738"/>
                  </a:cubicBezTo>
                  <a:lnTo>
                    <a:pt x="3943" y="17801"/>
                  </a:lnTo>
                  <a:close/>
                  <a:moveTo>
                    <a:pt x="2472" y="15492"/>
                  </a:moveTo>
                  <a:cubicBezTo>
                    <a:pt x="2472" y="16312"/>
                    <a:pt x="2315" y="16833"/>
                    <a:pt x="2060" y="16833"/>
                  </a:cubicBezTo>
                  <a:cubicBezTo>
                    <a:pt x="1511" y="16833"/>
                    <a:pt x="1511" y="16833"/>
                    <a:pt x="1511" y="16833"/>
                  </a:cubicBezTo>
                  <a:cubicBezTo>
                    <a:pt x="1511" y="14152"/>
                    <a:pt x="1511" y="14152"/>
                    <a:pt x="1511" y="14152"/>
                  </a:cubicBezTo>
                  <a:cubicBezTo>
                    <a:pt x="2040" y="14152"/>
                    <a:pt x="2040" y="14152"/>
                    <a:pt x="2040" y="14152"/>
                  </a:cubicBezTo>
                  <a:cubicBezTo>
                    <a:pt x="2295" y="14152"/>
                    <a:pt x="2472" y="14599"/>
                    <a:pt x="2472" y="15492"/>
                  </a:cubicBezTo>
                  <a:close/>
                  <a:moveTo>
                    <a:pt x="3002" y="15418"/>
                  </a:moveTo>
                  <a:cubicBezTo>
                    <a:pt x="3002" y="15343"/>
                    <a:pt x="3002" y="15343"/>
                    <a:pt x="3002" y="15343"/>
                  </a:cubicBezTo>
                  <a:cubicBezTo>
                    <a:pt x="3002" y="14524"/>
                    <a:pt x="2943" y="13779"/>
                    <a:pt x="2805" y="13258"/>
                  </a:cubicBezTo>
                  <a:cubicBezTo>
                    <a:pt x="2629" y="12662"/>
                    <a:pt x="2393" y="12290"/>
                    <a:pt x="2080" y="12290"/>
                  </a:cubicBezTo>
                  <a:cubicBezTo>
                    <a:pt x="961" y="12290"/>
                    <a:pt x="961" y="12290"/>
                    <a:pt x="961" y="12290"/>
                  </a:cubicBezTo>
                  <a:cubicBezTo>
                    <a:pt x="961" y="21600"/>
                    <a:pt x="961" y="21600"/>
                    <a:pt x="961" y="21600"/>
                  </a:cubicBezTo>
                  <a:cubicBezTo>
                    <a:pt x="1511" y="21600"/>
                    <a:pt x="1511" y="21600"/>
                    <a:pt x="1511" y="21600"/>
                  </a:cubicBezTo>
                  <a:cubicBezTo>
                    <a:pt x="1511" y="18621"/>
                    <a:pt x="1511" y="18621"/>
                    <a:pt x="1511" y="18621"/>
                  </a:cubicBezTo>
                  <a:cubicBezTo>
                    <a:pt x="1923" y="18621"/>
                    <a:pt x="1923" y="18621"/>
                    <a:pt x="1923" y="18621"/>
                  </a:cubicBezTo>
                  <a:cubicBezTo>
                    <a:pt x="2452" y="21600"/>
                    <a:pt x="2452" y="21600"/>
                    <a:pt x="2452" y="21600"/>
                  </a:cubicBezTo>
                  <a:cubicBezTo>
                    <a:pt x="3080" y="21600"/>
                    <a:pt x="3080" y="21600"/>
                    <a:pt x="3080" y="21600"/>
                  </a:cubicBezTo>
                  <a:cubicBezTo>
                    <a:pt x="2492" y="18248"/>
                    <a:pt x="2492" y="18248"/>
                    <a:pt x="2492" y="18248"/>
                  </a:cubicBezTo>
                  <a:cubicBezTo>
                    <a:pt x="2786" y="17801"/>
                    <a:pt x="3002" y="16908"/>
                    <a:pt x="3002" y="15418"/>
                  </a:cubicBezTo>
                  <a:moveTo>
                    <a:pt x="20" y="21600"/>
                  </a:moveTo>
                  <a:cubicBezTo>
                    <a:pt x="549" y="21600"/>
                    <a:pt x="549" y="21600"/>
                    <a:pt x="549" y="21600"/>
                  </a:cubicBezTo>
                  <a:cubicBezTo>
                    <a:pt x="549" y="12290"/>
                    <a:pt x="549" y="12290"/>
                    <a:pt x="549" y="12290"/>
                  </a:cubicBezTo>
                  <a:cubicBezTo>
                    <a:pt x="20" y="12290"/>
                    <a:pt x="20" y="12290"/>
                    <a:pt x="20" y="12290"/>
                  </a:cubicBezTo>
                  <a:lnTo>
                    <a:pt x="20" y="21600"/>
                  </a:lnTo>
                  <a:close/>
                  <a:moveTo>
                    <a:pt x="20266" y="7597"/>
                  </a:moveTo>
                  <a:cubicBezTo>
                    <a:pt x="20266" y="5661"/>
                    <a:pt x="20266" y="5661"/>
                    <a:pt x="20266" y="5661"/>
                  </a:cubicBezTo>
                  <a:cubicBezTo>
                    <a:pt x="21423" y="5661"/>
                    <a:pt x="21423" y="5661"/>
                    <a:pt x="21423" y="5661"/>
                  </a:cubicBezTo>
                  <a:cubicBezTo>
                    <a:pt x="21423" y="3873"/>
                    <a:pt x="21423" y="3873"/>
                    <a:pt x="21423" y="3873"/>
                  </a:cubicBezTo>
                  <a:cubicBezTo>
                    <a:pt x="20266" y="3873"/>
                    <a:pt x="20266" y="3873"/>
                    <a:pt x="20266" y="3873"/>
                  </a:cubicBezTo>
                  <a:cubicBezTo>
                    <a:pt x="20266" y="1937"/>
                    <a:pt x="20266" y="1937"/>
                    <a:pt x="20266" y="1937"/>
                  </a:cubicBezTo>
                  <a:cubicBezTo>
                    <a:pt x="21580" y="1937"/>
                    <a:pt x="21580" y="1937"/>
                    <a:pt x="21580" y="1937"/>
                  </a:cubicBezTo>
                  <a:cubicBezTo>
                    <a:pt x="21580" y="149"/>
                    <a:pt x="21580" y="149"/>
                    <a:pt x="21580" y="149"/>
                  </a:cubicBezTo>
                  <a:cubicBezTo>
                    <a:pt x="19736" y="149"/>
                    <a:pt x="19736" y="149"/>
                    <a:pt x="19736" y="149"/>
                  </a:cubicBezTo>
                  <a:cubicBezTo>
                    <a:pt x="19736" y="9385"/>
                    <a:pt x="19736" y="9385"/>
                    <a:pt x="19736" y="9385"/>
                  </a:cubicBezTo>
                  <a:cubicBezTo>
                    <a:pt x="21600" y="9385"/>
                    <a:pt x="21600" y="9385"/>
                    <a:pt x="21600" y="9385"/>
                  </a:cubicBezTo>
                  <a:cubicBezTo>
                    <a:pt x="21600" y="7597"/>
                    <a:pt x="21600" y="7597"/>
                    <a:pt x="21600" y="7597"/>
                  </a:cubicBezTo>
                  <a:lnTo>
                    <a:pt x="20266" y="7597"/>
                  </a:lnTo>
                  <a:close/>
                  <a:moveTo>
                    <a:pt x="18598" y="3873"/>
                  </a:moveTo>
                  <a:cubicBezTo>
                    <a:pt x="18186" y="3426"/>
                    <a:pt x="18069" y="3277"/>
                    <a:pt x="18069" y="2607"/>
                  </a:cubicBezTo>
                  <a:cubicBezTo>
                    <a:pt x="18069" y="2607"/>
                    <a:pt x="18069" y="2607"/>
                    <a:pt x="18069" y="2607"/>
                  </a:cubicBezTo>
                  <a:cubicBezTo>
                    <a:pt x="18069" y="2160"/>
                    <a:pt x="18186" y="1788"/>
                    <a:pt x="18383" y="1788"/>
                  </a:cubicBezTo>
                  <a:cubicBezTo>
                    <a:pt x="18598" y="1788"/>
                    <a:pt x="18814" y="2160"/>
                    <a:pt x="19030" y="2756"/>
                  </a:cubicBezTo>
                  <a:cubicBezTo>
                    <a:pt x="19305" y="1192"/>
                    <a:pt x="19305" y="1192"/>
                    <a:pt x="19305" y="1192"/>
                  </a:cubicBezTo>
                  <a:cubicBezTo>
                    <a:pt x="19050" y="447"/>
                    <a:pt x="18755" y="0"/>
                    <a:pt x="18402" y="0"/>
                  </a:cubicBezTo>
                  <a:cubicBezTo>
                    <a:pt x="17892" y="0"/>
                    <a:pt x="17539" y="1117"/>
                    <a:pt x="17539" y="2830"/>
                  </a:cubicBezTo>
                  <a:cubicBezTo>
                    <a:pt x="17539" y="2830"/>
                    <a:pt x="17539" y="2830"/>
                    <a:pt x="17539" y="2830"/>
                  </a:cubicBezTo>
                  <a:cubicBezTo>
                    <a:pt x="17539" y="4692"/>
                    <a:pt x="17853" y="5214"/>
                    <a:pt x="18343" y="5661"/>
                  </a:cubicBezTo>
                  <a:cubicBezTo>
                    <a:pt x="18755" y="6033"/>
                    <a:pt x="18834" y="6331"/>
                    <a:pt x="18834" y="6852"/>
                  </a:cubicBezTo>
                  <a:cubicBezTo>
                    <a:pt x="18834" y="6852"/>
                    <a:pt x="18834" y="6852"/>
                    <a:pt x="18834" y="6852"/>
                  </a:cubicBezTo>
                  <a:cubicBezTo>
                    <a:pt x="18834" y="7448"/>
                    <a:pt x="18716" y="7746"/>
                    <a:pt x="18481" y="7746"/>
                  </a:cubicBezTo>
                  <a:cubicBezTo>
                    <a:pt x="18206" y="7746"/>
                    <a:pt x="17990" y="7299"/>
                    <a:pt x="17755" y="6629"/>
                  </a:cubicBezTo>
                  <a:cubicBezTo>
                    <a:pt x="17441" y="8044"/>
                    <a:pt x="17441" y="8044"/>
                    <a:pt x="17441" y="8044"/>
                  </a:cubicBezTo>
                  <a:cubicBezTo>
                    <a:pt x="17735" y="9087"/>
                    <a:pt x="18108" y="9534"/>
                    <a:pt x="18481" y="9534"/>
                  </a:cubicBezTo>
                  <a:cubicBezTo>
                    <a:pt x="19010" y="9534"/>
                    <a:pt x="19383" y="8491"/>
                    <a:pt x="19383" y="6703"/>
                  </a:cubicBezTo>
                  <a:cubicBezTo>
                    <a:pt x="19383" y="6629"/>
                    <a:pt x="19383" y="6629"/>
                    <a:pt x="19383" y="6629"/>
                  </a:cubicBezTo>
                  <a:cubicBezTo>
                    <a:pt x="19383" y="5065"/>
                    <a:pt x="19089" y="4320"/>
                    <a:pt x="18598" y="3873"/>
                  </a:cubicBezTo>
                  <a:moveTo>
                    <a:pt x="16538" y="9385"/>
                  </a:moveTo>
                  <a:cubicBezTo>
                    <a:pt x="17088" y="9385"/>
                    <a:pt x="17088" y="9385"/>
                    <a:pt x="17088" y="9385"/>
                  </a:cubicBezTo>
                  <a:cubicBezTo>
                    <a:pt x="17088" y="149"/>
                    <a:pt x="17088" y="149"/>
                    <a:pt x="17088" y="149"/>
                  </a:cubicBezTo>
                  <a:cubicBezTo>
                    <a:pt x="16538" y="149"/>
                    <a:pt x="16538" y="149"/>
                    <a:pt x="16538" y="149"/>
                  </a:cubicBezTo>
                  <a:lnTo>
                    <a:pt x="16538" y="9385"/>
                  </a:lnTo>
                  <a:close/>
                  <a:moveTo>
                    <a:pt x="15557" y="3352"/>
                  </a:moveTo>
                  <a:cubicBezTo>
                    <a:pt x="15557" y="4097"/>
                    <a:pt x="15420" y="4618"/>
                    <a:pt x="15146" y="4618"/>
                  </a:cubicBezTo>
                  <a:cubicBezTo>
                    <a:pt x="14616" y="4618"/>
                    <a:pt x="14616" y="4618"/>
                    <a:pt x="14616" y="4618"/>
                  </a:cubicBezTo>
                  <a:cubicBezTo>
                    <a:pt x="14616" y="2011"/>
                    <a:pt x="14616" y="2011"/>
                    <a:pt x="14616" y="2011"/>
                  </a:cubicBezTo>
                  <a:cubicBezTo>
                    <a:pt x="15146" y="2011"/>
                    <a:pt x="15146" y="2011"/>
                    <a:pt x="15146" y="2011"/>
                  </a:cubicBezTo>
                  <a:cubicBezTo>
                    <a:pt x="15401" y="2011"/>
                    <a:pt x="15557" y="2458"/>
                    <a:pt x="15557" y="3277"/>
                  </a:cubicBezTo>
                  <a:lnTo>
                    <a:pt x="15557" y="3352"/>
                  </a:lnTo>
                  <a:close/>
                  <a:moveTo>
                    <a:pt x="16107" y="3203"/>
                  </a:moveTo>
                  <a:cubicBezTo>
                    <a:pt x="16107" y="3203"/>
                    <a:pt x="16107" y="3203"/>
                    <a:pt x="16107" y="3203"/>
                  </a:cubicBezTo>
                  <a:cubicBezTo>
                    <a:pt x="16107" y="2309"/>
                    <a:pt x="16028" y="1564"/>
                    <a:pt x="15911" y="1043"/>
                  </a:cubicBezTo>
                  <a:cubicBezTo>
                    <a:pt x="15734" y="447"/>
                    <a:pt x="15499" y="149"/>
                    <a:pt x="15185" y="149"/>
                  </a:cubicBezTo>
                  <a:cubicBezTo>
                    <a:pt x="14066" y="149"/>
                    <a:pt x="14066" y="149"/>
                    <a:pt x="14066" y="149"/>
                  </a:cubicBezTo>
                  <a:cubicBezTo>
                    <a:pt x="14066" y="9385"/>
                    <a:pt x="14066" y="9385"/>
                    <a:pt x="14066" y="9385"/>
                  </a:cubicBezTo>
                  <a:cubicBezTo>
                    <a:pt x="14616" y="9385"/>
                    <a:pt x="14616" y="9385"/>
                    <a:pt x="14616" y="9385"/>
                  </a:cubicBezTo>
                  <a:cubicBezTo>
                    <a:pt x="14616" y="6480"/>
                    <a:pt x="14616" y="6480"/>
                    <a:pt x="14616" y="6480"/>
                  </a:cubicBezTo>
                  <a:cubicBezTo>
                    <a:pt x="15028" y="6480"/>
                    <a:pt x="15028" y="6480"/>
                    <a:pt x="15028" y="6480"/>
                  </a:cubicBezTo>
                  <a:cubicBezTo>
                    <a:pt x="15557" y="9385"/>
                    <a:pt x="15557" y="9385"/>
                    <a:pt x="15557" y="9385"/>
                  </a:cubicBezTo>
                  <a:cubicBezTo>
                    <a:pt x="16185" y="9385"/>
                    <a:pt x="16185" y="9385"/>
                    <a:pt x="16185" y="9385"/>
                  </a:cubicBezTo>
                  <a:cubicBezTo>
                    <a:pt x="15597" y="6108"/>
                    <a:pt x="15597" y="6108"/>
                    <a:pt x="15597" y="6108"/>
                  </a:cubicBezTo>
                  <a:cubicBezTo>
                    <a:pt x="15891" y="5661"/>
                    <a:pt x="16107" y="4692"/>
                    <a:pt x="16107" y="3203"/>
                  </a:cubicBezTo>
                  <a:moveTo>
                    <a:pt x="13203" y="3426"/>
                  </a:moveTo>
                  <a:cubicBezTo>
                    <a:pt x="13203" y="4171"/>
                    <a:pt x="13046" y="4841"/>
                    <a:pt x="12772" y="4841"/>
                  </a:cubicBezTo>
                  <a:cubicBezTo>
                    <a:pt x="12360" y="4841"/>
                    <a:pt x="12360" y="4841"/>
                    <a:pt x="12360" y="4841"/>
                  </a:cubicBezTo>
                  <a:cubicBezTo>
                    <a:pt x="12360" y="2011"/>
                    <a:pt x="12360" y="2011"/>
                    <a:pt x="12360" y="2011"/>
                  </a:cubicBezTo>
                  <a:cubicBezTo>
                    <a:pt x="12772" y="2011"/>
                    <a:pt x="12772" y="2011"/>
                    <a:pt x="12772" y="2011"/>
                  </a:cubicBezTo>
                  <a:cubicBezTo>
                    <a:pt x="13027" y="2011"/>
                    <a:pt x="13203" y="2458"/>
                    <a:pt x="13203" y="3352"/>
                  </a:cubicBezTo>
                  <a:lnTo>
                    <a:pt x="13203" y="3426"/>
                  </a:lnTo>
                  <a:close/>
                  <a:moveTo>
                    <a:pt x="13753" y="3352"/>
                  </a:moveTo>
                  <a:cubicBezTo>
                    <a:pt x="13753" y="3352"/>
                    <a:pt x="13753" y="3352"/>
                    <a:pt x="13753" y="3352"/>
                  </a:cubicBezTo>
                  <a:cubicBezTo>
                    <a:pt x="13753" y="1415"/>
                    <a:pt x="13399" y="149"/>
                    <a:pt x="12811" y="149"/>
                  </a:cubicBezTo>
                  <a:cubicBezTo>
                    <a:pt x="11810" y="149"/>
                    <a:pt x="11810" y="149"/>
                    <a:pt x="11810" y="149"/>
                  </a:cubicBezTo>
                  <a:cubicBezTo>
                    <a:pt x="11810" y="9385"/>
                    <a:pt x="11810" y="9385"/>
                    <a:pt x="11810" y="9385"/>
                  </a:cubicBezTo>
                  <a:cubicBezTo>
                    <a:pt x="12360" y="9385"/>
                    <a:pt x="12360" y="9385"/>
                    <a:pt x="12360" y="9385"/>
                  </a:cubicBezTo>
                  <a:cubicBezTo>
                    <a:pt x="12360" y="6629"/>
                    <a:pt x="12360" y="6629"/>
                    <a:pt x="12360" y="6629"/>
                  </a:cubicBezTo>
                  <a:cubicBezTo>
                    <a:pt x="12752" y="6629"/>
                    <a:pt x="12752" y="6629"/>
                    <a:pt x="12752" y="6629"/>
                  </a:cubicBezTo>
                  <a:cubicBezTo>
                    <a:pt x="13301" y="6629"/>
                    <a:pt x="13753" y="5512"/>
                    <a:pt x="13753" y="3352"/>
                  </a:cubicBezTo>
                  <a:moveTo>
                    <a:pt x="10457" y="4618"/>
                  </a:moveTo>
                  <a:cubicBezTo>
                    <a:pt x="9907" y="4618"/>
                    <a:pt x="9907" y="4618"/>
                    <a:pt x="9907" y="4618"/>
                  </a:cubicBezTo>
                  <a:cubicBezTo>
                    <a:pt x="9907" y="2011"/>
                    <a:pt x="9907" y="2011"/>
                    <a:pt x="9907" y="2011"/>
                  </a:cubicBezTo>
                  <a:cubicBezTo>
                    <a:pt x="10457" y="2011"/>
                    <a:pt x="10457" y="2011"/>
                    <a:pt x="10457" y="2011"/>
                  </a:cubicBezTo>
                  <a:cubicBezTo>
                    <a:pt x="10712" y="2011"/>
                    <a:pt x="10869" y="2458"/>
                    <a:pt x="10869" y="3277"/>
                  </a:cubicBezTo>
                  <a:cubicBezTo>
                    <a:pt x="10869" y="3352"/>
                    <a:pt x="10869" y="3352"/>
                    <a:pt x="10869" y="3352"/>
                  </a:cubicBezTo>
                  <a:cubicBezTo>
                    <a:pt x="10869" y="4097"/>
                    <a:pt x="10712" y="4618"/>
                    <a:pt x="10457" y="4618"/>
                  </a:cubicBezTo>
                  <a:moveTo>
                    <a:pt x="11496" y="9385"/>
                  </a:moveTo>
                  <a:cubicBezTo>
                    <a:pt x="10888" y="6108"/>
                    <a:pt x="10888" y="6108"/>
                    <a:pt x="10888" y="6108"/>
                  </a:cubicBezTo>
                  <a:cubicBezTo>
                    <a:pt x="11202" y="5661"/>
                    <a:pt x="11418" y="4692"/>
                    <a:pt x="11418" y="3203"/>
                  </a:cubicBezTo>
                  <a:cubicBezTo>
                    <a:pt x="11418" y="3203"/>
                    <a:pt x="11418" y="3203"/>
                    <a:pt x="11418" y="3203"/>
                  </a:cubicBezTo>
                  <a:cubicBezTo>
                    <a:pt x="11418" y="2309"/>
                    <a:pt x="11340" y="1564"/>
                    <a:pt x="11202" y="1043"/>
                  </a:cubicBezTo>
                  <a:cubicBezTo>
                    <a:pt x="11045" y="447"/>
                    <a:pt x="10810" y="149"/>
                    <a:pt x="10496" y="149"/>
                  </a:cubicBezTo>
                  <a:cubicBezTo>
                    <a:pt x="9378" y="149"/>
                    <a:pt x="9378" y="149"/>
                    <a:pt x="9378" y="149"/>
                  </a:cubicBezTo>
                  <a:cubicBezTo>
                    <a:pt x="9378" y="9385"/>
                    <a:pt x="9378" y="9385"/>
                    <a:pt x="9378" y="9385"/>
                  </a:cubicBezTo>
                  <a:cubicBezTo>
                    <a:pt x="9907" y="9385"/>
                    <a:pt x="9907" y="9385"/>
                    <a:pt x="9907" y="9385"/>
                  </a:cubicBezTo>
                  <a:cubicBezTo>
                    <a:pt x="9907" y="6480"/>
                    <a:pt x="9907" y="6480"/>
                    <a:pt x="9907" y="6480"/>
                  </a:cubicBezTo>
                  <a:cubicBezTo>
                    <a:pt x="10339" y="6480"/>
                    <a:pt x="10339" y="6480"/>
                    <a:pt x="10339" y="6480"/>
                  </a:cubicBezTo>
                  <a:cubicBezTo>
                    <a:pt x="10869" y="9385"/>
                    <a:pt x="10869" y="9385"/>
                    <a:pt x="10869" y="9385"/>
                  </a:cubicBezTo>
                  <a:lnTo>
                    <a:pt x="11496" y="9385"/>
                  </a:lnTo>
                  <a:close/>
                  <a:moveTo>
                    <a:pt x="9025" y="7597"/>
                  </a:moveTo>
                  <a:cubicBezTo>
                    <a:pt x="7690" y="7597"/>
                    <a:pt x="7690" y="7597"/>
                    <a:pt x="7690" y="7597"/>
                  </a:cubicBezTo>
                  <a:cubicBezTo>
                    <a:pt x="7690" y="5661"/>
                    <a:pt x="7690" y="5661"/>
                    <a:pt x="7690" y="5661"/>
                  </a:cubicBezTo>
                  <a:cubicBezTo>
                    <a:pt x="8848" y="5661"/>
                    <a:pt x="8848" y="5661"/>
                    <a:pt x="8848" y="5661"/>
                  </a:cubicBezTo>
                  <a:cubicBezTo>
                    <a:pt x="8848" y="3873"/>
                    <a:pt x="8848" y="3873"/>
                    <a:pt x="8848" y="3873"/>
                  </a:cubicBezTo>
                  <a:cubicBezTo>
                    <a:pt x="7690" y="3873"/>
                    <a:pt x="7690" y="3873"/>
                    <a:pt x="7690" y="3873"/>
                  </a:cubicBezTo>
                  <a:cubicBezTo>
                    <a:pt x="7690" y="1937"/>
                    <a:pt x="7690" y="1937"/>
                    <a:pt x="7690" y="1937"/>
                  </a:cubicBezTo>
                  <a:cubicBezTo>
                    <a:pt x="9005" y="1937"/>
                    <a:pt x="9005" y="1937"/>
                    <a:pt x="9005" y="1937"/>
                  </a:cubicBezTo>
                  <a:cubicBezTo>
                    <a:pt x="9005" y="149"/>
                    <a:pt x="9005" y="149"/>
                    <a:pt x="9005" y="149"/>
                  </a:cubicBezTo>
                  <a:cubicBezTo>
                    <a:pt x="7161" y="149"/>
                    <a:pt x="7161" y="149"/>
                    <a:pt x="7161" y="149"/>
                  </a:cubicBezTo>
                  <a:cubicBezTo>
                    <a:pt x="7161" y="9385"/>
                    <a:pt x="7161" y="9385"/>
                    <a:pt x="7161" y="9385"/>
                  </a:cubicBezTo>
                  <a:cubicBezTo>
                    <a:pt x="9025" y="9385"/>
                    <a:pt x="9025" y="9385"/>
                    <a:pt x="9025" y="9385"/>
                  </a:cubicBezTo>
                  <a:lnTo>
                    <a:pt x="9025" y="7597"/>
                  </a:lnTo>
                  <a:close/>
                  <a:moveTo>
                    <a:pt x="6043" y="9385"/>
                  </a:moveTo>
                  <a:cubicBezTo>
                    <a:pt x="6043" y="2011"/>
                    <a:pt x="6043" y="2011"/>
                    <a:pt x="6043" y="2011"/>
                  </a:cubicBezTo>
                  <a:cubicBezTo>
                    <a:pt x="6788" y="2011"/>
                    <a:pt x="6788" y="2011"/>
                    <a:pt x="6788" y="2011"/>
                  </a:cubicBezTo>
                  <a:cubicBezTo>
                    <a:pt x="6788" y="149"/>
                    <a:pt x="6788" y="149"/>
                    <a:pt x="6788" y="149"/>
                  </a:cubicBezTo>
                  <a:cubicBezTo>
                    <a:pt x="4767" y="149"/>
                    <a:pt x="4767" y="149"/>
                    <a:pt x="4767" y="149"/>
                  </a:cubicBezTo>
                  <a:cubicBezTo>
                    <a:pt x="4767" y="2011"/>
                    <a:pt x="4767" y="2011"/>
                    <a:pt x="4767" y="2011"/>
                  </a:cubicBezTo>
                  <a:cubicBezTo>
                    <a:pt x="5513" y="2011"/>
                    <a:pt x="5513" y="2011"/>
                    <a:pt x="5513" y="2011"/>
                  </a:cubicBezTo>
                  <a:cubicBezTo>
                    <a:pt x="5513" y="9385"/>
                    <a:pt x="5513" y="9385"/>
                    <a:pt x="5513" y="9385"/>
                  </a:cubicBezTo>
                  <a:lnTo>
                    <a:pt x="6043" y="9385"/>
                  </a:lnTo>
                  <a:close/>
                  <a:moveTo>
                    <a:pt x="2766" y="3501"/>
                  </a:moveTo>
                  <a:cubicBezTo>
                    <a:pt x="3943" y="9385"/>
                    <a:pt x="3943" y="9385"/>
                    <a:pt x="3943" y="9385"/>
                  </a:cubicBezTo>
                  <a:cubicBezTo>
                    <a:pt x="4414" y="9385"/>
                    <a:pt x="4414" y="9385"/>
                    <a:pt x="4414" y="9385"/>
                  </a:cubicBezTo>
                  <a:cubicBezTo>
                    <a:pt x="4414" y="149"/>
                    <a:pt x="4414" y="149"/>
                    <a:pt x="4414" y="149"/>
                  </a:cubicBezTo>
                  <a:cubicBezTo>
                    <a:pt x="3865" y="149"/>
                    <a:pt x="3865" y="149"/>
                    <a:pt x="3865" y="149"/>
                  </a:cubicBezTo>
                  <a:cubicBezTo>
                    <a:pt x="3865" y="5884"/>
                    <a:pt x="3865" y="5884"/>
                    <a:pt x="3865" y="5884"/>
                  </a:cubicBezTo>
                  <a:cubicBezTo>
                    <a:pt x="2727" y="149"/>
                    <a:pt x="2727" y="149"/>
                    <a:pt x="2727" y="149"/>
                  </a:cubicBezTo>
                  <a:cubicBezTo>
                    <a:pt x="2237" y="149"/>
                    <a:pt x="2237" y="149"/>
                    <a:pt x="2237" y="149"/>
                  </a:cubicBezTo>
                  <a:cubicBezTo>
                    <a:pt x="2237" y="9385"/>
                    <a:pt x="2237" y="9385"/>
                    <a:pt x="2237" y="9385"/>
                  </a:cubicBezTo>
                  <a:cubicBezTo>
                    <a:pt x="2766" y="9385"/>
                    <a:pt x="2766" y="9385"/>
                    <a:pt x="2766" y="9385"/>
                  </a:cubicBezTo>
                  <a:lnTo>
                    <a:pt x="2766" y="3501"/>
                  </a:lnTo>
                  <a:close/>
                  <a:moveTo>
                    <a:pt x="1864" y="7597"/>
                  </a:moveTo>
                  <a:cubicBezTo>
                    <a:pt x="530" y="7597"/>
                    <a:pt x="530" y="7597"/>
                    <a:pt x="530" y="7597"/>
                  </a:cubicBezTo>
                  <a:cubicBezTo>
                    <a:pt x="530" y="5661"/>
                    <a:pt x="530" y="5661"/>
                    <a:pt x="530" y="5661"/>
                  </a:cubicBezTo>
                  <a:cubicBezTo>
                    <a:pt x="1687" y="5661"/>
                    <a:pt x="1687" y="5661"/>
                    <a:pt x="1687" y="5661"/>
                  </a:cubicBezTo>
                  <a:cubicBezTo>
                    <a:pt x="1687" y="3873"/>
                    <a:pt x="1687" y="3873"/>
                    <a:pt x="1687" y="3873"/>
                  </a:cubicBezTo>
                  <a:cubicBezTo>
                    <a:pt x="530" y="3873"/>
                    <a:pt x="530" y="3873"/>
                    <a:pt x="530" y="3873"/>
                  </a:cubicBezTo>
                  <a:cubicBezTo>
                    <a:pt x="530" y="1937"/>
                    <a:pt x="530" y="1937"/>
                    <a:pt x="530" y="1937"/>
                  </a:cubicBezTo>
                  <a:cubicBezTo>
                    <a:pt x="1844" y="1937"/>
                    <a:pt x="1844" y="1937"/>
                    <a:pt x="1844" y="1937"/>
                  </a:cubicBezTo>
                  <a:cubicBezTo>
                    <a:pt x="1844" y="149"/>
                    <a:pt x="1844" y="149"/>
                    <a:pt x="1844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9385"/>
                    <a:pt x="0" y="9385"/>
                    <a:pt x="0" y="9385"/>
                  </a:cubicBezTo>
                  <a:cubicBezTo>
                    <a:pt x="1864" y="9385"/>
                    <a:pt x="1864" y="9385"/>
                    <a:pt x="1864" y="9385"/>
                  </a:cubicBezTo>
                  <a:lnTo>
                    <a:pt x="1864" y="7597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  <p:sp>
          <p:nvSpPr>
            <p:cNvPr id="455" name="Freeform 6"/>
            <p:cNvSpPr/>
            <p:nvPr/>
          </p:nvSpPr>
          <p:spPr>
            <a:xfrm>
              <a:off x="466725" y="427037"/>
              <a:ext cx="1368426" cy="6985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60" y="9818"/>
                  </a:moveTo>
                  <a:cubicBezTo>
                    <a:pt x="21160" y="8640"/>
                    <a:pt x="21200" y="7855"/>
                    <a:pt x="21280" y="7855"/>
                  </a:cubicBezTo>
                  <a:cubicBezTo>
                    <a:pt x="21380" y="7855"/>
                    <a:pt x="21420" y="8247"/>
                    <a:pt x="21480" y="9818"/>
                  </a:cubicBezTo>
                  <a:cubicBezTo>
                    <a:pt x="21560" y="8640"/>
                    <a:pt x="21560" y="8640"/>
                    <a:pt x="21560" y="8640"/>
                  </a:cubicBezTo>
                  <a:cubicBezTo>
                    <a:pt x="21500" y="7069"/>
                    <a:pt x="21400" y="5891"/>
                    <a:pt x="21300" y="5891"/>
                  </a:cubicBezTo>
                  <a:cubicBezTo>
                    <a:pt x="21160" y="5891"/>
                    <a:pt x="21041" y="7462"/>
                    <a:pt x="21041" y="9818"/>
                  </a:cubicBezTo>
                  <a:cubicBezTo>
                    <a:pt x="21041" y="15316"/>
                    <a:pt x="21500" y="13353"/>
                    <a:pt x="21500" y="17280"/>
                  </a:cubicBezTo>
                  <a:cubicBezTo>
                    <a:pt x="21500" y="18458"/>
                    <a:pt x="21440" y="19636"/>
                    <a:pt x="21320" y="19636"/>
                  </a:cubicBezTo>
                  <a:cubicBezTo>
                    <a:pt x="21220" y="19636"/>
                    <a:pt x="21160" y="18851"/>
                    <a:pt x="21100" y="17673"/>
                  </a:cubicBezTo>
                  <a:cubicBezTo>
                    <a:pt x="21021" y="18851"/>
                    <a:pt x="21021" y="18851"/>
                    <a:pt x="21021" y="18851"/>
                  </a:cubicBezTo>
                  <a:cubicBezTo>
                    <a:pt x="21100" y="20422"/>
                    <a:pt x="21200" y="21600"/>
                    <a:pt x="21320" y="21600"/>
                  </a:cubicBezTo>
                  <a:cubicBezTo>
                    <a:pt x="21460" y="21600"/>
                    <a:pt x="21600" y="20029"/>
                    <a:pt x="21600" y="17280"/>
                  </a:cubicBezTo>
                  <a:cubicBezTo>
                    <a:pt x="21600" y="11389"/>
                    <a:pt x="21160" y="13353"/>
                    <a:pt x="21160" y="9818"/>
                  </a:cubicBezTo>
                  <a:moveTo>
                    <a:pt x="20481" y="9818"/>
                  </a:moveTo>
                  <a:cubicBezTo>
                    <a:pt x="20481" y="8640"/>
                    <a:pt x="20541" y="7855"/>
                    <a:pt x="20621" y="7855"/>
                  </a:cubicBezTo>
                  <a:cubicBezTo>
                    <a:pt x="20721" y="7855"/>
                    <a:pt x="20761" y="8247"/>
                    <a:pt x="20821" y="9818"/>
                  </a:cubicBezTo>
                  <a:cubicBezTo>
                    <a:pt x="20901" y="8640"/>
                    <a:pt x="20901" y="8640"/>
                    <a:pt x="20901" y="8640"/>
                  </a:cubicBezTo>
                  <a:cubicBezTo>
                    <a:pt x="20841" y="7069"/>
                    <a:pt x="20741" y="5891"/>
                    <a:pt x="20641" y="5891"/>
                  </a:cubicBezTo>
                  <a:cubicBezTo>
                    <a:pt x="20481" y="5891"/>
                    <a:pt x="20381" y="7462"/>
                    <a:pt x="20381" y="9818"/>
                  </a:cubicBezTo>
                  <a:cubicBezTo>
                    <a:pt x="20381" y="15316"/>
                    <a:pt x="20821" y="13353"/>
                    <a:pt x="20821" y="17280"/>
                  </a:cubicBezTo>
                  <a:cubicBezTo>
                    <a:pt x="20821" y="18458"/>
                    <a:pt x="20781" y="19636"/>
                    <a:pt x="20661" y="19636"/>
                  </a:cubicBezTo>
                  <a:cubicBezTo>
                    <a:pt x="20561" y="19636"/>
                    <a:pt x="20501" y="18851"/>
                    <a:pt x="20441" y="17673"/>
                  </a:cubicBezTo>
                  <a:cubicBezTo>
                    <a:pt x="20361" y="18851"/>
                    <a:pt x="20361" y="18851"/>
                    <a:pt x="20361" y="18851"/>
                  </a:cubicBezTo>
                  <a:cubicBezTo>
                    <a:pt x="20441" y="20422"/>
                    <a:pt x="20541" y="21600"/>
                    <a:pt x="20661" y="21600"/>
                  </a:cubicBezTo>
                  <a:cubicBezTo>
                    <a:pt x="20801" y="21600"/>
                    <a:pt x="20941" y="20029"/>
                    <a:pt x="20941" y="17280"/>
                  </a:cubicBezTo>
                  <a:cubicBezTo>
                    <a:pt x="20941" y="11389"/>
                    <a:pt x="20481" y="13353"/>
                    <a:pt x="20481" y="9818"/>
                  </a:cubicBezTo>
                  <a:moveTo>
                    <a:pt x="19962" y="7855"/>
                  </a:moveTo>
                  <a:cubicBezTo>
                    <a:pt x="20081" y="7855"/>
                    <a:pt x="20141" y="9425"/>
                    <a:pt x="20141" y="12567"/>
                  </a:cubicBezTo>
                  <a:cubicBezTo>
                    <a:pt x="19742" y="12567"/>
                    <a:pt x="19742" y="12567"/>
                    <a:pt x="19742" y="12567"/>
                  </a:cubicBezTo>
                  <a:cubicBezTo>
                    <a:pt x="19762" y="9425"/>
                    <a:pt x="19822" y="7855"/>
                    <a:pt x="19962" y="7855"/>
                  </a:cubicBezTo>
                  <a:moveTo>
                    <a:pt x="19981" y="19636"/>
                  </a:moveTo>
                  <a:cubicBezTo>
                    <a:pt x="19842" y="19636"/>
                    <a:pt x="19742" y="17673"/>
                    <a:pt x="19742" y="14138"/>
                  </a:cubicBezTo>
                  <a:cubicBezTo>
                    <a:pt x="20241" y="14138"/>
                    <a:pt x="20241" y="14138"/>
                    <a:pt x="20241" y="14138"/>
                  </a:cubicBezTo>
                  <a:cubicBezTo>
                    <a:pt x="20241" y="12960"/>
                    <a:pt x="20241" y="12960"/>
                    <a:pt x="20241" y="12960"/>
                  </a:cubicBezTo>
                  <a:cubicBezTo>
                    <a:pt x="20241" y="7855"/>
                    <a:pt x="20121" y="5891"/>
                    <a:pt x="19962" y="5891"/>
                  </a:cubicBezTo>
                  <a:cubicBezTo>
                    <a:pt x="19762" y="5891"/>
                    <a:pt x="19642" y="9033"/>
                    <a:pt x="19642" y="13745"/>
                  </a:cubicBezTo>
                  <a:cubicBezTo>
                    <a:pt x="19642" y="19244"/>
                    <a:pt x="19802" y="21600"/>
                    <a:pt x="19981" y="21600"/>
                  </a:cubicBezTo>
                  <a:cubicBezTo>
                    <a:pt x="20141" y="21600"/>
                    <a:pt x="20221" y="19636"/>
                    <a:pt x="20261" y="18065"/>
                  </a:cubicBezTo>
                  <a:cubicBezTo>
                    <a:pt x="20181" y="17280"/>
                    <a:pt x="20181" y="17280"/>
                    <a:pt x="20181" y="17280"/>
                  </a:cubicBezTo>
                  <a:cubicBezTo>
                    <a:pt x="20141" y="18851"/>
                    <a:pt x="20061" y="19636"/>
                    <a:pt x="19981" y="19636"/>
                  </a:cubicBezTo>
                  <a:moveTo>
                    <a:pt x="19222" y="5891"/>
                  </a:moveTo>
                  <a:cubicBezTo>
                    <a:pt x="19142" y="5891"/>
                    <a:pt x="19062" y="7069"/>
                    <a:pt x="19002" y="8247"/>
                  </a:cubicBezTo>
                  <a:cubicBezTo>
                    <a:pt x="19002" y="8247"/>
                    <a:pt x="19002" y="8247"/>
                    <a:pt x="19002" y="8247"/>
                  </a:cubicBezTo>
                  <a:cubicBezTo>
                    <a:pt x="19002" y="6284"/>
                    <a:pt x="19002" y="6284"/>
                    <a:pt x="19002" y="6284"/>
                  </a:cubicBezTo>
                  <a:cubicBezTo>
                    <a:pt x="18883" y="6284"/>
                    <a:pt x="18883" y="6284"/>
                    <a:pt x="18883" y="6284"/>
                  </a:cubicBezTo>
                  <a:cubicBezTo>
                    <a:pt x="18883" y="21207"/>
                    <a:pt x="18883" y="21207"/>
                    <a:pt x="18883" y="21207"/>
                  </a:cubicBezTo>
                  <a:cubicBezTo>
                    <a:pt x="19002" y="21207"/>
                    <a:pt x="19002" y="21207"/>
                    <a:pt x="19002" y="21207"/>
                  </a:cubicBezTo>
                  <a:cubicBezTo>
                    <a:pt x="19002" y="10211"/>
                    <a:pt x="19002" y="10211"/>
                    <a:pt x="19002" y="10211"/>
                  </a:cubicBezTo>
                  <a:cubicBezTo>
                    <a:pt x="19042" y="9033"/>
                    <a:pt x="19142" y="7855"/>
                    <a:pt x="19222" y="7855"/>
                  </a:cubicBezTo>
                  <a:cubicBezTo>
                    <a:pt x="19282" y="7855"/>
                    <a:pt x="19342" y="8247"/>
                    <a:pt x="19342" y="10211"/>
                  </a:cubicBezTo>
                  <a:cubicBezTo>
                    <a:pt x="19342" y="21207"/>
                    <a:pt x="19342" y="21207"/>
                    <a:pt x="19342" y="21207"/>
                  </a:cubicBezTo>
                  <a:cubicBezTo>
                    <a:pt x="19442" y="21207"/>
                    <a:pt x="19442" y="21207"/>
                    <a:pt x="19442" y="21207"/>
                  </a:cubicBezTo>
                  <a:cubicBezTo>
                    <a:pt x="19442" y="10211"/>
                    <a:pt x="19442" y="10211"/>
                    <a:pt x="19442" y="10211"/>
                  </a:cubicBezTo>
                  <a:cubicBezTo>
                    <a:pt x="19442" y="7069"/>
                    <a:pt x="19342" y="5891"/>
                    <a:pt x="19222" y="5891"/>
                  </a:cubicBezTo>
                  <a:moveTo>
                    <a:pt x="18503" y="21207"/>
                  </a:moveTo>
                  <a:cubicBezTo>
                    <a:pt x="18603" y="21207"/>
                    <a:pt x="18603" y="21207"/>
                    <a:pt x="18603" y="21207"/>
                  </a:cubicBezTo>
                  <a:cubicBezTo>
                    <a:pt x="18603" y="6284"/>
                    <a:pt x="18603" y="6284"/>
                    <a:pt x="18603" y="6284"/>
                  </a:cubicBezTo>
                  <a:cubicBezTo>
                    <a:pt x="18503" y="6284"/>
                    <a:pt x="18503" y="6284"/>
                    <a:pt x="18503" y="6284"/>
                  </a:cubicBezTo>
                  <a:lnTo>
                    <a:pt x="18503" y="21207"/>
                  </a:lnTo>
                  <a:close/>
                  <a:moveTo>
                    <a:pt x="18503" y="2749"/>
                  </a:moveTo>
                  <a:cubicBezTo>
                    <a:pt x="18603" y="2749"/>
                    <a:pt x="18603" y="2749"/>
                    <a:pt x="18603" y="2749"/>
                  </a:cubicBezTo>
                  <a:cubicBezTo>
                    <a:pt x="18603" y="0"/>
                    <a:pt x="18603" y="0"/>
                    <a:pt x="18603" y="0"/>
                  </a:cubicBezTo>
                  <a:cubicBezTo>
                    <a:pt x="18503" y="0"/>
                    <a:pt x="18503" y="0"/>
                    <a:pt x="18503" y="0"/>
                  </a:cubicBezTo>
                  <a:lnTo>
                    <a:pt x="18503" y="2749"/>
                  </a:lnTo>
                  <a:close/>
                  <a:moveTo>
                    <a:pt x="17843" y="9818"/>
                  </a:moveTo>
                  <a:cubicBezTo>
                    <a:pt x="17843" y="8640"/>
                    <a:pt x="17903" y="7855"/>
                    <a:pt x="17983" y="7855"/>
                  </a:cubicBezTo>
                  <a:cubicBezTo>
                    <a:pt x="18063" y="7855"/>
                    <a:pt x="18123" y="8247"/>
                    <a:pt x="18183" y="9818"/>
                  </a:cubicBezTo>
                  <a:cubicBezTo>
                    <a:pt x="18263" y="8640"/>
                    <a:pt x="18263" y="8640"/>
                    <a:pt x="18263" y="8640"/>
                  </a:cubicBezTo>
                  <a:cubicBezTo>
                    <a:pt x="18203" y="7069"/>
                    <a:pt x="18103" y="5891"/>
                    <a:pt x="18003" y="5891"/>
                  </a:cubicBezTo>
                  <a:cubicBezTo>
                    <a:pt x="17843" y="5891"/>
                    <a:pt x="17744" y="7462"/>
                    <a:pt x="17744" y="9818"/>
                  </a:cubicBezTo>
                  <a:cubicBezTo>
                    <a:pt x="17724" y="15316"/>
                    <a:pt x="18183" y="13353"/>
                    <a:pt x="18183" y="17280"/>
                  </a:cubicBezTo>
                  <a:cubicBezTo>
                    <a:pt x="18183" y="18458"/>
                    <a:pt x="18143" y="19636"/>
                    <a:pt x="18023" y="19636"/>
                  </a:cubicBezTo>
                  <a:cubicBezTo>
                    <a:pt x="17923" y="19636"/>
                    <a:pt x="17843" y="18851"/>
                    <a:pt x="17804" y="17673"/>
                  </a:cubicBezTo>
                  <a:cubicBezTo>
                    <a:pt x="17724" y="18851"/>
                    <a:pt x="17724" y="18851"/>
                    <a:pt x="17724" y="18851"/>
                  </a:cubicBezTo>
                  <a:cubicBezTo>
                    <a:pt x="17784" y="20422"/>
                    <a:pt x="17903" y="21600"/>
                    <a:pt x="18023" y="21600"/>
                  </a:cubicBezTo>
                  <a:cubicBezTo>
                    <a:pt x="18163" y="21600"/>
                    <a:pt x="18283" y="20029"/>
                    <a:pt x="18283" y="17280"/>
                  </a:cubicBezTo>
                  <a:cubicBezTo>
                    <a:pt x="18283" y="11389"/>
                    <a:pt x="17843" y="13353"/>
                    <a:pt x="17843" y="9818"/>
                  </a:cubicBezTo>
                  <a:moveTo>
                    <a:pt x="17444" y="17673"/>
                  </a:moveTo>
                  <a:cubicBezTo>
                    <a:pt x="17384" y="18458"/>
                    <a:pt x="17304" y="19636"/>
                    <a:pt x="17224" y="19636"/>
                  </a:cubicBezTo>
                  <a:cubicBezTo>
                    <a:pt x="17144" y="19636"/>
                    <a:pt x="17104" y="19244"/>
                    <a:pt x="17104" y="17280"/>
                  </a:cubicBezTo>
                  <a:cubicBezTo>
                    <a:pt x="17104" y="6284"/>
                    <a:pt x="17104" y="6284"/>
                    <a:pt x="17104" y="6284"/>
                  </a:cubicBezTo>
                  <a:cubicBezTo>
                    <a:pt x="16984" y="6284"/>
                    <a:pt x="16984" y="6284"/>
                    <a:pt x="16984" y="6284"/>
                  </a:cubicBezTo>
                  <a:cubicBezTo>
                    <a:pt x="16984" y="17280"/>
                    <a:pt x="16984" y="17280"/>
                    <a:pt x="16984" y="17280"/>
                  </a:cubicBezTo>
                  <a:cubicBezTo>
                    <a:pt x="16984" y="20422"/>
                    <a:pt x="17104" y="21600"/>
                    <a:pt x="17204" y="21600"/>
                  </a:cubicBezTo>
                  <a:cubicBezTo>
                    <a:pt x="17304" y="21600"/>
                    <a:pt x="17384" y="20422"/>
                    <a:pt x="17444" y="19244"/>
                  </a:cubicBezTo>
                  <a:cubicBezTo>
                    <a:pt x="17444" y="19244"/>
                    <a:pt x="17444" y="19244"/>
                    <a:pt x="17444" y="19244"/>
                  </a:cubicBezTo>
                  <a:cubicBezTo>
                    <a:pt x="17444" y="21207"/>
                    <a:pt x="17444" y="21207"/>
                    <a:pt x="17444" y="21207"/>
                  </a:cubicBezTo>
                  <a:cubicBezTo>
                    <a:pt x="17544" y="21207"/>
                    <a:pt x="17544" y="21207"/>
                    <a:pt x="17544" y="21207"/>
                  </a:cubicBezTo>
                  <a:cubicBezTo>
                    <a:pt x="17544" y="6284"/>
                    <a:pt x="17544" y="6284"/>
                    <a:pt x="17544" y="6284"/>
                  </a:cubicBezTo>
                  <a:cubicBezTo>
                    <a:pt x="17444" y="6284"/>
                    <a:pt x="17444" y="6284"/>
                    <a:pt x="17444" y="6284"/>
                  </a:cubicBezTo>
                  <a:lnTo>
                    <a:pt x="17444" y="17673"/>
                  </a:lnTo>
                  <a:close/>
                  <a:moveTo>
                    <a:pt x="16465" y="19636"/>
                  </a:moveTo>
                  <a:cubicBezTo>
                    <a:pt x="16385" y="19636"/>
                    <a:pt x="16345" y="19244"/>
                    <a:pt x="16265" y="17673"/>
                  </a:cubicBezTo>
                  <a:cubicBezTo>
                    <a:pt x="16265" y="9818"/>
                    <a:pt x="16265" y="9818"/>
                    <a:pt x="16265" y="9818"/>
                  </a:cubicBezTo>
                  <a:cubicBezTo>
                    <a:pt x="16325" y="8640"/>
                    <a:pt x="16405" y="7855"/>
                    <a:pt x="16465" y="7855"/>
                  </a:cubicBezTo>
                  <a:cubicBezTo>
                    <a:pt x="16585" y="7855"/>
                    <a:pt x="16685" y="9425"/>
                    <a:pt x="16685" y="13745"/>
                  </a:cubicBezTo>
                  <a:cubicBezTo>
                    <a:pt x="16685" y="17673"/>
                    <a:pt x="16585" y="19636"/>
                    <a:pt x="16465" y="19636"/>
                  </a:cubicBezTo>
                  <a:moveTo>
                    <a:pt x="16485" y="5891"/>
                  </a:moveTo>
                  <a:cubicBezTo>
                    <a:pt x="16405" y="5891"/>
                    <a:pt x="16325" y="6676"/>
                    <a:pt x="16265" y="7462"/>
                  </a:cubicBezTo>
                  <a:cubicBezTo>
                    <a:pt x="16265" y="7855"/>
                    <a:pt x="16265" y="7855"/>
                    <a:pt x="16265" y="7855"/>
                  </a:cubicBezTo>
                  <a:cubicBezTo>
                    <a:pt x="16265" y="393"/>
                    <a:pt x="16265" y="393"/>
                    <a:pt x="16265" y="393"/>
                  </a:cubicBezTo>
                  <a:cubicBezTo>
                    <a:pt x="16165" y="393"/>
                    <a:pt x="16165" y="393"/>
                    <a:pt x="16165" y="393"/>
                  </a:cubicBezTo>
                  <a:cubicBezTo>
                    <a:pt x="16165" y="18065"/>
                    <a:pt x="16165" y="18065"/>
                    <a:pt x="16165" y="18065"/>
                  </a:cubicBezTo>
                  <a:cubicBezTo>
                    <a:pt x="16165" y="19244"/>
                    <a:pt x="16165" y="20029"/>
                    <a:pt x="16145" y="21207"/>
                  </a:cubicBezTo>
                  <a:cubicBezTo>
                    <a:pt x="16225" y="21207"/>
                    <a:pt x="16225" y="21207"/>
                    <a:pt x="16225" y="21207"/>
                  </a:cubicBezTo>
                  <a:cubicBezTo>
                    <a:pt x="16245" y="19636"/>
                    <a:pt x="16245" y="19636"/>
                    <a:pt x="16245" y="19636"/>
                  </a:cubicBezTo>
                  <a:cubicBezTo>
                    <a:pt x="16305" y="20815"/>
                    <a:pt x="16385" y="21600"/>
                    <a:pt x="16465" y="21600"/>
                  </a:cubicBezTo>
                  <a:cubicBezTo>
                    <a:pt x="16605" y="21600"/>
                    <a:pt x="16784" y="19636"/>
                    <a:pt x="16784" y="13745"/>
                  </a:cubicBezTo>
                  <a:cubicBezTo>
                    <a:pt x="16784" y="7855"/>
                    <a:pt x="16605" y="5891"/>
                    <a:pt x="16485" y="5891"/>
                  </a:cubicBezTo>
                  <a:moveTo>
                    <a:pt x="15086" y="9818"/>
                  </a:moveTo>
                  <a:cubicBezTo>
                    <a:pt x="15086" y="8640"/>
                    <a:pt x="15126" y="7855"/>
                    <a:pt x="15226" y="7855"/>
                  </a:cubicBezTo>
                  <a:cubicBezTo>
                    <a:pt x="15306" y="7855"/>
                    <a:pt x="15366" y="8247"/>
                    <a:pt x="15426" y="9818"/>
                  </a:cubicBezTo>
                  <a:cubicBezTo>
                    <a:pt x="15486" y="8640"/>
                    <a:pt x="15486" y="8640"/>
                    <a:pt x="15486" y="8640"/>
                  </a:cubicBezTo>
                  <a:cubicBezTo>
                    <a:pt x="15446" y="7069"/>
                    <a:pt x="15326" y="5891"/>
                    <a:pt x="15226" y="5891"/>
                  </a:cubicBezTo>
                  <a:cubicBezTo>
                    <a:pt x="15086" y="5891"/>
                    <a:pt x="14986" y="7462"/>
                    <a:pt x="14966" y="9818"/>
                  </a:cubicBezTo>
                  <a:cubicBezTo>
                    <a:pt x="14966" y="15316"/>
                    <a:pt x="15426" y="13353"/>
                    <a:pt x="15426" y="17280"/>
                  </a:cubicBezTo>
                  <a:cubicBezTo>
                    <a:pt x="15426" y="18458"/>
                    <a:pt x="15366" y="19636"/>
                    <a:pt x="15246" y="19636"/>
                  </a:cubicBezTo>
                  <a:cubicBezTo>
                    <a:pt x="15166" y="19636"/>
                    <a:pt x="15086" y="18851"/>
                    <a:pt x="15026" y="17673"/>
                  </a:cubicBezTo>
                  <a:cubicBezTo>
                    <a:pt x="14946" y="18851"/>
                    <a:pt x="14946" y="18851"/>
                    <a:pt x="14946" y="18851"/>
                  </a:cubicBezTo>
                  <a:cubicBezTo>
                    <a:pt x="15026" y="20422"/>
                    <a:pt x="15146" y="21600"/>
                    <a:pt x="15266" y="21600"/>
                  </a:cubicBezTo>
                  <a:cubicBezTo>
                    <a:pt x="15406" y="21600"/>
                    <a:pt x="15526" y="20029"/>
                    <a:pt x="15526" y="17280"/>
                  </a:cubicBezTo>
                  <a:cubicBezTo>
                    <a:pt x="15526" y="11389"/>
                    <a:pt x="15086" y="13353"/>
                    <a:pt x="15086" y="9818"/>
                  </a:cubicBezTo>
                  <a:moveTo>
                    <a:pt x="14567" y="5891"/>
                  </a:moveTo>
                  <a:cubicBezTo>
                    <a:pt x="14467" y="5891"/>
                    <a:pt x="14387" y="7069"/>
                    <a:pt x="14327" y="8247"/>
                  </a:cubicBezTo>
                  <a:cubicBezTo>
                    <a:pt x="14327" y="8247"/>
                    <a:pt x="14327" y="8247"/>
                    <a:pt x="14327" y="8247"/>
                  </a:cubicBezTo>
                  <a:cubicBezTo>
                    <a:pt x="14327" y="6284"/>
                    <a:pt x="14327" y="6284"/>
                    <a:pt x="14327" y="6284"/>
                  </a:cubicBezTo>
                  <a:cubicBezTo>
                    <a:pt x="14227" y="6284"/>
                    <a:pt x="14227" y="6284"/>
                    <a:pt x="14227" y="6284"/>
                  </a:cubicBezTo>
                  <a:cubicBezTo>
                    <a:pt x="14227" y="21207"/>
                    <a:pt x="14227" y="21207"/>
                    <a:pt x="14227" y="21207"/>
                  </a:cubicBezTo>
                  <a:cubicBezTo>
                    <a:pt x="14327" y="21207"/>
                    <a:pt x="14327" y="21207"/>
                    <a:pt x="14327" y="21207"/>
                  </a:cubicBezTo>
                  <a:cubicBezTo>
                    <a:pt x="14327" y="10211"/>
                    <a:pt x="14327" y="10211"/>
                    <a:pt x="14327" y="10211"/>
                  </a:cubicBezTo>
                  <a:cubicBezTo>
                    <a:pt x="14367" y="9033"/>
                    <a:pt x="14467" y="7855"/>
                    <a:pt x="14547" y="7855"/>
                  </a:cubicBezTo>
                  <a:cubicBezTo>
                    <a:pt x="14626" y="7855"/>
                    <a:pt x="14666" y="8247"/>
                    <a:pt x="14666" y="10211"/>
                  </a:cubicBezTo>
                  <a:cubicBezTo>
                    <a:pt x="14666" y="21207"/>
                    <a:pt x="14666" y="21207"/>
                    <a:pt x="14666" y="21207"/>
                  </a:cubicBezTo>
                  <a:cubicBezTo>
                    <a:pt x="14786" y="21207"/>
                    <a:pt x="14786" y="21207"/>
                    <a:pt x="14786" y="21207"/>
                  </a:cubicBezTo>
                  <a:cubicBezTo>
                    <a:pt x="14786" y="10211"/>
                    <a:pt x="14786" y="10211"/>
                    <a:pt x="14786" y="10211"/>
                  </a:cubicBezTo>
                  <a:cubicBezTo>
                    <a:pt x="14786" y="7069"/>
                    <a:pt x="14666" y="5891"/>
                    <a:pt x="14567" y="5891"/>
                  </a:cubicBezTo>
                  <a:moveTo>
                    <a:pt x="13887" y="17280"/>
                  </a:moveTo>
                  <a:cubicBezTo>
                    <a:pt x="13807" y="18851"/>
                    <a:pt x="13727" y="19636"/>
                    <a:pt x="13647" y="19636"/>
                  </a:cubicBezTo>
                  <a:cubicBezTo>
                    <a:pt x="13587" y="19636"/>
                    <a:pt x="13507" y="18851"/>
                    <a:pt x="13507" y="17673"/>
                  </a:cubicBezTo>
                  <a:cubicBezTo>
                    <a:pt x="13507" y="15316"/>
                    <a:pt x="13627" y="14138"/>
                    <a:pt x="13887" y="13353"/>
                  </a:cubicBezTo>
                  <a:lnTo>
                    <a:pt x="13887" y="17280"/>
                  </a:lnTo>
                  <a:close/>
                  <a:moveTo>
                    <a:pt x="13987" y="10604"/>
                  </a:moveTo>
                  <a:cubicBezTo>
                    <a:pt x="13987" y="7069"/>
                    <a:pt x="13847" y="5891"/>
                    <a:pt x="13727" y="5891"/>
                  </a:cubicBezTo>
                  <a:cubicBezTo>
                    <a:pt x="13567" y="5891"/>
                    <a:pt x="13488" y="7462"/>
                    <a:pt x="13428" y="9033"/>
                  </a:cubicBezTo>
                  <a:cubicBezTo>
                    <a:pt x="13527" y="10211"/>
                    <a:pt x="13527" y="10211"/>
                    <a:pt x="13527" y="10211"/>
                  </a:cubicBezTo>
                  <a:cubicBezTo>
                    <a:pt x="13547" y="9033"/>
                    <a:pt x="13607" y="7855"/>
                    <a:pt x="13727" y="7855"/>
                  </a:cubicBezTo>
                  <a:cubicBezTo>
                    <a:pt x="13807" y="7855"/>
                    <a:pt x="13887" y="8640"/>
                    <a:pt x="13887" y="10604"/>
                  </a:cubicBezTo>
                  <a:cubicBezTo>
                    <a:pt x="13887" y="11389"/>
                    <a:pt x="13887" y="11389"/>
                    <a:pt x="13887" y="11389"/>
                  </a:cubicBezTo>
                  <a:cubicBezTo>
                    <a:pt x="13547" y="12567"/>
                    <a:pt x="13408" y="14138"/>
                    <a:pt x="13408" y="17280"/>
                  </a:cubicBezTo>
                  <a:cubicBezTo>
                    <a:pt x="13408" y="20029"/>
                    <a:pt x="13507" y="21600"/>
                    <a:pt x="13627" y="21600"/>
                  </a:cubicBezTo>
                  <a:cubicBezTo>
                    <a:pt x="13747" y="21600"/>
                    <a:pt x="13827" y="20422"/>
                    <a:pt x="13887" y="19244"/>
                  </a:cubicBezTo>
                  <a:cubicBezTo>
                    <a:pt x="13887" y="21207"/>
                    <a:pt x="13887" y="21207"/>
                    <a:pt x="13887" y="21207"/>
                  </a:cubicBezTo>
                  <a:cubicBezTo>
                    <a:pt x="14007" y="21207"/>
                    <a:pt x="14007" y="21207"/>
                    <a:pt x="14007" y="21207"/>
                  </a:cubicBezTo>
                  <a:cubicBezTo>
                    <a:pt x="13987" y="20422"/>
                    <a:pt x="13987" y="19636"/>
                    <a:pt x="13987" y="18065"/>
                  </a:cubicBezTo>
                  <a:lnTo>
                    <a:pt x="13987" y="10604"/>
                  </a:lnTo>
                  <a:close/>
                  <a:moveTo>
                    <a:pt x="12988" y="7855"/>
                  </a:moveTo>
                  <a:cubicBezTo>
                    <a:pt x="13088" y="7855"/>
                    <a:pt x="13168" y="9425"/>
                    <a:pt x="13168" y="12567"/>
                  </a:cubicBezTo>
                  <a:cubicBezTo>
                    <a:pt x="12768" y="12567"/>
                    <a:pt x="12768" y="12567"/>
                    <a:pt x="12768" y="12567"/>
                  </a:cubicBezTo>
                  <a:cubicBezTo>
                    <a:pt x="12788" y="9425"/>
                    <a:pt x="12848" y="7855"/>
                    <a:pt x="12988" y="7855"/>
                  </a:cubicBezTo>
                  <a:moveTo>
                    <a:pt x="12988" y="19636"/>
                  </a:moveTo>
                  <a:cubicBezTo>
                    <a:pt x="12868" y="19636"/>
                    <a:pt x="12768" y="17673"/>
                    <a:pt x="12768" y="14138"/>
                  </a:cubicBezTo>
                  <a:cubicBezTo>
                    <a:pt x="13268" y="14138"/>
                    <a:pt x="13268" y="14138"/>
                    <a:pt x="13268" y="14138"/>
                  </a:cubicBezTo>
                  <a:cubicBezTo>
                    <a:pt x="13268" y="12960"/>
                    <a:pt x="13268" y="12960"/>
                    <a:pt x="13268" y="12960"/>
                  </a:cubicBezTo>
                  <a:cubicBezTo>
                    <a:pt x="13268" y="7855"/>
                    <a:pt x="13128" y="5891"/>
                    <a:pt x="12968" y="5891"/>
                  </a:cubicBezTo>
                  <a:cubicBezTo>
                    <a:pt x="12788" y="5891"/>
                    <a:pt x="12668" y="9033"/>
                    <a:pt x="12668" y="13745"/>
                  </a:cubicBezTo>
                  <a:cubicBezTo>
                    <a:pt x="12668" y="19244"/>
                    <a:pt x="12828" y="21600"/>
                    <a:pt x="12988" y="21600"/>
                  </a:cubicBezTo>
                  <a:cubicBezTo>
                    <a:pt x="13168" y="21600"/>
                    <a:pt x="13248" y="19636"/>
                    <a:pt x="13288" y="18065"/>
                  </a:cubicBezTo>
                  <a:cubicBezTo>
                    <a:pt x="13208" y="17280"/>
                    <a:pt x="13208" y="17280"/>
                    <a:pt x="13208" y="17280"/>
                  </a:cubicBezTo>
                  <a:cubicBezTo>
                    <a:pt x="13168" y="18851"/>
                    <a:pt x="13088" y="19636"/>
                    <a:pt x="12988" y="19636"/>
                  </a:cubicBezTo>
                  <a:moveTo>
                    <a:pt x="12269" y="5891"/>
                  </a:moveTo>
                  <a:cubicBezTo>
                    <a:pt x="12169" y="5891"/>
                    <a:pt x="12089" y="7069"/>
                    <a:pt x="12029" y="8247"/>
                  </a:cubicBezTo>
                  <a:cubicBezTo>
                    <a:pt x="11989" y="7069"/>
                    <a:pt x="11929" y="5891"/>
                    <a:pt x="11829" y="5891"/>
                  </a:cubicBezTo>
                  <a:cubicBezTo>
                    <a:pt x="11749" y="5891"/>
                    <a:pt x="11669" y="6676"/>
                    <a:pt x="11609" y="8247"/>
                  </a:cubicBezTo>
                  <a:cubicBezTo>
                    <a:pt x="11589" y="8247"/>
                    <a:pt x="11589" y="8247"/>
                    <a:pt x="11589" y="8247"/>
                  </a:cubicBezTo>
                  <a:cubicBezTo>
                    <a:pt x="11589" y="6284"/>
                    <a:pt x="11589" y="6284"/>
                    <a:pt x="11589" y="6284"/>
                  </a:cubicBezTo>
                  <a:cubicBezTo>
                    <a:pt x="11489" y="6284"/>
                    <a:pt x="11489" y="6284"/>
                    <a:pt x="11489" y="6284"/>
                  </a:cubicBezTo>
                  <a:cubicBezTo>
                    <a:pt x="11489" y="21207"/>
                    <a:pt x="11489" y="21207"/>
                    <a:pt x="11489" y="21207"/>
                  </a:cubicBezTo>
                  <a:cubicBezTo>
                    <a:pt x="11589" y="21207"/>
                    <a:pt x="11589" y="21207"/>
                    <a:pt x="11589" y="21207"/>
                  </a:cubicBezTo>
                  <a:cubicBezTo>
                    <a:pt x="11589" y="10211"/>
                    <a:pt x="11589" y="10211"/>
                    <a:pt x="11589" y="10211"/>
                  </a:cubicBezTo>
                  <a:cubicBezTo>
                    <a:pt x="11649" y="9033"/>
                    <a:pt x="11709" y="7855"/>
                    <a:pt x="11809" y="7855"/>
                  </a:cubicBezTo>
                  <a:cubicBezTo>
                    <a:pt x="11889" y="7855"/>
                    <a:pt x="11929" y="8640"/>
                    <a:pt x="11929" y="10604"/>
                  </a:cubicBezTo>
                  <a:cubicBezTo>
                    <a:pt x="11929" y="21207"/>
                    <a:pt x="11929" y="21207"/>
                    <a:pt x="11929" y="21207"/>
                  </a:cubicBezTo>
                  <a:cubicBezTo>
                    <a:pt x="12029" y="21207"/>
                    <a:pt x="12029" y="21207"/>
                    <a:pt x="12029" y="21207"/>
                  </a:cubicBezTo>
                  <a:cubicBezTo>
                    <a:pt x="12029" y="10211"/>
                    <a:pt x="12029" y="10211"/>
                    <a:pt x="12029" y="10211"/>
                  </a:cubicBezTo>
                  <a:cubicBezTo>
                    <a:pt x="12089" y="9033"/>
                    <a:pt x="12149" y="7855"/>
                    <a:pt x="12249" y="7855"/>
                  </a:cubicBezTo>
                  <a:cubicBezTo>
                    <a:pt x="12329" y="7855"/>
                    <a:pt x="12369" y="8640"/>
                    <a:pt x="12369" y="10604"/>
                  </a:cubicBezTo>
                  <a:cubicBezTo>
                    <a:pt x="12369" y="21207"/>
                    <a:pt x="12369" y="21207"/>
                    <a:pt x="12369" y="21207"/>
                  </a:cubicBezTo>
                  <a:cubicBezTo>
                    <a:pt x="12468" y="21207"/>
                    <a:pt x="12468" y="21207"/>
                    <a:pt x="12468" y="21207"/>
                  </a:cubicBezTo>
                  <a:cubicBezTo>
                    <a:pt x="12468" y="10604"/>
                    <a:pt x="12468" y="10604"/>
                    <a:pt x="12468" y="10604"/>
                  </a:cubicBezTo>
                  <a:cubicBezTo>
                    <a:pt x="12468" y="6676"/>
                    <a:pt x="12369" y="5891"/>
                    <a:pt x="12269" y="5891"/>
                  </a:cubicBezTo>
                  <a:moveTo>
                    <a:pt x="10550" y="5891"/>
                  </a:moveTo>
                  <a:cubicBezTo>
                    <a:pt x="10470" y="5891"/>
                    <a:pt x="10390" y="7069"/>
                    <a:pt x="10330" y="8247"/>
                  </a:cubicBezTo>
                  <a:cubicBezTo>
                    <a:pt x="10330" y="8247"/>
                    <a:pt x="10330" y="8247"/>
                    <a:pt x="10330" y="8247"/>
                  </a:cubicBezTo>
                  <a:cubicBezTo>
                    <a:pt x="10330" y="6284"/>
                    <a:pt x="10330" y="6284"/>
                    <a:pt x="10330" y="6284"/>
                  </a:cubicBezTo>
                  <a:cubicBezTo>
                    <a:pt x="10231" y="6284"/>
                    <a:pt x="10231" y="6284"/>
                    <a:pt x="10231" y="6284"/>
                  </a:cubicBezTo>
                  <a:cubicBezTo>
                    <a:pt x="10231" y="21207"/>
                    <a:pt x="10231" y="21207"/>
                    <a:pt x="10231" y="21207"/>
                  </a:cubicBezTo>
                  <a:cubicBezTo>
                    <a:pt x="10330" y="21207"/>
                    <a:pt x="10330" y="21207"/>
                    <a:pt x="10330" y="21207"/>
                  </a:cubicBezTo>
                  <a:cubicBezTo>
                    <a:pt x="10330" y="10211"/>
                    <a:pt x="10330" y="10211"/>
                    <a:pt x="10330" y="10211"/>
                  </a:cubicBezTo>
                  <a:cubicBezTo>
                    <a:pt x="10370" y="9033"/>
                    <a:pt x="10470" y="7855"/>
                    <a:pt x="10550" y="7855"/>
                  </a:cubicBezTo>
                  <a:cubicBezTo>
                    <a:pt x="10630" y="7855"/>
                    <a:pt x="10670" y="8247"/>
                    <a:pt x="10670" y="10211"/>
                  </a:cubicBezTo>
                  <a:cubicBezTo>
                    <a:pt x="10670" y="21207"/>
                    <a:pt x="10670" y="21207"/>
                    <a:pt x="10670" y="21207"/>
                  </a:cubicBezTo>
                  <a:cubicBezTo>
                    <a:pt x="10770" y="21207"/>
                    <a:pt x="10770" y="21207"/>
                    <a:pt x="10770" y="21207"/>
                  </a:cubicBezTo>
                  <a:cubicBezTo>
                    <a:pt x="10770" y="10211"/>
                    <a:pt x="10770" y="10211"/>
                    <a:pt x="10770" y="10211"/>
                  </a:cubicBezTo>
                  <a:cubicBezTo>
                    <a:pt x="10770" y="7069"/>
                    <a:pt x="10670" y="5891"/>
                    <a:pt x="10550" y="5891"/>
                  </a:cubicBezTo>
                  <a:moveTo>
                    <a:pt x="9711" y="19636"/>
                  </a:moveTo>
                  <a:cubicBezTo>
                    <a:pt x="9591" y="19636"/>
                    <a:pt x="9511" y="17673"/>
                    <a:pt x="9511" y="13745"/>
                  </a:cubicBezTo>
                  <a:cubicBezTo>
                    <a:pt x="9511" y="9818"/>
                    <a:pt x="9591" y="7855"/>
                    <a:pt x="9711" y="7855"/>
                  </a:cubicBezTo>
                  <a:cubicBezTo>
                    <a:pt x="9851" y="7855"/>
                    <a:pt x="9931" y="9818"/>
                    <a:pt x="9931" y="13745"/>
                  </a:cubicBezTo>
                  <a:cubicBezTo>
                    <a:pt x="9931" y="17673"/>
                    <a:pt x="9851" y="19636"/>
                    <a:pt x="9711" y="19636"/>
                  </a:cubicBezTo>
                  <a:moveTo>
                    <a:pt x="9711" y="5891"/>
                  </a:moveTo>
                  <a:cubicBezTo>
                    <a:pt x="9511" y="5891"/>
                    <a:pt x="9411" y="9425"/>
                    <a:pt x="9411" y="13745"/>
                  </a:cubicBezTo>
                  <a:cubicBezTo>
                    <a:pt x="9411" y="18065"/>
                    <a:pt x="9511" y="21600"/>
                    <a:pt x="9711" y="21600"/>
                  </a:cubicBezTo>
                  <a:cubicBezTo>
                    <a:pt x="9931" y="21600"/>
                    <a:pt x="10031" y="18065"/>
                    <a:pt x="10031" y="13745"/>
                  </a:cubicBezTo>
                  <a:cubicBezTo>
                    <a:pt x="10031" y="9425"/>
                    <a:pt x="9931" y="5891"/>
                    <a:pt x="9711" y="5891"/>
                  </a:cubicBezTo>
                  <a:moveTo>
                    <a:pt x="9092" y="21207"/>
                  </a:moveTo>
                  <a:cubicBezTo>
                    <a:pt x="9191" y="21207"/>
                    <a:pt x="9191" y="21207"/>
                    <a:pt x="9191" y="21207"/>
                  </a:cubicBezTo>
                  <a:cubicBezTo>
                    <a:pt x="9191" y="6284"/>
                    <a:pt x="9191" y="6284"/>
                    <a:pt x="9191" y="6284"/>
                  </a:cubicBezTo>
                  <a:cubicBezTo>
                    <a:pt x="9092" y="6284"/>
                    <a:pt x="9092" y="6284"/>
                    <a:pt x="9092" y="6284"/>
                  </a:cubicBezTo>
                  <a:lnTo>
                    <a:pt x="9092" y="21207"/>
                  </a:lnTo>
                  <a:close/>
                  <a:moveTo>
                    <a:pt x="9092" y="2749"/>
                  </a:moveTo>
                  <a:cubicBezTo>
                    <a:pt x="9191" y="2749"/>
                    <a:pt x="9191" y="2749"/>
                    <a:pt x="9191" y="2749"/>
                  </a:cubicBezTo>
                  <a:cubicBezTo>
                    <a:pt x="9191" y="0"/>
                    <a:pt x="9191" y="0"/>
                    <a:pt x="9191" y="0"/>
                  </a:cubicBezTo>
                  <a:cubicBezTo>
                    <a:pt x="9092" y="0"/>
                    <a:pt x="9092" y="0"/>
                    <a:pt x="9092" y="0"/>
                  </a:cubicBezTo>
                  <a:lnTo>
                    <a:pt x="9092" y="2749"/>
                  </a:lnTo>
                  <a:close/>
                  <a:moveTo>
                    <a:pt x="8692" y="18851"/>
                  </a:moveTo>
                  <a:cubicBezTo>
                    <a:pt x="8692" y="7855"/>
                    <a:pt x="8692" y="7855"/>
                    <a:pt x="8692" y="7855"/>
                  </a:cubicBezTo>
                  <a:cubicBezTo>
                    <a:pt x="8872" y="7855"/>
                    <a:pt x="8872" y="7855"/>
                    <a:pt x="8872" y="7855"/>
                  </a:cubicBezTo>
                  <a:cubicBezTo>
                    <a:pt x="8872" y="6284"/>
                    <a:pt x="8872" y="6284"/>
                    <a:pt x="8872" y="6284"/>
                  </a:cubicBezTo>
                  <a:cubicBezTo>
                    <a:pt x="8692" y="6284"/>
                    <a:pt x="8692" y="6284"/>
                    <a:pt x="8692" y="6284"/>
                  </a:cubicBezTo>
                  <a:cubicBezTo>
                    <a:pt x="8692" y="1178"/>
                    <a:pt x="8692" y="1178"/>
                    <a:pt x="8692" y="1178"/>
                  </a:cubicBezTo>
                  <a:cubicBezTo>
                    <a:pt x="8592" y="1178"/>
                    <a:pt x="8592" y="1178"/>
                    <a:pt x="8592" y="1178"/>
                  </a:cubicBezTo>
                  <a:cubicBezTo>
                    <a:pt x="8592" y="6284"/>
                    <a:pt x="8592" y="6284"/>
                    <a:pt x="8592" y="6284"/>
                  </a:cubicBezTo>
                  <a:cubicBezTo>
                    <a:pt x="8452" y="6284"/>
                    <a:pt x="8452" y="6284"/>
                    <a:pt x="8452" y="6284"/>
                  </a:cubicBezTo>
                  <a:cubicBezTo>
                    <a:pt x="8452" y="7855"/>
                    <a:pt x="8452" y="7855"/>
                    <a:pt x="8452" y="7855"/>
                  </a:cubicBezTo>
                  <a:cubicBezTo>
                    <a:pt x="8592" y="7855"/>
                    <a:pt x="8592" y="7855"/>
                    <a:pt x="8592" y="7855"/>
                  </a:cubicBezTo>
                  <a:cubicBezTo>
                    <a:pt x="8592" y="19244"/>
                    <a:pt x="8592" y="19244"/>
                    <a:pt x="8592" y="19244"/>
                  </a:cubicBezTo>
                  <a:cubicBezTo>
                    <a:pt x="8592" y="21207"/>
                    <a:pt x="8632" y="21600"/>
                    <a:pt x="8752" y="21600"/>
                  </a:cubicBezTo>
                  <a:cubicBezTo>
                    <a:pt x="8812" y="21600"/>
                    <a:pt x="8852" y="21600"/>
                    <a:pt x="8872" y="21207"/>
                  </a:cubicBezTo>
                  <a:cubicBezTo>
                    <a:pt x="8872" y="19636"/>
                    <a:pt x="8872" y="19636"/>
                    <a:pt x="8872" y="19636"/>
                  </a:cubicBezTo>
                  <a:cubicBezTo>
                    <a:pt x="8852" y="19636"/>
                    <a:pt x="8812" y="19636"/>
                    <a:pt x="8772" y="19636"/>
                  </a:cubicBezTo>
                  <a:cubicBezTo>
                    <a:pt x="8712" y="19636"/>
                    <a:pt x="8692" y="19636"/>
                    <a:pt x="8692" y="18851"/>
                  </a:cubicBezTo>
                  <a:moveTo>
                    <a:pt x="8232" y="17280"/>
                  </a:moveTo>
                  <a:cubicBezTo>
                    <a:pt x="8152" y="18851"/>
                    <a:pt x="8073" y="19636"/>
                    <a:pt x="7993" y="19636"/>
                  </a:cubicBezTo>
                  <a:cubicBezTo>
                    <a:pt x="7933" y="19636"/>
                    <a:pt x="7853" y="18851"/>
                    <a:pt x="7853" y="17673"/>
                  </a:cubicBezTo>
                  <a:cubicBezTo>
                    <a:pt x="7853" y="15316"/>
                    <a:pt x="7973" y="14138"/>
                    <a:pt x="8232" y="13353"/>
                  </a:cubicBezTo>
                  <a:lnTo>
                    <a:pt x="8232" y="17280"/>
                  </a:lnTo>
                  <a:close/>
                  <a:moveTo>
                    <a:pt x="8332" y="10604"/>
                  </a:moveTo>
                  <a:cubicBezTo>
                    <a:pt x="8332" y="7069"/>
                    <a:pt x="8192" y="5891"/>
                    <a:pt x="8073" y="5891"/>
                  </a:cubicBezTo>
                  <a:cubicBezTo>
                    <a:pt x="7913" y="5891"/>
                    <a:pt x="7833" y="7462"/>
                    <a:pt x="7773" y="9033"/>
                  </a:cubicBezTo>
                  <a:cubicBezTo>
                    <a:pt x="7873" y="10211"/>
                    <a:pt x="7873" y="10211"/>
                    <a:pt x="7873" y="10211"/>
                  </a:cubicBezTo>
                  <a:cubicBezTo>
                    <a:pt x="7893" y="9033"/>
                    <a:pt x="7953" y="7855"/>
                    <a:pt x="8073" y="7855"/>
                  </a:cubicBezTo>
                  <a:cubicBezTo>
                    <a:pt x="8152" y="7855"/>
                    <a:pt x="8232" y="8640"/>
                    <a:pt x="8232" y="10604"/>
                  </a:cubicBezTo>
                  <a:cubicBezTo>
                    <a:pt x="8232" y="11389"/>
                    <a:pt x="8232" y="11389"/>
                    <a:pt x="8232" y="11389"/>
                  </a:cubicBezTo>
                  <a:cubicBezTo>
                    <a:pt x="7893" y="12567"/>
                    <a:pt x="7753" y="14138"/>
                    <a:pt x="7753" y="17280"/>
                  </a:cubicBezTo>
                  <a:cubicBezTo>
                    <a:pt x="7753" y="20029"/>
                    <a:pt x="7853" y="21600"/>
                    <a:pt x="7973" y="21600"/>
                  </a:cubicBezTo>
                  <a:cubicBezTo>
                    <a:pt x="8093" y="21600"/>
                    <a:pt x="8172" y="20422"/>
                    <a:pt x="8232" y="19244"/>
                  </a:cubicBezTo>
                  <a:cubicBezTo>
                    <a:pt x="8232" y="21207"/>
                    <a:pt x="8232" y="21207"/>
                    <a:pt x="8232" y="21207"/>
                  </a:cubicBezTo>
                  <a:cubicBezTo>
                    <a:pt x="8352" y="21207"/>
                    <a:pt x="8352" y="21207"/>
                    <a:pt x="8352" y="21207"/>
                  </a:cubicBezTo>
                  <a:cubicBezTo>
                    <a:pt x="8332" y="20422"/>
                    <a:pt x="8332" y="19636"/>
                    <a:pt x="8332" y="18065"/>
                  </a:cubicBezTo>
                  <a:lnTo>
                    <a:pt x="8332" y="10604"/>
                  </a:lnTo>
                  <a:close/>
                  <a:moveTo>
                    <a:pt x="7353" y="18851"/>
                  </a:moveTo>
                  <a:cubicBezTo>
                    <a:pt x="7353" y="18851"/>
                    <a:pt x="7353" y="18851"/>
                    <a:pt x="7353" y="18851"/>
                  </a:cubicBezTo>
                  <a:cubicBezTo>
                    <a:pt x="7173" y="6284"/>
                    <a:pt x="7173" y="6284"/>
                    <a:pt x="7173" y="6284"/>
                  </a:cubicBezTo>
                  <a:cubicBezTo>
                    <a:pt x="7053" y="6284"/>
                    <a:pt x="7053" y="6284"/>
                    <a:pt x="7053" y="6284"/>
                  </a:cubicBezTo>
                  <a:cubicBezTo>
                    <a:pt x="7293" y="21207"/>
                    <a:pt x="7293" y="21207"/>
                    <a:pt x="7293" y="21207"/>
                  </a:cubicBezTo>
                  <a:cubicBezTo>
                    <a:pt x="7433" y="21207"/>
                    <a:pt x="7433" y="21207"/>
                    <a:pt x="7433" y="21207"/>
                  </a:cubicBezTo>
                  <a:cubicBezTo>
                    <a:pt x="7673" y="6284"/>
                    <a:pt x="7673" y="6284"/>
                    <a:pt x="7673" y="6284"/>
                  </a:cubicBezTo>
                  <a:cubicBezTo>
                    <a:pt x="7553" y="6284"/>
                    <a:pt x="7553" y="6284"/>
                    <a:pt x="7553" y="6284"/>
                  </a:cubicBezTo>
                  <a:lnTo>
                    <a:pt x="7353" y="18851"/>
                  </a:lnTo>
                  <a:close/>
                  <a:moveTo>
                    <a:pt x="6654" y="19636"/>
                  </a:moveTo>
                  <a:cubicBezTo>
                    <a:pt x="6534" y="19636"/>
                    <a:pt x="6454" y="17673"/>
                    <a:pt x="6454" y="13745"/>
                  </a:cubicBezTo>
                  <a:cubicBezTo>
                    <a:pt x="6454" y="9818"/>
                    <a:pt x="6534" y="7855"/>
                    <a:pt x="6654" y="7855"/>
                  </a:cubicBezTo>
                  <a:cubicBezTo>
                    <a:pt x="6794" y="7855"/>
                    <a:pt x="6874" y="9818"/>
                    <a:pt x="6874" y="13745"/>
                  </a:cubicBezTo>
                  <a:cubicBezTo>
                    <a:pt x="6874" y="17673"/>
                    <a:pt x="6794" y="19636"/>
                    <a:pt x="6654" y="19636"/>
                  </a:cubicBezTo>
                  <a:moveTo>
                    <a:pt x="6654" y="5891"/>
                  </a:moveTo>
                  <a:cubicBezTo>
                    <a:pt x="6454" y="5891"/>
                    <a:pt x="6354" y="9425"/>
                    <a:pt x="6354" y="13745"/>
                  </a:cubicBezTo>
                  <a:cubicBezTo>
                    <a:pt x="6354" y="18065"/>
                    <a:pt x="6454" y="21600"/>
                    <a:pt x="6654" y="21600"/>
                  </a:cubicBezTo>
                  <a:cubicBezTo>
                    <a:pt x="6874" y="21600"/>
                    <a:pt x="6974" y="18065"/>
                    <a:pt x="6974" y="13745"/>
                  </a:cubicBezTo>
                  <a:cubicBezTo>
                    <a:pt x="6974" y="9425"/>
                    <a:pt x="6874" y="5891"/>
                    <a:pt x="6654" y="5891"/>
                  </a:cubicBezTo>
                  <a:moveTo>
                    <a:pt x="5935" y="5891"/>
                  </a:moveTo>
                  <a:cubicBezTo>
                    <a:pt x="5855" y="5891"/>
                    <a:pt x="5775" y="7069"/>
                    <a:pt x="5715" y="8247"/>
                  </a:cubicBezTo>
                  <a:cubicBezTo>
                    <a:pt x="5695" y="8247"/>
                    <a:pt x="5695" y="8247"/>
                    <a:pt x="5695" y="8247"/>
                  </a:cubicBezTo>
                  <a:cubicBezTo>
                    <a:pt x="5695" y="6284"/>
                    <a:pt x="5695" y="6284"/>
                    <a:pt x="5695" y="6284"/>
                  </a:cubicBezTo>
                  <a:cubicBezTo>
                    <a:pt x="5595" y="6284"/>
                    <a:pt x="5595" y="6284"/>
                    <a:pt x="5595" y="6284"/>
                  </a:cubicBezTo>
                  <a:cubicBezTo>
                    <a:pt x="5595" y="21207"/>
                    <a:pt x="5595" y="21207"/>
                    <a:pt x="5595" y="21207"/>
                  </a:cubicBezTo>
                  <a:cubicBezTo>
                    <a:pt x="5695" y="21207"/>
                    <a:pt x="5695" y="21207"/>
                    <a:pt x="5695" y="21207"/>
                  </a:cubicBezTo>
                  <a:cubicBezTo>
                    <a:pt x="5695" y="10211"/>
                    <a:pt x="5695" y="10211"/>
                    <a:pt x="5695" y="10211"/>
                  </a:cubicBezTo>
                  <a:cubicBezTo>
                    <a:pt x="5755" y="9033"/>
                    <a:pt x="5835" y="7855"/>
                    <a:pt x="5915" y="7855"/>
                  </a:cubicBezTo>
                  <a:cubicBezTo>
                    <a:pt x="5994" y="7855"/>
                    <a:pt x="6054" y="8247"/>
                    <a:pt x="6054" y="10211"/>
                  </a:cubicBezTo>
                  <a:cubicBezTo>
                    <a:pt x="6054" y="21207"/>
                    <a:pt x="6054" y="21207"/>
                    <a:pt x="6054" y="21207"/>
                  </a:cubicBezTo>
                  <a:cubicBezTo>
                    <a:pt x="6154" y="21207"/>
                    <a:pt x="6154" y="21207"/>
                    <a:pt x="6154" y="21207"/>
                  </a:cubicBezTo>
                  <a:cubicBezTo>
                    <a:pt x="6154" y="10211"/>
                    <a:pt x="6154" y="10211"/>
                    <a:pt x="6154" y="10211"/>
                  </a:cubicBezTo>
                  <a:cubicBezTo>
                    <a:pt x="6154" y="7069"/>
                    <a:pt x="6054" y="5891"/>
                    <a:pt x="5935" y="5891"/>
                  </a:cubicBezTo>
                  <a:moveTo>
                    <a:pt x="5115" y="5891"/>
                  </a:moveTo>
                  <a:cubicBezTo>
                    <a:pt x="5015" y="5891"/>
                    <a:pt x="4935" y="7069"/>
                    <a:pt x="4875" y="8247"/>
                  </a:cubicBezTo>
                  <a:cubicBezTo>
                    <a:pt x="4875" y="8247"/>
                    <a:pt x="4875" y="8247"/>
                    <a:pt x="4875" y="8247"/>
                  </a:cubicBezTo>
                  <a:cubicBezTo>
                    <a:pt x="4875" y="6284"/>
                    <a:pt x="4875" y="6284"/>
                    <a:pt x="4875" y="6284"/>
                  </a:cubicBezTo>
                  <a:cubicBezTo>
                    <a:pt x="4776" y="6284"/>
                    <a:pt x="4776" y="6284"/>
                    <a:pt x="4776" y="6284"/>
                  </a:cubicBezTo>
                  <a:cubicBezTo>
                    <a:pt x="4776" y="21207"/>
                    <a:pt x="4776" y="21207"/>
                    <a:pt x="4776" y="21207"/>
                  </a:cubicBezTo>
                  <a:cubicBezTo>
                    <a:pt x="4875" y="21207"/>
                    <a:pt x="4875" y="21207"/>
                    <a:pt x="4875" y="21207"/>
                  </a:cubicBezTo>
                  <a:cubicBezTo>
                    <a:pt x="4875" y="10211"/>
                    <a:pt x="4875" y="10211"/>
                    <a:pt x="4875" y="10211"/>
                  </a:cubicBezTo>
                  <a:cubicBezTo>
                    <a:pt x="4915" y="9033"/>
                    <a:pt x="5015" y="7855"/>
                    <a:pt x="5095" y="7855"/>
                  </a:cubicBezTo>
                  <a:cubicBezTo>
                    <a:pt x="5175" y="7855"/>
                    <a:pt x="5215" y="8247"/>
                    <a:pt x="5215" y="10211"/>
                  </a:cubicBezTo>
                  <a:cubicBezTo>
                    <a:pt x="5215" y="21207"/>
                    <a:pt x="5215" y="21207"/>
                    <a:pt x="5215" y="21207"/>
                  </a:cubicBezTo>
                  <a:cubicBezTo>
                    <a:pt x="5335" y="21207"/>
                    <a:pt x="5335" y="21207"/>
                    <a:pt x="5335" y="21207"/>
                  </a:cubicBezTo>
                  <a:cubicBezTo>
                    <a:pt x="5335" y="10211"/>
                    <a:pt x="5335" y="10211"/>
                    <a:pt x="5335" y="10211"/>
                  </a:cubicBezTo>
                  <a:cubicBezTo>
                    <a:pt x="5335" y="7069"/>
                    <a:pt x="5215" y="5891"/>
                    <a:pt x="5115" y="5891"/>
                  </a:cubicBezTo>
                  <a:moveTo>
                    <a:pt x="4376" y="2749"/>
                  </a:moveTo>
                  <a:cubicBezTo>
                    <a:pt x="4476" y="2749"/>
                    <a:pt x="4476" y="2749"/>
                    <a:pt x="4476" y="2749"/>
                  </a:cubicBezTo>
                  <a:cubicBezTo>
                    <a:pt x="4476" y="0"/>
                    <a:pt x="4476" y="0"/>
                    <a:pt x="4476" y="0"/>
                  </a:cubicBezTo>
                  <a:cubicBezTo>
                    <a:pt x="4376" y="0"/>
                    <a:pt x="4376" y="0"/>
                    <a:pt x="4376" y="0"/>
                  </a:cubicBezTo>
                  <a:lnTo>
                    <a:pt x="4376" y="2749"/>
                  </a:lnTo>
                  <a:close/>
                  <a:moveTo>
                    <a:pt x="4376" y="21207"/>
                  </a:moveTo>
                  <a:cubicBezTo>
                    <a:pt x="4476" y="21207"/>
                    <a:pt x="4476" y="21207"/>
                    <a:pt x="4476" y="21207"/>
                  </a:cubicBezTo>
                  <a:cubicBezTo>
                    <a:pt x="4476" y="6284"/>
                    <a:pt x="4476" y="6284"/>
                    <a:pt x="4476" y="6284"/>
                  </a:cubicBezTo>
                  <a:cubicBezTo>
                    <a:pt x="4376" y="6284"/>
                    <a:pt x="4376" y="6284"/>
                    <a:pt x="4376" y="6284"/>
                  </a:cubicBezTo>
                  <a:lnTo>
                    <a:pt x="4376" y="21207"/>
                  </a:lnTo>
                  <a:close/>
                  <a:moveTo>
                    <a:pt x="3397" y="7855"/>
                  </a:moveTo>
                  <a:cubicBezTo>
                    <a:pt x="3517" y="7855"/>
                    <a:pt x="3577" y="9425"/>
                    <a:pt x="3577" y="12567"/>
                  </a:cubicBezTo>
                  <a:cubicBezTo>
                    <a:pt x="3197" y="12567"/>
                    <a:pt x="3197" y="12567"/>
                    <a:pt x="3197" y="12567"/>
                  </a:cubicBezTo>
                  <a:cubicBezTo>
                    <a:pt x="3197" y="9425"/>
                    <a:pt x="3277" y="7855"/>
                    <a:pt x="3397" y="7855"/>
                  </a:cubicBezTo>
                  <a:moveTo>
                    <a:pt x="3417" y="19636"/>
                  </a:moveTo>
                  <a:cubicBezTo>
                    <a:pt x="3297" y="19636"/>
                    <a:pt x="3197" y="17673"/>
                    <a:pt x="3197" y="14138"/>
                  </a:cubicBezTo>
                  <a:cubicBezTo>
                    <a:pt x="3697" y="14138"/>
                    <a:pt x="3697" y="14138"/>
                    <a:pt x="3697" y="14138"/>
                  </a:cubicBezTo>
                  <a:cubicBezTo>
                    <a:pt x="3697" y="12960"/>
                    <a:pt x="3697" y="12960"/>
                    <a:pt x="3697" y="12960"/>
                  </a:cubicBezTo>
                  <a:cubicBezTo>
                    <a:pt x="3697" y="7855"/>
                    <a:pt x="3557" y="5891"/>
                    <a:pt x="3397" y="5891"/>
                  </a:cubicBezTo>
                  <a:cubicBezTo>
                    <a:pt x="3217" y="5891"/>
                    <a:pt x="3077" y="9033"/>
                    <a:pt x="3077" y="13745"/>
                  </a:cubicBezTo>
                  <a:cubicBezTo>
                    <a:pt x="3077" y="19244"/>
                    <a:pt x="3257" y="21600"/>
                    <a:pt x="3417" y="21600"/>
                  </a:cubicBezTo>
                  <a:cubicBezTo>
                    <a:pt x="3597" y="21600"/>
                    <a:pt x="3657" y="19636"/>
                    <a:pt x="3717" y="18065"/>
                  </a:cubicBezTo>
                  <a:cubicBezTo>
                    <a:pt x="3637" y="17280"/>
                    <a:pt x="3637" y="17280"/>
                    <a:pt x="3637" y="17280"/>
                  </a:cubicBezTo>
                  <a:cubicBezTo>
                    <a:pt x="3597" y="18851"/>
                    <a:pt x="3517" y="19636"/>
                    <a:pt x="3417" y="19636"/>
                  </a:cubicBezTo>
                  <a:moveTo>
                    <a:pt x="2737" y="9033"/>
                  </a:moveTo>
                  <a:cubicBezTo>
                    <a:pt x="2737" y="9033"/>
                    <a:pt x="2737" y="9033"/>
                    <a:pt x="2737" y="9033"/>
                  </a:cubicBezTo>
                  <a:cubicBezTo>
                    <a:pt x="2737" y="6284"/>
                    <a:pt x="2737" y="6284"/>
                    <a:pt x="2737" y="6284"/>
                  </a:cubicBezTo>
                  <a:cubicBezTo>
                    <a:pt x="2638" y="6284"/>
                    <a:pt x="2638" y="6284"/>
                    <a:pt x="2638" y="6284"/>
                  </a:cubicBezTo>
                  <a:cubicBezTo>
                    <a:pt x="2638" y="21207"/>
                    <a:pt x="2638" y="21207"/>
                    <a:pt x="2638" y="21207"/>
                  </a:cubicBezTo>
                  <a:cubicBezTo>
                    <a:pt x="2737" y="21207"/>
                    <a:pt x="2737" y="21207"/>
                    <a:pt x="2737" y="21207"/>
                  </a:cubicBezTo>
                  <a:cubicBezTo>
                    <a:pt x="2737" y="12960"/>
                    <a:pt x="2737" y="12960"/>
                    <a:pt x="2737" y="12960"/>
                  </a:cubicBezTo>
                  <a:cubicBezTo>
                    <a:pt x="2797" y="9818"/>
                    <a:pt x="2857" y="8247"/>
                    <a:pt x="2997" y="8247"/>
                  </a:cubicBezTo>
                  <a:cubicBezTo>
                    <a:pt x="2997" y="5891"/>
                    <a:pt x="2997" y="5891"/>
                    <a:pt x="2997" y="5891"/>
                  </a:cubicBezTo>
                  <a:cubicBezTo>
                    <a:pt x="2857" y="5891"/>
                    <a:pt x="2797" y="7069"/>
                    <a:pt x="2737" y="9033"/>
                  </a:cubicBezTo>
                  <a:moveTo>
                    <a:pt x="2158" y="7855"/>
                  </a:moveTo>
                  <a:cubicBezTo>
                    <a:pt x="2278" y="7855"/>
                    <a:pt x="2338" y="9425"/>
                    <a:pt x="2338" y="12567"/>
                  </a:cubicBezTo>
                  <a:cubicBezTo>
                    <a:pt x="1958" y="12567"/>
                    <a:pt x="1958" y="12567"/>
                    <a:pt x="1958" y="12567"/>
                  </a:cubicBezTo>
                  <a:cubicBezTo>
                    <a:pt x="1958" y="9425"/>
                    <a:pt x="2038" y="7855"/>
                    <a:pt x="2158" y="7855"/>
                  </a:cubicBezTo>
                  <a:moveTo>
                    <a:pt x="2178" y="19636"/>
                  </a:moveTo>
                  <a:cubicBezTo>
                    <a:pt x="2058" y="19636"/>
                    <a:pt x="1958" y="17673"/>
                    <a:pt x="1958" y="14138"/>
                  </a:cubicBezTo>
                  <a:cubicBezTo>
                    <a:pt x="2458" y="14138"/>
                    <a:pt x="2458" y="14138"/>
                    <a:pt x="2458" y="14138"/>
                  </a:cubicBezTo>
                  <a:cubicBezTo>
                    <a:pt x="2458" y="12960"/>
                    <a:pt x="2458" y="12960"/>
                    <a:pt x="2458" y="12960"/>
                  </a:cubicBezTo>
                  <a:cubicBezTo>
                    <a:pt x="2458" y="7855"/>
                    <a:pt x="2318" y="5891"/>
                    <a:pt x="2158" y="5891"/>
                  </a:cubicBezTo>
                  <a:cubicBezTo>
                    <a:pt x="1978" y="5891"/>
                    <a:pt x="1838" y="9033"/>
                    <a:pt x="1838" y="13745"/>
                  </a:cubicBezTo>
                  <a:cubicBezTo>
                    <a:pt x="1838" y="19244"/>
                    <a:pt x="2018" y="21600"/>
                    <a:pt x="2178" y="21600"/>
                  </a:cubicBezTo>
                  <a:cubicBezTo>
                    <a:pt x="2358" y="21600"/>
                    <a:pt x="2418" y="19636"/>
                    <a:pt x="2478" y="18065"/>
                  </a:cubicBezTo>
                  <a:cubicBezTo>
                    <a:pt x="2398" y="17280"/>
                    <a:pt x="2398" y="17280"/>
                    <a:pt x="2398" y="17280"/>
                  </a:cubicBezTo>
                  <a:cubicBezTo>
                    <a:pt x="2358" y="18851"/>
                    <a:pt x="2278" y="19636"/>
                    <a:pt x="2178" y="19636"/>
                  </a:cubicBezTo>
                  <a:moveTo>
                    <a:pt x="1439" y="5891"/>
                  </a:moveTo>
                  <a:cubicBezTo>
                    <a:pt x="1339" y="5891"/>
                    <a:pt x="1259" y="7069"/>
                    <a:pt x="1199" y="8247"/>
                  </a:cubicBezTo>
                  <a:cubicBezTo>
                    <a:pt x="1199" y="8247"/>
                    <a:pt x="1199" y="8247"/>
                    <a:pt x="1199" y="8247"/>
                  </a:cubicBezTo>
                  <a:cubicBezTo>
                    <a:pt x="1199" y="393"/>
                    <a:pt x="1199" y="393"/>
                    <a:pt x="1199" y="393"/>
                  </a:cubicBezTo>
                  <a:cubicBezTo>
                    <a:pt x="1099" y="393"/>
                    <a:pt x="1099" y="393"/>
                    <a:pt x="1099" y="393"/>
                  </a:cubicBezTo>
                  <a:cubicBezTo>
                    <a:pt x="1099" y="21207"/>
                    <a:pt x="1099" y="21207"/>
                    <a:pt x="1099" y="21207"/>
                  </a:cubicBezTo>
                  <a:cubicBezTo>
                    <a:pt x="1199" y="21207"/>
                    <a:pt x="1199" y="21207"/>
                    <a:pt x="1199" y="21207"/>
                  </a:cubicBezTo>
                  <a:cubicBezTo>
                    <a:pt x="1199" y="10211"/>
                    <a:pt x="1199" y="10211"/>
                    <a:pt x="1199" y="10211"/>
                  </a:cubicBezTo>
                  <a:cubicBezTo>
                    <a:pt x="1239" y="9033"/>
                    <a:pt x="1339" y="7855"/>
                    <a:pt x="1419" y="7855"/>
                  </a:cubicBezTo>
                  <a:cubicBezTo>
                    <a:pt x="1499" y="7855"/>
                    <a:pt x="1539" y="8247"/>
                    <a:pt x="1539" y="10211"/>
                  </a:cubicBezTo>
                  <a:cubicBezTo>
                    <a:pt x="1539" y="21207"/>
                    <a:pt x="1539" y="21207"/>
                    <a:pt x="1539" y="21207"/>
                  </a:cubicBezTo>
                  <a:cubicBezTo>
                    <a:pt x="1658" y="21207"/>
                    <a:pt x="1658" y="21207"/>
                    <a:pt x="1658" y="21207"/>
                  </a:cubicBezTo>
                  <a:cubicBezTo>
                    <a:pt x="1658" y="10211"/>
                    <a:pt x="1658" y="10211"/>
                    <a:pt x="1658" y="10211"/>
                  </a:cubicBezTo>
                  <a:cubicBezTo>
                    <a:pt x="1658" y="7069"/>
                    <a:pt x="1539" y="5891"/>
                    <a:pt x="1439" y="5891"/>
                  </a:cubicBezTo>
                  <a:moveTo>
                    <a:pt x="679" y="18065"/>
                  </a:moveTo>
                  <a:cubicBezTo>
                    <a:pt x="679" y="18065"/>
                    <a:pt x="679" y="18065"/>
                    <a:pt x="679" y="18065"/>
                  </a:cubicBezTo>
                  <a:cubicBezTo>
                    <a:pt x="520" y="6284"/>
                    <a:pt x="520" y="6284"/>
                    <a:pt x="520" y="6284"/>
                  </a:cubicBezTo>
                  <a:cubicBezTo>
                    <a:pt x="420" y="6284"/>
                    <a:pt x="420" y="6284"/>
                    <a:pt x="420" y="6284"/>
                  </a:cubicBezTo>
                  <a:cubicBezTo>
                    <a:pt x="260" y="17673"/>
                    <a:pt x="260" y="17673"/>
                    <a:pt x="260" y="17673"/>
                  </a:cubicBezTo>
                  <a:cubicBezTo>
                    <a:pt x="260" y="17673"/>
                    <a:pt x="260" y="17673"/>
                    <a:pt x="260" y="17673"/>
                  </a:cubicBezTo>
                  <a:cubicBezTo>
                    <a:pt x="100" y="6284"/>
                    <a:pt x="100" y="6284"/>
                    <a:pt x="100" y="6284"/>
                  </a:cubicBezTo>
                  <a:cubicBezTo>
                    <a:pt x="0" y="6284"/>
                    <a:pt x="0" y="6284"/>
                    <a:pt x="0" y="6284"/>
                  </a:cubicBezTo>
                  <a:cubicBezTo>
                    <a:pt x="200" y="21207"/>
                    <a:pt x="200" y="21207"/>
                    <a:pt x="200" y="21207"/>
                  </a:cubicBezTo>
                  <a:cubicBezTo>
                    <a:pt x="320" y="21207"/>
                    <a:pt x="320" y="21207"/>
                    <a:pt x="320" y="21207"/>
                  </a:cubicBezTo>
                  <a:cubicBezTo>
                    <a:pt x="460" y="9818"/>
                    <a:pt x="460" y="9818"/>
                    <a:pt x="460" y="9818"/>
                  </a:cubicBezTo>
                  <a:cubicBezTo>
                    <a:pt x="460" y="9818"/>
                    <a:pt x="460" y="9818"/>
                    <a:pt x="460" y="9818"/>
                  </a:cubicBezTo>
                  <a:cubicBezTo>
                    <a:pt x="619" y="21207"/>
                    <a:pt x="619" y="21207"/>
                    <a:pt x="619" y="21207"/>
                  </a:cubicBezTo>
                  <a:cubicBezTo>
                    <a:pt x="719" y="21207"/>
                    <a:pt x="719" y="21207"/>
                    <a:pt x="719" y="21207"/>
                  </a:cubicBezTo>
                  <a:cubicBezTo>
                    <a:pt x="939" y="6284"/>
                    <a:pt x="939" y="6284"/>
                    <a:pt x="939" y="6284"/>
                  </a:cubicBezTo>
                  <a:cubicBezTo>
                    <a:pt x="819" y="6284"/>
                    <a:pt x="819" y="6284"/>
                    <a:pt x="819" y="6284"/>
                  </a:cubicBezTo>
                  <a:lnTo>
                    <a:pt x="679" y="18065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  <p:sp>
          <p:nvSpPr>
            <p:cNvPr id="456" name="Freeform 7"/>
            <p:cNvSpPr/>
            <p:nvPr/>
          </p:nvSpPr>
          <p:spPr>
            <a:xfrm>
              <a:off x="-1" y="82549"/>
              <a:ext cx="363539" cy="3032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095" y="5445"/>
                  </a:moveTo>
                  <a:cubicBezTo>
                    <a:pt x="20020" y="5445"/>
                    <a:pt x="20020" y="5445"/>
                    <a:pt x="20020" y="5445"/>
                  </a:cubicBezTo>
                  <a:cubicBezTo>
                    <a:pt x="19192" y="5445"/>
                    <a:pt x="18514" y="6353"/>
                    <a:pt x="18514" y="7351"/>
                  </a:cubicBezTo>
                  <a:cubicBezTo>
                    <a:pt x="18514" y="13160"/>
                    <a:pt x="14601" y="17879"/>
                    <a:pt x="9784" y="17879"/>
                  </a:cubicBezTo>
                  <a:cubicBezTo>
                    <a:pt x="6096" y="17879"/>
                    <a:pt x="3086" y="14249"/>
                    <a:pt x="3086" y="9802"/>
                  </a:cubicBezTo>
                  <a:cubicBezTo>
                    <a:pt x="3086" y="6444"/>
                    <a:pt x="5344" y="3721"/>
                    <a:pt x="8128" y="3721"/>
                  </a:cubicBezTo>
                  <a:cubicBezTo>
                    <a:pt x="10236" y="3721"/>
                    <a:pt x="11891" y="5718"/>
                    <a:pt x="11891" y="8168"/>
                  </a:cubicBezTo>
                  <a:cubicBezTo>
                    <a:pt x="11891" y="8440"/>
                    <a:pt x="11816" y="8531"/>
                    <a:pt x="11816" y="8622"/>
                  </a:cubicBezTo>
                  <a:cubicBezTo>
                    <a:pt x="11666" y="8713"/>
                    <a:pt x="11214" y="8713"/>
                    <a:pt x="10762" y="8713"/>
                  </a:cubicBezTo>
                  <a:cubicBezTo>
                    <a:pt x="10537" y="8713"/>
                    <a:pt x="10311" y="8713"/>
                    <a:pt x="10085" y="8713"/>
                  </a:cubicBezTo>
                  <a:cubicBezTo>
                    <a:pt x="9784" y="8713"/>
                    <a:pt x="9483" y="8713"/>
                    <a:pt x="9182" y="8713"/>
                  </a:cubicBezTo>
                  <a:cubicBezTo>
                    <a:pt x="8354" y="8713"/>
                    <a:pt x="7677" y="9529"/>
                    <a:pt x="7677" y="10528"/>
                  </a:cubicBezTo>
                  <a:cubicBezTo>
                    <a:pt x="7677" y="10528"/>
                    <a:pt x="7677" y="10528"/>
                    <a:pt x="7677" y="10528"/>
                  </a:cubicBezTo>
                  <a:cubicBezTo>
                    <a:pt x="7677" y="11526"/>
                    <a:pt x="8354" y="12434"/>
                    <a:pt x="9182" y="12434"/>
                  </a:cubicBezTo>
                  <a:cubicBezTo>
                    <a:pt x="9483" y="12434"/>
                    <a:pt x="9784" y="12434"/>
                    <a:pt x="10010" y="12434"/>
                  </a:cubicBezTo>
                  <a:cubicBezTo>
                    <a:pt x="10311" y="12434"/>
                    <a:pt x="10537" y="12434"/>
                    <a:pt x="10838" y="12434"/>
                  </a:cubicBezTo>
                  <a:cubicBezTo>
                    <a:pt x="12042" y="12434"/>
                    <a:pt x="13171" y="12252"/>
                    <a:pt x="13999" y="11254"/>
                  </a:cubicBezTo>
                  <a:cubicBezTo>
                    <a:pt x="14601" y="10528"/>
                    <a:pt x="14977" y="9529"/>
                    <a:pt x="14977" y="8168"/>
                  </a:cubicBezTo>
                  <a:cubicBezTo>
                    <a:pt x="14977" y="3721"/>
                    <a:pt x="11891" y="0"/>
                    <a:pt x="8128" y="0"/>
                  </a:cubicBezTo>
                  <a:cubicBezTo>
                    <a:pt x="3688" y="0"/>
                    <a:pt x="0" y="4447"/>
                    <a:pt x="0" y="9802"/>
                  </a:cubicBezTo>
                  <a:cubicBezTo>
                    <a:pt x="0" y="16245"/>
                    <a:pt x="4440" y="21600"/>
                    <a:pt x="9784" y="21600"/>
                  </a:cubicBezTo>
                  <a:cubicBezTo>
                    <a:pt x="16256" y="21600"/>
                    <a:pt x="21600" y="15156"/>
                    <a:pt x="21600" y="7351"/>
                  </a:cubicBezTo>
                  <a:cubicBezTo>
                    <a:pt x="21600" y="6353"/>
                    <a:pt x="20923" y="5445"/>
                    <a:pt x="20095" y="5445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  <p:sp>
          <p:nvSpPr>
            <p:cNvPr id="457" name="Freeform 8"/>
            <p:cNvSpPr/>
            <p:nvPr/>
          </p:nvSpPr>
          <p:spPr>
            <a:xfrm>
              <a:off x="295275" y="-1"/>
              <a:ext cx="85726" cy="873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5247"/>
                  </a:moveTo>
                  <a:cubicBezTo>
                    <a:pt x="8259" y="15247"/>
                    <a:pt x="6353" y="13341"/>
                    <a:pt x="6353" y="10800"/>
                  </a:cubicBezTo>
                  <a:cubicBezTo>
                    <a:pt x="6353" y="8576"/>
                    <a:pt x="8259" y="6671"/>
                    <a:pt x="10800" y="6671"/>
                  </a:cubicBezTo>
                  <a:cubicBezTo>
                    <a:pt x="13024" y="6671"/>
                    <a:pt x="14929" y="8576"/>
                    <a:pt x="14929" y="10800"/>
                  </a:cubicBezTo>
                  <a:cubicBezTo>
                    <a:pt x="14929" y="13341"/>
                    <a:pt x="13024" y="15247"/>
                    <a:pt x="10800" y="15247"/>
                  </a:cubicBezTo>
                  <a:moveTo>
                    <a:pt x="10800" y="0"/>
                  </a:moveTo>
                  <a:cubicBezTo>
                    <a:pt x="10800" y="0"/>
                    <a:pt x="10800" y="0"/>
                    <a:pt x="10800" y="0"/>
                  </a:cubicBezTo>
                  <a:cubicBezTo>
                    <a:pt x="4765" y="0"/>
                    <a:pt x="0" y="4765"/>
                    <a:pt x="0" y="10800"/>
                  </a:cubicBezTo>
                  <a:cubicBezTo>
                    <a:pt x="0" y="16835"/>
                    <a:pt x="4765" y="21600"/>
                    <a:pt x="10800" y="21600"/>
                  </a:cubicBezTo>
                  <a:cubicBezTo>
                    <a:pt x="16835" y="21600"/>
                    <a:pt x="21600" y="16835"/>
                    <a:pt x="21600" y="10800"/>
                  </a:cubicBezTo>
                  <a:cubicBezTo>
                    <a:pt x="21600" y="4765"/>
                    <a:pt x="16835" y="0"/>
                    <a:pt x="10800" y="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</p:grpSp>
      <p:sp>
        <p:nvSpPr>
          <p:cNvPr id="459" name="Title Text"/>
          <p:cNvSpPr txBox="1">
            <a:spLocks noGrp="1"/>
          </p:cNvSpPr>
          <p:nvPr>
            <p:ph type="title"/>
          </p:nvPr>
        </p:nvSpPr>
        <p:spPr>
          <a:xfrm>
            <a:off x="719402" y="735288"/>
            <a:ext cx="10515601" cy="605484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itle Text</a:t>
            </a:r>
          </a:p>
        </p:txBody>
      </p:sp>
      <p:sp>
        <p:nvSpPr>
          <p:cNvPr id="460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719402" y="1340694"/>
            <a:ext cx="10515601" cy="1944291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Arial"/>
                <a:ea typeface="Arial"/>
                <a:cs typeface="Arial"/>
                <a:sym typeface="Arial"/>
              </a:defRPr>
            </a:lvl1pPr>
            <a:lvl2pPr marL="628650" indent="-171450">
              <a:defRPr sz="1800">
                <a:latin typeface="Arial"/>
                <a:ea typeface="Arial"/>
                <a:cs typeface="Arial"/>
                <a:sym typeface="Arial"/>
              </a:defRPr>
            </a:lvl2pPr>
            <a:lvl3pPr marL="1120139" indent="-205739">
              <a:defRPr sz="1800">
                <a:latin typeface="Arial"/>
                <a:ea typeface="Arial"/>
                <a:cs typeface="Arial"/>
                <a:sym typeface="Arial"/>
              </a:defRPr>
            </a:lvl3pPr>
            <a:lvl4pPr marL="1600200" indent="-228600">
              <a:defRPr sz="1800">
                <a:latin typeface="Arial"/>
                <a:ea typeface="Arial"/>
                <a:cs typeface="Arial"/>
                <a:sym typeface="Arial"/>
              </a:defRPr>
            </a:lvl4pPr>
            <a:lvl5pPr marL="2057400" indent="-228600">
              <a:defRPr sz="1800">
                <a:latin typeface="Arial"/>
                <a:ea typeface="Arial"/>
                <a:cs typeface="Arial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6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Section Header">
    <p:bg>
      <p:bgPr>
        <a:gradFill flip="none" rotWithShape="1">
          <a:gsLst>
            <a:gs pos="50000">
              <a:srgbClr val="E5E5E2"/>
            </a:gs>
            <a:gs pos="100000">
              <a:srgbClr val="CECEC7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8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rcRect b="9396"/>
          <a:stretch>
            <a:fillRect/>
          </a:stretch>
        </p:blipFill>
        <p:spPr>
          <a:xfrm>
            <a:off x="0" y="-1"/>
            <a:ext cx="12192000" cy="6858002"/>
          </a:xfrm>
          <a:prstGeom prst="rect">
            <a:avLst/>
          </a:prstGeom>
          <a:ln w="12700">
            <a:miter lim="400000"/>
          </a:ln>
        </p:spPr>
      </p:pic>
      <p:pic>
        <p:nvPicPr>
          <p:cNvPr id="469" name="Picture 6" descr="Picture 6"/>
          <p:cNvPicPr>
            <a:picLocks noChangeAspect="1"/>
          </p:cNvPicPr>
          <p:nvPr/>
        </p:nvPicPr>
        <p:blipFill>
          <a:blip r:embed="rId3">
            <a:extLst/>
          </a:blip>
          <a:srcRect b="87606"/>
          <a:stretch>
            <a:fillRect/>
          </a:stretch>
        </p:blipFill>
        <p:spPr>
          <a:xfrm>
            <a:off x="0" y="-1"/>
            <a:ext cx="12192000" cy="931818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474" name="Group 4"/>
          <p:cNvGrpSpPr/>
          <p:nvPr/>
        </p:nvGrpSpPr>
        <p:grpSpPr>
          <a:xfrm>
            <a:off x="10056814" y="238125"/>
            <a:ext cx="1858965" cy="496889"/>
            <a:chOff x="0" y="0"/>
            <a:chExt cx="1858963" cy="496887"/>
          </a:xfrm>
        </p:grpSpPr>
        <p:sp>
          <p:nvSpPr>
            <p:cNvPr id="470" name="Freeform 5"/>
            <p:cNvSpPr/>
            <p:nvPr/>
          </p:nvSpPr>
          <p:spPr>
            <a:xfrm>
              <a:off x="465137" y="-1"/>
              <a:ext cx="1393827" cy="369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53" y="16982"/>
                  </a:moveTo>
                  <a:cubicBezTo>
                    <a:pt x="14753" y="18621"/>
                    <a:pt x="14439" y="19738"/>
                    <a:pt x="14008" y="19738"/>
                  </a:cubicBezTo>
                  <a:cubicBezTo>
                    <a:pt x="13596" y="19738"/>
                    <a:pt x="13596" y="19738"/>
                    <a:pt x="13596" y="19738"/>
                  </a:cubicBezTo>
                  <a:cubicBezTo>
                    <a:pt x="13596" y="14152"/>
                    <a:pt x="13596" y="14152"/>
                    <a:pt x="13596" y="14152"/>
                  </a:cubicBezTo>
                  <a:cubicBezTo>
                    <a:pt x="14008" y="14152"/>
                    <a:pt x="14008" y="14152"/>
                    <a:pt x="14008" y="14152"/>
                  </a:cubicBezTo>
                  <a:cubicBezTo>
                    <a:pt x="14439" y="14152"/>
                    <a:pt x="14753" y="15269"/>
                    <a:pt x="14753" y="16908"/>
                  </a:cubicBezTo>
                  <a:lnTo>
                    <a:pt x="14753" y="16982"/>
                  </a:lnTo>
                  <a:close/>
                  <a:moveTo>
                    <a:pt x="14008" y="12290"/>
                  </a:moveTo>
                  <a:cubicBezTo>
                    <a:pt x="13046" y="12290"/>
                    <a:pt x="13046" y="12290"/>
                    <a:pt x="13046" y="12290"/>
                  </a:cubicBezTo>
                  <a:cubicBezTo>
                    <a:pt x="13046" y="21600"/>
                    <a:pt x="13046" y="21600"/>
                    <a:pt x="13046" y="21600"/>
                  </a:cubicBezTo>
                  <a:cubicBezTo>
                    <a:pt x="14008" y="21600"/>
                    <a:pt x="14008" y="21600"/>
                    <a:pt x="14008" y="21600"/>
                  </a:cubicBezTo>
                  <a:cubicBezTo>
                    <a:pt x="14773" y="21600"/>
                    <a:pt x="15302" y="19589"/>
                    <a:pt x="15302" y="16908"/>
                  </a:cubicBezTo>
                  <a:cubicBezTo>
                    <a:pt x="15302" y="16908"/>
                    <a:pt x="15302" y="16908"/>
                    <a:pt x="15302" y="16908"/>
                  </a:cubicBezTo>
                  <a:cubicBezTo>
                    <a:pt x="15302" y="14301"/>
                    <a:pt x="14773" y="12290"/>
                    <a:pt x="14008" y="12290"/>
                  </a:cubicBezTo>
                  <a:moveTo>
                    <a:pt x="12105" y="18025"/>
                  </a:moveTo>
                  <a:cubicBezTo>
                    <a:pt x="10967" y="12290"/>
                    <a:pt x="10967" y="12290"/>
                    <a:pt x="10967" y="12290"/>
                  </a:cubicBezTo>
                  <a:cubicBezTo>
                    <a:pt x="10476" y="12290"/>
                    <a:pt x="10476" y="12290"/>
                    <a:pt x="10476" y="12290"/>
                  </a:cubicBezTo>
                  <a:cubicBezTo>
                    <a:pt x="10476" y="21600"/>
                    <a:pt x="10476" y="21600"/>
                    <a:pt x="10476" y="21600"/>
                  </a:cubicBezTo>
                  <a:cubicBezTo>
                    <a:pt x="11006" y="21600"/>
                    <a:pt x="11006" y="21600"/>
                    <a:pt x="11006" y="21600"/>
                  </a:cubicBezTo>
                  <a:cubicBezTo>
                    <a:pt x="11006" y="15716"/>
                    <a:pt x="11006" y="15716"/>
                    <a:pt x="11006" y="15716"/>
                  </a:cubicBezTo>
                  <a:cubicBezTo>
                    <a:pt x="12183" y="21600"/>
                    <a:pt x="12183" y="21600"/>
                    <a:pt x="12183" y="21600"/>
                  </a:cubicBezTo>
                  <a:cubicBezTo>
                    <a:pt x="12634" y="21600"/>
                    <a:pt x="12634" y="21600"/>
                    <a:pt x="12634" y="21600"/>
                  </a:cubicBezTo>
                  <a:cubicBezTo>
                    <a:pt x="12634" y="12290"/>
                    <a:pt x="12634" y="12290"/>
                    <a:pt x="12634" y="12290"/>
                  </a:cubicBezTo>
                  <a:cubicBezTo>
                    <a:pt x="12105" y="12290"/>
                    <a:pt x="12105" y="12290"/>
                    <a:pt x="12105" y="12290"/>
                  </a:cubicBezTo>
                  <a:lnTo>
                    <a:pt x="12105" y="18025"/>
                  </a:lnTo>
                  <a:close/>
                  <a:moveTo>
                    <a:pt x="8573" y="17727"/>
                  </a:moveTo>
                  <a:cubicBezTo>
                    <a:pt x="8907" y="14673"/>
                    <a:pt x="8907" y="14673"/>
                    <a:pt x="8907" y="14673"/>
                  </a:cubicBezTo>
                  <a:cubicBezTo>
                    <a:pt x="9221" y="17727"/>
                    <a:pt x="9221" y="17727"/>
                    <a:pt x="9221" y="17727"/>
                  </a:cubicBezTo>
                  <a:lnTo>
                    <a:pt x="8573" y="17727"/>
                  </a:lnTo>
                  <a:close/>
                  <a:moveTo>
                    <a:pt x="8671" y="12215"/>
                  </a:moveTo>
                  <a:cubicBezTo>
                    <a:pt x="7612" y="21600"/>
                    <a:pt x="7612" y="21600"/>
                    <a:pt x="7612" y="21600"/>
                  </a:cubicBezTo>
                  <a:cubicBezTo>
                    <a:pt x="8161" y="21600"/>
                    <a:pt x="8161" y="21600"/>
                    <a:pt x="8161" y="21600"/>
                  </a:cubicBezTo>
                  <a:cubicBezTo>
                    <a:pt x="8397" y="19514"/>
                    <a:pt x="8397" y="19514"/>
                    <a:pt x="8397" y="19514"/>
                  </a:cubicBezTo>
                  <a:cubicBezTo>
                    <a:pt x="9417" y="19514"/>
                    <a:pt x="9417" y="19514"/>
                    <a:pt x="9417" y="19514"/>
                  </a:cubicBezTo>
                  <a:cubicBezTo>
                    <a:pt x="9652" y="21600"/>
                    <a:pt x="9652" y="21600"/>
                    <a:pt x="9652" y="21600"/>
                  </a:cubicBezTo>
                  <a:cubicBezTo>
                    <a:pt x="10202" y="21600"/>
                    <a:pt x="10202" y="21600"/>
                    <a:pt x="10202" y="21600"/>
                  </a:cubicBezTo>
                  <a:cubicBezTo>
                    <a:pt x="9162" y="12215"/>
                    <a:pt x="9162" y="12215"/>
                    <a:pt x="9162" y="12215"/>
                  </a:cubicBezTo>
                  <a:lnTo>
                    <a:pt x="8671" y="12215"/>
                  </a:lnTo>
                  <a:close/>
                  <a:moveTo>
                    <a:pt x="6180" y="12290"/>
                  </a:moveTo>
                  <a:cubicBezTo>
                    <a:pt x="5650" y="12290"/>
                    <a:pt x="5650" y="12290"/>
                    <a:pt x="5650" y="12290"/>
                  </a:cubicBezTo>
                  <a:cubicBezTo>
                    <a:pt x="5650" y="21600"/>
                    <a:pt x="5650" y="21600"/>
                    <a:pt x="5650" y="21600"/>
                  </a:cubicBezTo>
                  <a:cubicBezTo>
                    <a:pt x="7396" y="21600"/>
                    <a:pt x="7396" y="21600"/>
                    <a:pt x="7396" y="21600"/>
                  </a:cubicBezTo>
                  <a:cubicBezTo>
                    <a:pt x="7396" y="19738"/>
                    <a:pt x="7396" y="19738"/>
                    <a:pt x="7396" y="19738"/>
                  </a:cubicBezTo>
                  <a:cubicBezTo>
                    <a:pt x="6180" y="19738"/>
                    <a:pt x="6180" y="19738"/>
                    <a:pt x="6180" y="19738"/>
                  </a:cubicBezTo>
                  <a:lnTo>
                    <a:pt x="6180" y="12290"/>
                  </a:lnTo>
                  <a:close/>
                  <a:moveTo>
                    <a:pt x="3943" y="17801"/>
                  </a:moveTo>
                  <a:cubicBezTo>
                    <a:pt x="5081" y="17801"/>
                    <a:pt x="5081" y="17801"/>
                    <a:pt x="5081" y="17801"/>
                  </a:cubicBezTo>
                  <a:cubicBezTo>
                    <a:pt x="5081" y="16014"/>
                    <a:pt x="5081" y="16014"/>
                    <a:pt x="5081" y="16014"/>
                  </a:cubicBezTo>
                  <a:cubicBezTo>
                    <a:pt x="3943" y="16014"/>
                    <a:pt x="3943" y="16014"/>
                    <a:pt x="3943" y="16014"/>
                  </a:cubicBezTo>
                  <a:cubicBezTo>
                    <a:pt x="3943" y="14152"/>
                    <a:pt x="3943" y="14152"/>
                    <a:pt x="3943" y="14152"/>
                  </a:cubicBezTo>
                  <a:cubicBezTo>
                    <a:pt x="5238" y="14152"/>
                    <a:pt x="5238" y="14152"/>
                    <a:pt x="5238" y="14152"/>
                  </a:cubicBezTo>
                  <a:cubicBezTo>
                    <a:pt x="5238" y="12290"/>
                    <a:pt x="5238" y="12290"/>
                    <a:pt x="5238" y="12290"/>
                  </a:cubicBezTo>
                  <a:cubicBezTo>
                    <a:pt x="3394" y="12290"/>
                    <a:pt x="3394" y="12290"/>
                    <a:pt x="3394" y="12290"/>
                  </a:cubicBezTo>
                  <a:cubicBezTo>
                    <a:pt x="3394" y="21600"/>
                    <a:pt x="3394" y="21600"/>
                    <a:pt x="3394" y="21600"/>
                  </a:cubicBezTo>
                  <a:cubicBezTo>
                    <a:pt x="5258" y="21600"/>
                    <a:pt x="5258" y="21600"/>
                    <a:pt x="5258" y="21600"/>
                  </a:cubicBezTo>
                  <a:cubicBezTo>
                    <a:pt x="5258" y="19738"/>
                    <a:pt x="5258" y="19738"/>
                    <a:pt x="5258" y="19738"/>
                  </a:cubicBezTo>
                  <a:cubicBezTo>
                    <a:pt x="3943" y="19738"/>
                    <a:pt x="3943" y="19738"/>
                    <a:pt x="3943" y="19738"/>
                  </a:cubicBezTo>
                  <a:lnTo>
                    <a:pt x="3943" y="17801"/>
                  </a:lnTo>
                  <a:close/>
                  <a:moveTo>
                    <a:pt x="2472" y="15492"/>
                  </a:moveTo>
                  <a:cubicBezTo>
                    <a:pt x="2472" y="16312"/>
                    <a:pt x="2315" y="16833"/>
                    <a:pt x="2060" y="16833"/>
                  </a:cubicBezTo>
                  <a:cubicBezTo>
                    <a:pt x="1511" y="16833"/>
                    <a:pt x="1511" y="16833"/>
                    <a:pt x="1511" y="16833"/>
                  </a:cubicBezTo>
                  <a:cubicBezTo>
                    <a:pt x="1511" y="14152"/>
                    <a:pt x="1511" y="14152"/>
                    <a:pt x="1511" y="14152"/>
                  </a:cubicBezTo>
                  <a:cubicBezTo>
                    <a:pt x="2040" y="14152"/>
                    <a:pt x="2040" y="14152"/>
                    <a:pt x="2040" y="14152"/>
                  </a:cubicBezTo>
                  <a:cubicBezTo>
                    <a:pt x="2295" y="14152"/>
                    <a:pt x="2472" y="14599"/>
                    <a:pt x="2472" y="15492"/>
                  </a:cubicBezTo>
                  <a:close/>
                  <a:moveTo>
                    <a:pt x="3002" y="15418"/>
                  </a:moveTo>
                  <a:cubicBezTo>
                    <a:pt x="3002" y="15343"/>
                    <a:pt x="3002" y="15343"/>
                    <a:pt x="3002" y="15343"/>
                  </a:cubicBezTo>
                  <a:cubicBezTo>
                    <a:pt x="3002" y="14524"/>
                    <a:pt x="2943" y="13779"/>
                    <a:pt x="2805" y="13258"/>
                  </a:cubicBezTo>
                  <a:cubicBezTo>
                    <a:pt x="2629" y="12662"/>
                    <a:pt x="2393" y="12290"/>
                    <a:pt x="2080" y="12290"/>
                  </a:cubicBezTo>
                  <a:cubicBezTo>
                    <a:pt x="961" y="12290"/>
                    <a:pt x="961" y="12290"/>
                    <a:pt x="961" y="12290"/>
                  </a:cubicBezTo>
                  <a:cubicBezTo>
                    <a:pt x="961" y="21600"/>
                    <a:pt x="961" y="21600"/>
                    <a:pt x="961" y="21600"/>
                  </a:cubicBezTo>
                  <a:cubicBezTo>
                    <a:pt x="1511" y="21600"/>
                    <a:pt x="1511" y="21600"/>
                    <a:pt x="1511" y="21600"/>
                  </a:cubicBezTo>
                  <a:cubicBezTo>
                    <a:pt x="1511" y="18621"/>
                    <a:pt x="1511" y="18621"/>
                    <a:pt x="1511" y="18621"/>
                  </a:cubicBezTo>
                  <a:cubicBezTo>
                    <a:pt x="1923" y="18621"/>
                    <a:pt x="1923" y="18621"/>
                    <a:pt x="1923" y="18621"/>
                  </a:cubicBezTo>
                  <a:cubicBezTo>
                    <a:pt x="2452" y="21600"/>
                    <a:pt x="2452" y="21600"/>
                    <a:pt x="2452" y="21600"/>
                  </a:cubicBezTo>
                  <a:cubicBezTo>
                    <a:pt x="3080" y="21600"/>
                    <a:pt x="3080" y="21600"/>
                    <a:pt x="3080" y="21600"/>
                  </a:cubicBezTo>
                  <a:cubicBezTo>
                    <a:pt x="2492" y="18248"/>
                    <a:pt x="2492" y="18248"/>
                    <a:pt x="2492" y="18248"/>
                  </a:cubicBezTo>
                  <a:cubicBezTo>
                    <a:pt x="2786" y="17801"/>
                    <a:pt x="3002" y="16908"/>
                    <a:pt x="3002" y="15418"/>
                  </a:cubicBezTo>
                  <a:moveTo>
                    <a:pt x="20" y="21600"/>
                  </a:moveTo>
                  <a:cubicBezTo>
                    <a:pt x="549" y="21600"/>
                    <a:pt x="549" y="21600"/>
                    <a:pt x="549" y="21600"/>
                  </a:cubicBezTo>
                  <a:cubicBezTo>
                    <a:pt x="549" y="12290"/>
                    <a:pt x="549" y="12290"/>
                    <a:pt x="549" y="12290"/>
                  </a:cubicBezTo>
                  <a:cubicBezTo>
                    <a:pt x="20" y="12290"/>
                    <a:pt x="20" y="12290"/>
                    <a:pt x="20" y="12290"/>
                  </a:cubicBezTo>
                  <a:lnTo>
                    <a:pt x="20" y="21600"/>
                  </a:lnTo>
                  <a:close/>
                  <a:moveTo>
                    <a:pt x="20266" y="7597"/>
                  </a:moveTo>
                  <a:cubicBezTo>
                    <a:pt x="20266" y="5661"/>
                    <a:pt x="20266" y="5661"/>
                    <a:pt x="20266" y="5661"/>
                  </a:cubicBezTo>
                  <a:cubicBezTo>
                    <a:pt x="21423" y="5661"/>
                    <a:pt x="21423" y="5661"/>
                    <a:pt x="21423" y="5661"/>
                  </a:cubicBezTo>
                  <a:cubicBezTo>
                    <a:pt x="21423" y="3873"/>
                    <a:pt x="21423" y="3873"/>
                    <a:pt x="21423" y="3873"/>
                  </a:cubicBezTo>
                  <a:cubicBezTo>
                    <a:pt x="20266" y="3873"/>
                    <a:pt x="20266" y="3873"/>
                    <a:pt x="20266" y="3873"/>
                  </a:cubicBezTo>
                  <a:cubicBezTo>
                    <a:pt x="20266" y="1937"/>
                    <a:pt x="20266" y="1937"/>
                    <a:pt x="20266" y="1937"/>
                  </a:cubicBezTo>
                  <a:cubicBezTo>
                    <a:pt x="21580" y="1937"/>
                    <a:pt x="21580" y="1937"/>
                    <a:pt x="21580" y="1937"/>
                  </a:cubicBezTo>
                  <a:cubicBezTo>
                    <a:pt x="21580" y="149"/>
                    <a:pt x="21580" y="149"/>
                    <a:pt x="21580" y="149"/>
                  </a:cubicBezTo>
                  <a:cubicBezTo>
                    <a:pt x="19736" y="149"/>
                    <a:pt x="19736" y="149"/>
                    <a:pt x="19736" y="149"/>
                  </a:cubicBezTo>
                  <a:cubicBezTo>
                    <a:pt x="19736" y="9385"/>
                    <a:pt x="19736" y="9385"/>
                    <a:pt x="19736" y="9385"/>
                  </a:cubicBezTo>
                  <a:cubicBezTo>
                    <a:pt x="21600" y="9385"/>
                    <a:pt x="21600" y="9385"/>
                    <a:pt x="21600" y="9385"/>
                  </a:cubicBezTo>
                  <a:cubicBezTo>
                    <a:pt x="21600" y="7597"/>
                    <a:pt x="21600" y="7597"/>
                    <a:pt x="21600" y="7597"/>
                  </a:cubicBezTo>
                  <a:lnTo>
                    <a:pt x="20266" y="7597"/>
                  </a:lnTo>
                  <a:close/>
                  <a:moveTo>
                    <a:pt x="18598" y="3873"/>
                  </a:moveTo>
                  <a:cubicBezTo>
                    <a:pt x="18186" y="3426"/>
                    <a:pt x="18069" y="3277"/>
                    <a:pt x="18069" y="2607"/>
                  </a:cubicBezTo>
                  <a:cubicBezTo>
                    <a:pt x="18069" y="2607"/>
                    <a:pt x="18069" y="2607"/>
                    <a:pt x="18069" y="2607"/>
                  </a:cubicBezTo>
                  <a:cubicBezTo>
                    <a:pt x="18069" y="2160"/>
                    <a:pt x="18186" y="1788"/>
                    <a:pt x="18383" y="1788"/>
                  </a:cubicBezTo>
                  <a:cubicBezTo>
                    <a:pt x="18598" y="1788"/>
                    <a:pt x="18814" y="2160"/>
                    <a:pt x="19030" y="2756"/>
                  </a:cubicBezTo>
                  <a:cubicBezTo>
                    <a:pt x="19305" y="1192"/>
                    <a:pt x="19305" y="1192"/>
                    <a:pt x="19305" y="1192"/>
                  </a:cubicBezTo>
                  <a:cubicBezTo>
                    <a:pt x="19050" y="447"/>
                    <a:pt x="18755" y="0"/>
                    <a:pt x="18402" y="0"/>
                  </a:cubicBezTo>
                  <a:cubicBezTo>
                    <a:pt x="17892" y="0"/>
                    <a:pt x="17539" y="1117"/>
                    <a:pt x="17539" y="2830"/>
                  </a:cubicBezTo>
                  <a:cubicBezTo>
                    <a:pt x="17539" y="2830"/>
                    <a:pt x="17539" y="2830"/>
                    <a:pt x="17539" y="2830"/>
                  </a:cubicBezTo>
                  <a:cubicBezTo>
                    <a:pt x="17539" y="4692"/>
                    <a:pt x="17853" y="5214"/>
                    <a:pt x="18343" y="5661"/>
                  </a:cubicBezTo>
                  <a:cubicBezTo>
                    <a:pt x="18755" y="6033"/>
                    <a:pt x="18834" y="6331"/>
                    <a:pt x="18834" y="6852"/>
                  </a:cubicBezTo>
                  <a:cubicBezTo>
                    <a:pt x="18834" y="6852"/>
                    <a:pt x="18834" y="6852"/>
                    <a:pt x="18834" y="6852"/>
                  </a:cubicBezTo>
                  <a:cubicBezTo>
                    <a:pt x="18834" y="7448"/>
                    <a:pt x="18716" y="7746"/>
                    <a:pt x="18481" y="7746"/>
                  </a:cubicBezTo>
                  <a:cubicBezTo>
                    <a:pt x="18206" y="7746"/>
                    <a:pt x="17990" y="7299"/>
                    <a:pt x="17755" y="6629"/>
                  </a:cubicBezTo>
                  <a:cubicBezTo>
                    <a:pt x="17441" y="8044"/>
                    <a:pt x="17441" y="8044"/>
                    <a:pt x="17441" y="8044"/>
                  </a:cubicBezTo>
                  <a:cubicBezTo>
                    <a:pt x="17735" y="9087"/>
                    <a:pt x="18108" y="9534"/>
                    <a:pt x="18481" y="9534"/>
                  </a:cubicBezTo>
                  <a:cubicBezTo>
                    <a:pt x="19010" y="9534"/>
                    <a:pt x="19383" y="8491"/>
                    <a:pt x="19383" y="6703"/>
                  </a:cubicBezTo>
                  <a:cubicBezTo>
                    <a:pt x="19383" y="6629"/>
                    <a:pt x="19383" y="6629"/>
                    <a:pt x="19383" y="6629"/>
                  </a:cubicBezTo>
                  <a:cubicBezTo>
                    <a:pt x="19383" y="5065"/>
                    <a:pt x="19089" y="4320"/>
                    <a:pt x="18598" y="3873"/>
                  </a:cubicBezTo>
                  <a:moveTo>
                    <a:pt x="16538" y="9385"/>
                  </a:moveTo>
                  <a:cubicBezTo>
                    <a:pt x="17088" y="9385"/>
                    <a:pt x="17088" y="9385"/>
                    <a:pt x="17088" y="9385"/>
                  </a:cubicBezTo>
                  <a:cubicBezTo>
                    <a:pt x="17088" y="149"/>
                    <a:pt x="17088" y="149"/>
                    <a:pt x="17088" y="149"/>
                  </a:cubicBezTo>
                  <a:cubicBezTo>
                    <a:pt x="16538" y="149"/>
                    <a:pt x="16538" y="149"/>
                    <a:pt x="16538" y="149"/>
                  </a:cubicBezTo>
                  <a:lnTo>
                    <a:pt x="16538" y="9385"/>
                  </a:lnTo>
                  <a:close/>
                  <a:moveTo>
                    <a:pt x="15557" y="3352"/>
                  </a:moveTo>
                  <a:cubicBezTo>
                    <a:pt x="15557" y="4097"/>
                    <a:pt x="15420" y="4618"/>
                    <a:pt x="15146" y="4618"/>
                  </a:cubicBezTo>
                  <a:cubicBezTo>
                    <a:pt x="14616" y="4618"/>
                    <a:pt x="14616" y="4618"/>
                    <a:pt x="14616" y="4618"/>
                  </a:cubicBezTo>
                  <a:cubicBezTo>
                    <a:pt x="14616" y="2011"/>
                    <a:pt x="14616" y="2011"/>
                    <a:pt x="14616" y="2011"/>
                  </a:cubicBezTo>
                  <a:cubicBezTo>
                    <a:pt x="15146" y="2011"/>
                    <a:pt x="15146" y="2011"/>
                    <a:pt x="15146" y="2011"/>
                  </a:cubicBezTo>
                  <a:cubicBezTo>
                    <a:pt x="15401" y="2011"/>
                    <a:pt x="15557" y="2458"/>
                    <a:pt x="15557" y="3277"/>
                  </a:cubicBezTo>
                  <a:lnTo>
                    <a:pt x="15557" y="3352"/>
                  </a:lnTo>
                  <a:close/>
                  <a:moveTo>
                    <a:pt x="16107" y="3203"/>
                  </a:moveTo>
                  <a:cubicBezTo>
                    <a:pt x="16107" y="3203"/>
                    <a:pt x="16107" y="3203"/>
                    <a:pt x="16107" y="3203"/>
                  </a:cubicBezTo>
                  <a:cubicBezTo>
                    <a:pt x="16107" y="2309"/>
                    <a:pt x="16028" y="1564"/>
                    <a:pt x="15911" y="1043"/>
                  </a:cubicBezTo>
                  <a:cubicBezTo>
                    <a:pt x="15734" y="447"/>
                    <a:pt x="15499" y="149"/>
                    <a:pt x="15185" y="149"/>
                  </a:cubicBezTo>
                  <a:cubicBezTo>
                    <a:pt x="14066" y="149"/>
                    <a:pt x="14066" y="149"/>
                    <a:pt x="14066" y="149"/>
                  </a:cubicBezTo>
                  <a:cubicBezTo>
                    <a:pt x="14066" y="9385"/>
                    <a:pt x="14066" y="9385"/>
                    <a:pt x="14066" y="9385"/>
                  </a:cubicBezTo>
                  <a:cubicBezTo>
                    <a:pt x="14616" y="9385"/>
                    <a:pt x="14616" y="9385"/>
                    <a:pt x="14616" y="9385"/>
                  </a:cubicBezTo>
                  <a:cubicBezTo>
                    <a:pt x="14616" y="6480"/>
                    <a:pt x="14616" y="6480"/>
                    <a:pt x="14616" y="6480"/>
                  </a:cubicBezTo>
                  <a:cubicBezTo>
                    <a:pt x="15028" y="6480"/>
                    <a:pt x="15028" y="6480"/>
                    <a:pt x="15028" y="6480"/>
                  </a:cubicBezTo>
                  <a:cubicBezTo>
                    <a:pt x="15557" y="9385"/>
                    <a:pt x="15557" y="9385"/>
                    <a:pt x="15557" y="9385"/>
                  </a:cubicBezTo>
                  <a:cubicBezTo>
                    <a:pt x="16185" y="9385"/>
                    <a:pt x="16185" y="9385"/>
                    <a:pt x="16185" y="9385"/>
                  </a:cubicBezTo>
                  <a:cubicBezTo>
                    <a:pt x="15597" y="6108"/>
                    <a:pt x="15597" y="6108"/>
                    <a:pt x="15597" y="6108"/>
                  </a:cubicBezTo>
                  <a:cubicBezTo>
                    <a:pt x="15891" y="5661"/>
                    <a:pt x="16107" y="4692"/>
                    <a:pt x="16107" y="3203"/>
                  </a:cubicBezTo>
                  <a:moveTo>
                    <a:pt x="13203" y="3426"/>
                  </a:moveTo>
                  <a:cubicBezTo>
                    <a:pt x="13203" y="4171"/>
                    <a:pt x="13046" y="4841"/>
                    <a:pt x="12772" y="4841"/>
                  </a:cubicBezTo>
                  <a:cubicBezTo>
                    <a:pt x="12360" y="4841"/>
                    <a:pt x="12360" y="4841"/>
                    <a:pt x="12360" y="4841"/>
                  </a:cubicBezTo>
                  <a:cubicBezTo>
                    <a:pt x="12360" y="2011"/>
                    <a:pt x="12360" y="2011"/>
                    <a:pt x="12360" y="2011"/>
                  </a:cubicBezTo>
                  <a:cubicBezTo>
                    <a:pt x="12772" y="2011"/>
                    <a:pt x="12772" y="2011"/>
                    <a:pt x="12772" y="2011"/>
                  </a:cubicBezTo>
                  <a:cubicBezTo>
                    <a:pt x="13027" y="2011"/>
                    <a:pt x="13203" y="2458"/>
                    <a:pt x="13203" y="3352"/>
                  </a:cubicBezTo>
                  <a:lnTo>
                    <a:pt x="13203" y="3426"/>
                  </a:lnTo>
                  <a:close/>
                  <a:moveTo>
                    <a:pt x="13753" y="3352"/>
                  </a:moveTo>
                  <a:cubicBezTo>
                    <a:pt x="13753" y="3352"/>
                    <a:pt x="13753" y="3352"/>
                    <a:pt x="13753" y="3352"/>
                  </a:cubicBezTo>
                  <a:cubicBezTo>
                    <a:pt x="13753" y="1415"/>
                    <a:pt x="13399" y="149"/>
                    <a:pt x="12811" y="149"/>
                  </a:cubicBezTo>
                  <a:cubicBezTo>
                    <a:pt x="11810" y="149"/>
                    <a:pt x="11810" y="149"/>
                    <a:pt x="11810" y="149"/>
                  </a:cubicBezTo>
                  <a:cubicBezTo>
                    <a:pt x="11810" y="9385"/>
                    <a:pt x="11810" y="9385"/>
                    <a:pt x="11810" y="9385"/>
                  </a:cubicBezTo>
                  <a:cubicBezTo>
                    <a:pt x="12360" y="9385"/>
                    <a:pt x="12360" y="9385"/>
                    <a:pt x="12360" y="9385"/>
                  </a:cubicBezTo>
                  <a:cubicBezTo>
                    <a:pt x="12360" y="6629"/>
                    <a:pt x="12360" y="6629"/>
                    <a:pt x="12360" y="6629"/>
                  </a:cubicBezTo>
                  <a:cubicBezTo>
                    <a:pt x="12752" y="6629"/>
                    <a:pt x="12752" y="6629"/>
                    <a:pt x="12752" y="6629"/>
                  </a:cubicBezTo>
                  <a:cubicBezTo>
                    <a:pt x="13301" y="6629"/>
                    <a:pt x="13753" y="5512"/>
                    <a:pt x="13753" y="3352"/>
                  </a:cubicBezTo>
                  <a:moveTo>
                    <a:pt x="10457" y="4618"/>
                  </a:moveTo>
                  <a:cubicBezTo>
                    <a:pt x="9907" y="4618"/>
                    <a:pt x="9907" y="4618"/>
                    <a:pt x="9907" y="4618"/>
                  </a:cubicBezTo>
                  <a:cubicBezTo>
                    <a:pt x="9907" y="2011"/>
                    <a:pt x="9907" y="2011"/>
                    <a:pt x="9907" y="2011"/>
                  </a:cubicBezTo>
                  <a:cubicBezTo>
                    <a:pt x="10457" y="2011"/>
                    <a:pt x="10457" y="2011"/>
                    <a:pt x="10457" y="2011"/>
                  </a:cubicBezTo>
                  <a:cubicBezTo>
                    <a:pt x="10712" y="2011"/>
                    <a:pt x="10869" y="2458"/>
                    <a:pt x="10869" y="3277"/>
                  </a:cubicBezTo>
                  <a:cubicBezTo>
                    <a:pt x="10869" y="3352"/>
                    <a:pt x="10869" y="3352"/>
                    <a:pt x="10869" y="3352"/>
                  </a:cubicBezTo>
                  <a:cubicBezTo>
                    <a:pt x="10869" y="4097"/>
                    <a:pt x="10712" y="4618"/>
                    <a:pt x="10457" y="4618"/>
                  </a:cubicBezTo>
                  <a:moveTo>
                    <a:pt x="11496" y="9385"/>
                  </a:moveTo>
                  <a:cubicBezTo>
                    <a:pt x="10888" y="6108"/>
                    <a:pt x="10888" y="6108"/>
                    <a:pt x="10888" y="6108"/>
                  </a:cubicBezTo>
                  <a:cubicBezTo>
                    <a:pt x="11202" y="5661"/>
                    <a:pt x="11418" y="4692"/>
                    <a:pt x="11418" y="3203"/>
                  </a:cubicBezTo>
                  <a:cubicBezTo>
                    <a:pt x="11418" y="3203"/>
                    <a:pt x="11418" y="3203"/>
                    <a:pt x="11418" y="3203"/>
                  </a:cubicBezTo>
                  <a:cubicBezTo>
                    <a:pt x="11418" y="2309"/>
                    <a:pt x="11340" y="1564"/>
                    <a:pt x="11202" y="1043"/>
                  </a:cubicBezTo>
                  <a:cubicBezTo>
                    <a:pt x="11045" y="447"/>
                    <a:pt x="10810" y="149"/>
                    <a:pt x="10496" y="149"/>
                  </a:cubicBezTo>
                  <a:cubicBezTo>
                    <a:pt x="9378" y="149"/>
                    <a:pt x="9378" y="149"/>
                    <a:pt x="9378" y="149"/>
                  </a:cubicBezTo>
                  <a:cubicBezTo>
                    <a:pt x="9378" y="9385"/>
                    <a:pt x="9378" y="9385"/>
                    <a:pt x="9378" y="9385"/>
                  </a:cubicBezTo>
                  <a:cubicBezTo>
                    <a:pt x="9907" y="9385"/>
                    <a:pt x="9907" y="9385"/>
                    <a:pt x="9907" y="9385"/>
                  </a:cubicBezTo>
                  <a:cubicBezTo>
                    <a:pt x="9907" y="6480"/>
                    <a:pt x="9907" y="6480"/>
                    <a:pt x="9907" y="6480"/>
                  </a:cubicBezTo>
                  <a:cubicBezTo>
                    <a:pt x="10339" y="6480"/>
                    <a:pt x="10339" y="6480"/>
                    <a:pt x="10339" y="6480"/>
                  </a:cubicBezTo>
                  <a:cubicBezTo>
                    <a:pt x="10869" y="9385"/>
                    <a:pt x="10869" y="9385"/>
                    <a:pt x="10869" y="9385"/>
                  </a:cubicBezTo>
                  <a:lnTo>
                    <a:pt x="11496" y="9385"/>
                  </a:lnTo>
                  <a:close/>
                  <a:moveTo>
                    <a:pt x="9025" y="7597"/>
                  </a:moveTo>
                  <a:cubicBezTo>
                    <a:pt x="7690" y="7597"/>
                    <a:pt x="7690" y="7597"/>
                    <a:pt x="7690" y="7597"/>
                  </a:cubicBezTo>
                  <a:cubicBezTo>
                    <a:pt x="7690" y="5661"/>
                    <a:pt x="7690" y="5661"/>
                    <a:pt x="7690" y="5661"/>
                  </a:cubicBezTo>
                  <a:cubicBezTo>
                    <a:pt x="8848" y="5661"/>
                    <a:pt x="8848" y="5661"/>
                    <a:pt x="8848" y="5661"/>
                  </a:cubicBezTo>
                  <a:cubicBezTo>
                    <a:pt x="8848" y="3873"/>
                    <a:pt x="8848" y="3873"/>
                    <a:pt x="8848" y="3873"/>
                  </a:cubicBezTo>
                  <a:cubicBezTo>
                    <a:pt x="7690" y="3873"/>
                    <a:pt x="7690" y="3873"/>
                    <a:pt x="7690" y="3873"/>
                  </a:cubicBezTo>
                  <a:cubicBezTo>
                    <a:pt x="7690" y="1937"/>
                    <a:pt x="7690" y="1937"/>
                    <a:pt x="7690" y="1937"/>
                  </a:cubicBezTo>
                  <a:cubicBezTo>
                    <a:pt x="9005" y="1937"/>
                    <a:pt x="9005" y="1937"/>
                    <a:pt x="9005" y="1937"/>
                  </a:cubicBezTo>
                  <a:cubicBezTo>
                    <a:pt x="9005" y="149"/>
                    <a:pt x="9005" y="149"/>
                    <a:pt x="9005" y="149"/>
                  </a:cubicBezTo>
                  <a:cubicBezTo>
                    <a:pt x="7161" y="149"/>
                    <a:pt x="7161" y="149"/>
                    <a:pt x="7161" y="149"/>
                  </a:cubicBezTo>
                  <a:cubicBezTo>
                    <a:pt x="7161" y="9385"/>
                    <a:pt x="7161" y="9385"/>
                    <a:pt x="7161" y="9385"/>
                  </a:cubicBezTo>
                  <a:cubicBezTo>
                    <a:pt x="9025" y="9385"/>
                    <a:pt x="9025" y="9385"/>
                    <a:pt x="9025" y="9385"/>
                  </a:cubicBezTo>
                  <a:lnTo>
                    <a:pt x="9025" y="7597"/>
                  </a:lnTo>
                  <a:close/>
                  <a:moveTo>
                    <a:pt x="6043" y="9385"/>
                  </a:moveTo>
                  <a:cubicBezTo>
                    <a:pt x="6043" y="2011"/>
                    <a:pt x="6043" y="2011"/>
                    <a:pt x="6043" y="2011"/>
                  </a:cubicBezTo>
                  <a:cubicBezTo>
                    <a:pt x="6788" y="2011"/>
                    <a:pt x="6788" y="2011"/>
                    <a:pt x="6788" y="2011"/>
                  </a:cubicBezTo>
                  <a:cubicBezTo>
                    <a:pt x="6788" y="149"/>
                    <a:pt x="6788" y="149"/>
                    <a:pt x="6788" y="149"/>
                  </a:cubicBezTo>
                  <a:cubicBezTo>
                    <a:pt x="4767" y="149"/>
                    <a:pt x="4767" y="149"/>
                    <a:pt x="4767" y="149"/>
                  </a:cubicBezTo>
                  <a:cubicBezTo>
                    <a:pt x="4767" y="2011"/>
                    <a:pt x="4767" y="2011"/>
                    <a:pt x="4767" y="2011"/>
                  </a:cubicBezTo>
                  <a:cubicBezTo>
                    <a:pt x="5513" y="2011"/>
                    <a:pt x="5513" y="2011"/>
                    <a:pt x="5513" y="2011"/>
                  </a:cubicBezTo>
                  <a:cubicBezTo>
                    <a:pt x="5513" y="9385"/>
                    <a:pt x="5513" y="9385"/>
                    <a:pt x="5513" y="9385"/>
                  </a:cubicBezTo>
                  <a:lnTo>
                    <a:pt x="6043" y="9385"/>
                  </a:lnTo>
                  <a:close/>
                  <a:moveTo>
                    <a:pt x="2766" y="3501"/>
                  </a:moveTo>
                  <a:cubicBezTo>
                    <a:pt x="3943" y="9385"/>
                    <a:pt x="3943" y="9385"/>
                    <a:pt x="3943" y="9385"/>
                  </a:cubicBezTo>
                  <a:cubicBezTo>
                    <a:pt x="4414" y="9385"/>
                    <a:pt x="4414" y="9385"/>
                    <a:pt x="4414" y="9385"/>
                  </a:cubicBezTo>
                  <a:cubicBezTo>
                    <a:pt x="4414" y="149"/>
                    <a:pt x="4414" y="149"/>
                    <a:pt x="4414" y="149"/>
                  </a:cubicBezTo>
                  <a:cubicBezTo>
                    <a:pt x="3865" y="149"/>
                    <a:pt x="3865" y="149"/>
                    <a:pt x="3865" y="149"/>
                  </a:cubicBezTo>
                  <a:cubicBezTo>
                    <a:pt x="3865" y="5884"/>
                    <a:pt x="3865" y="5884"/>
                    <a:pt x="3865" y="5884"/>
                  </a:cubicBezTo>
                  <a:cubicBezTo>
                    <a:pt x="2727" y="149"/>
                    <a:pt x="2727" y="149"/>
                    <a:pt x="2727" y="149"/>
                  </a:cubicBezTo>
                  <a:cubicBezTo>
                    <a:pt x="2237" y="149"/>
                    <a:pt x="2237" y="149"/>
                    <a:pt x="2237" y="149"/>
                  </a:cubicBezTo>
                  <a:cubicBezTo>
                    <a:pt x="2237" y="9385"/>
                    <a:pt x="2237" y="9385"/>
                    <a:pt x="2237" y="9385"/>
                  </a:cubicBezTo>
                  <a:cubicBezTo>
                    <a:pt x="2766" y="9385"/>
                    <a:pt x="2766" y="9385"/>
                    <a:pt x="2766" y="9385"/>
                  </a:cubicBezTo>
                  <a:lnTo>
                    <a:pt x="2766" y="3501"/>
                  </a:lnTo>
                  <a:close/>
                  <a:moveTo>
                    <a:pt x="1864" y="7597"/>
                  </a:moveTo>
                  <a:cubicBezTo>
                    <a:pt x="530" y="7597"/>
                    <a:pt x="530" y="7597"/>
                    <a:pt x="530" y="7597"/>
                  </a:cubicBezTo>
                  <a:cubicBezTo>
                    <a:pt x="530" y="5661"/>
                    <a:pt x="530" y="5661"/>
                    <a:pt x="530" y="5661"/>
                  </a:cubicBezTo>
                  <a:cubicBezTo>
                    <a:pt x="1687" y="5661"/>
                    <a:pt x="1687" y="5661"/>
                    <a:pt x="1687" y="5661"/>
                  </a:cubicBezTo>
                  <a:cubicBezTo>
                    <a:pt x="1687" y="3873"/>
                    <a:pt x="1687" y="3873"/>
                    <a:pt x="1687" y="3873"/>
                  </a:cubicBezTo>
                  <a:cubicBezTo>
                    <a:pt x="530" y="3873"/>
                    <a:pt x="530" y="3873"/>
                    <a:pt x="530" y="3873"/>
                  </a:cubicBezTo>
                  <a:cubicBezTo>
                    <a:pt x="530" y="1937"/>
                    <a:pt x="530" y="1937"/>
                    <a:pt x="530" y="1937"/>
                  </a:cubicBezTo>
                  <a:cubicBezTo>
                    <a:pt x="1844" y="1937"/>
                    <a:pt x="1844" y="1937"/>
                    <a:pt x="1844" y="1937"/>
                  </a:cubicBezTo>
                  <a:cubicBezTo>
                    <a:pt x="1844" y="149"/>
                    <a:pt x="1844" y="149"/>
                    <a:pt x="1844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9385"/>
                    <a:pt x="0" y="9385"/>
                    <a:pt x="0" y="9385"/>
                  </a:cubicBezTo>
                  <a:cubicBezTo>
                    <a:pt x="1864" y="9385"/>
                    <a:pt x="1864" y="9385"/>
                    <a:pt x="1864" y="9385"/>
                  </a:cubicBezTo>
                  <a:lnTo>
                    <a:pt x="1864" y="7597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  <p:sp>
          <p:nvSpPr>
            <p:cNvPr id="471" name="Freeform 6"/>
            <p:cNvSpPr/>
            <p:nvPr/>
          </p:nvSpPr>
          <p:spPr>
            <a:xfrm>
              <a:off x="466725" y="427037"/>
              <a:ext cx="1368426" cy="698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60" y="9818"/>
                  </a:moveTo>
                  <a:cubicBezTo>
                    <a:pt x="21160" y="8640"/>
                    <a:pt x="21200" y="7855"/>
                    <a:pt x="21280" y="7855"/>
                  </a:cubicBezTo>
                  <a:cubicBezTo>
                    <a:pt x="21380" y="7855"/>
                    <a:pt x="21420" y="8247"/>
                    <a:pt x="21480" y="9818"/>
                  </a:cubicBezTo>
                  <a:cubicBezTo>
                    <a:pt x="21560" y="8640"/>
                    <a:pt x="21560" y="8640"/>
                    <a:pt x="21560" y="8640"/>
                  </a:cubicBezTo>
                  <a:cubicBezTo>
                    <a:pt x="21500" y="7069"/>
                    <a:pt x="21400" y="5891"/>
                    <a:pt x="21300" y="5891"/>
                  </a:cubicBezTo>
                  <a:cubicBezTo>
                    <a:pt x="21160" y="5891"/>
                    <a:pt x="21041" y="7462"/>
                    <a:pt x="21041" y="9818"/>
                  </a:cubicBezTo>
                  <a:cubicBezTo>
                    <a:pt x="21041" y="15316"/>
                    <a:pt x="21500" y="13353"/>
                    <a:pt x="21500" y="17280"/>
                  </a:cubicBezTo>
                  <a:cubicBezTo>
                    <a:pt x="21500" y="18458"/>
                    <a:pt x="21440" y="19636"/>
                    <a:pt x="21320" y="19636"/>
                  </a:cubicBezTo>
                  <a:cubicBezTo>
                    <a:pt x="21220" y="19636"/>
                    <a:pt x="21160" y="18851"/>
                    <a:pt x="21100" y="17673"/>
                  </a:cubicBezTo>
                  <a:cubicBezTo>
                    <a:pt x="21021" y="18851"/>
                    <a:pt x="21021" y="18851"/>
                    <a:pt x="21021" y="18851"/>
                  </a:cubicBezTo>
                  <a:cubicBezTo>
                    <a:pt x="21100" y="20422"/>
                    <a:pt x="21200" y="21600"/>
                    <a:pt x="21320" y="21600"/>
                  </a:cubicBezTo>
                  <a:cubicBezTo>
                    <a:pt x="21460" y="21600"/>
                    <a:pt x="21600" y="20029"/>
                    <a:pt x="21600" y="17280"/>
                  </a:cubicBezTo>
                  <a:cubicBezTo>
                    <a:pt x="21600" y="11389"/>
                    <a:pt x="21160" y="13353"/>
                    <a:pt x="21160" y="9818"/>
                  </a:cubicBezTo>
                  <a:moveTo>
                    <a:pt x="20481" y="9818"/>
                  </a:moveTo>
                  <a:cubicBezTo>
                    <a:pt x="20481" y="8640"/>
                    <a:pt x="20541" y="7855"/>
                    <a:pt x="20621" y="7855"/>
                  </a:cubicBezTo>
                  <a:cubicBezTo>
                    <a:pt x="20721" y="7855"/>
                    <a:pt x="20761" y="8247"/>
                    <a:pt x="20821" y="9818"/>
                  </a:cubicBezTo>
                  <a:cubicBezTo>
                    <a:pt x="20901" y="8640"/>
                    <a:pt x="20901" y="8640"/>
                    <a:pt x="20901" y="8640"/>
                  </a:cubicBezTo>
                  <a:cubicBezTo>
                    <a:pt x="20841" y="7069"/>
                    <a:pt x="20741" y="5891"/>
                    <a:pt x="20641" y="5891"/>
                  </a:cubicBezTo>
                  <a:cubicBezTo>
                    <a:pt x="20481" y="5891"/>
                    <a:pt x="20381" y="7462"/>
                    <a:pt x="20381" y="9818"/>
                  </a:cubicBezTo>
                  <a:cubicBezTo>
                    <a:pt x="20381" y="15316"/>
                    <a:pt x="20821" y="13353"/>
                    <a:pt x="20821" y="17280"/>
                  </a:cubicBezTo>
                  <a:cubicBezTo>
                    <a:pt x="20821" y="18458"/>
                    <a:pt x="20781" y="19636"/>
                    <a:pt x="20661" y="19636"/>
                  </a:cubicBezTo>
                  <a:cubicBezTo>
                    <a:pt x="20561" y="19636"/>
                    <a:pt x="20501" y="18851"/>
                    <a:pt x="20441" y="17673"/>
                  </a:cubicBezTo>
                  <a:cubicBezTo>
                    <a:pt x="20361" y="18851"/>
                    <a:pt x="20361" y="18851"/>
                    <a:pt x="20361" y="18851"/>
                  </a:cubicBezTo>
                  <a:cubicBezTo>
                    <a:pt x="20441" y="20422"/>
                    <a:pt x="20541" y="21600"/>
                    <a:pt x="20661" y="21600"/>
                  </a:cubicBezTo>
                  <a:cubicBezTo>
                    <a:pt x="20801" y="21600"/>
                    <a:pt x="20941" y="20029"/>
                    <a:pt x="20941" y="17280"/>
                  </a:cubicBezTo>
                  <a:cubicBezTo>
                    <a:pt x="20941" y="11389"/>
                    <a:pt x="20481" y="13353"/>
                    <a:pt x="20481" y="9818"/>
                  </a:cubicBezTo>
                  <a:moveTo>
                    <a:pt x="19962" y="7855"/>
                  </a:moveTo>
                  <a:cubicBezTo>
                    <a:pt x="20081" y="7855"/>
                    <a:pt x="20141" y="9425"/>
                    <a:pt x="20141" y="12567"/>
                  </a:cubicBezTo>
                  <a:cubicBezTo>
                    <a:pt x="19742" y="12567"/>
                    <a:pt x="19742" y="12567"/>
                    <a:pt x="19742" y="12567"/>
                  </a:cubicBezTo>
                  <a:cubicBezTo>
                    <a:pt x="19762" y="9425"/>
                    <a:pt x="19822" y="7855"/>
                    <a:pt x="19962" y="7855"/>
                  </a:cubicBezTo>
                  <a:moveTo>
                    <a:pt x="19981" y="19636"/>
                  </a:moveTo>
                  <a:cubicBezTo>
                    <a:pt x="19842" y="19636"/>
                    <a:pt x="19742" y="17673"/>
                    <a:pt x="19742" y="14138"/>
                  </a:cubicBezTo>
                  <a:cubicBezTo>
                    <a:pt x="20241" y="14138"/>
                    <a:pt x="20241" y="14138"/>
                    <a:pt x="20241" y="14138"/>
                  </a:cubicBezTo>
                  <a:cubicBezTo>
                    <a:pt x="20241" y="12960"/>
                    <a:pt x="20241" y="12960"/>
                    <a:pt x="20241" y="12960"/>
                  </a:cubicBezTo>
                  <a:cubicBezTo>
                    <a:pt x="20241" y="7855"/>
                    <a:pt x="20121" y="5891"/>
                    <a:pt x="19962" y="5891"/>
                  </a:cubicBezTo>
                  <a:cubicBezTo>
                    <a:pt x="19762" y="5891"/>
                    <a:pt x="19642" y="9033"/>
                    <a:pt x="19642" y="13745"/>
                  </a:cubicBezTo>
                  <a:cubicBezTo>
                    <a:pt x="19642" y="19244"/>
                    <a:pt x="19802" y="21600"/>
                    <a:pt x="19981" y="21600"/>
                  </a:cubicBezTo>
                  <a:cubicBezTo>
                    <a:pt x="20141" y="21600"/>
                    <a:pt x="20221" y="19636"/>
                    <a:pt x="20261" y="18065"/>
                  </a:cubicBezTo>
                  <a:cubicBezTo>
                    <a:pt x="20181" y="17280"/>
                    <a:pt x="20181" y="17280"/>
                    <a:pt x="20181" y="17280"/>
                  </a:cubicBezTo>
                  <a:cubicBezTo>
                    <a:pt x="20141" y="18851"/>
                    <a:pt x="20061" y="19636"/>
                    <a:pt x="19981" y="19636"/>
                  </a:cubicBezTo>
                  <a:moveTo>
                    <a:pt x="19222" y="5891"/>
                  </a:moveTo>
                  <a:cubicBezTo>
                    <a:pt x="19142" y="5891"/>
                    <a:pt x="19062" y="7069"/>
                    <a:pt x="19002" y="8247"/>
                  </a:cubicBezTo>
                  <a:cubicBezTo>
                    <a:pt x="19002" y="8247"/>
                    <a:pt x="19002" y="8247"/>
                    <a:pt x="19002" y="8247"/>
                  </a:cubicBezTo>
                  <a:cubicBezTo>
                    <a:pt x="19002" y="6284"/>
                    <a:pt x="19002" y="6284"/>
                    <a:pt x="19002" y="6284"/>
                  </a:cubicBezTo>
                  <a:cubicBezTo>
                    <a:pt x="18883" y="6284"/>
                    <a:pt x="18883" y="6284"/>
                    <a:pt x="18883" y="6284"/>
                  </a:cubicBezTo>
                  <a:cubicBezTo>
                    <a:pt x="18883" y="21207"/>
                    <a:pt x="18883" y="21207"/>
                    <a:pt x="18883" y="21207"/>
                  </a:cubicBezTo>
                  <a:cubicBezTo>
                    <a:pt x="19002" y="21207"/>
                    <a:pt x="19002" y="21207"/>
                    <a:pt x="19002" y="21207"/>
                  </a:cubicBezTo>
                  <a:cubicBezTo>
                    <a:pt x="19002" y="10211"/>
                    <a:pt x="19002" y="10211"/>
                    <a:pt x="19002" y="10211"/>
                  </a:cubicBezTo>
                  <a:cubicBezTo>
                    <a:pt x="19042" y="9033"/>
                    <a:pt x="19142" y="7855"/>
                    <a:pt x="19222" y="7855"/>
                  </a:cubicBezTo>
                  <a:cubicBezTo>
                    <a:pt x="19282" y="7855"/>
                    <a:pt x="19342" y="8247"/>
                    <a:pt x="19342" y="10211"/>
                  </a:cubicBezTo>
                  <a:cubicBezTo>
                    <a:pt x="19342" y="21207"/>
                    <a:pt x="19342" y="21207"/>
                    <a:pt x="19342" y="21207"/>
                  </a:cubicBezTo>
                  <a:cubicBezTo>
                    <a:pt x="19442" y="21207"/>
                    <a:pt x="19442" y="21207"/>
                    <a:pt x="19442" y="21207"/>
                  </a:cubicBezTo>
                  <a:cubicBezTo>
                    <a:pt x="19442" y="10211"/>
                    <a:pt x="19442" y="10211"/>
                    <a:pt x="19442" y="10211"/>
                  </a:cubicBezTo>
                  <a:cubicBezTo>
                    <a:pt x="19442" y="7069"/>
                    <a:pt x="19342" y="5891"/>
                    <a:pt x="19222" y="5891"/>
                  </a:cubicBezTo>
                  <a:moveTo>
                    <a:pt x="18503" y="21207"/>
                  </a:moveTo>
                  <a:cubicBezTo>
                    <a:pt x="18603" y="21207"/>
                    <a:pt x="18603" y="21207"/>
                    <a:pt x="18603" y="21207"/>
                  </a:cubicBezTo>
                  <a:cubicBezTo>
                    <a:pt x="18603" y="6284"/>
                    <a:pt x="18603" y="6284"/>
                    <a:pt x="18603" y="6284"/>
                  </a:cubicBezTo>
                  <a:cubicBezTo>
                    <a:pt x="18503" y="6284"/>
                    <a:pt x="18503" y="6284"/>
                    <a:pt x="18503" y="6284"/>
                  </a:cubicBezTo>
                  <a:lnTo>
                    <a:pt x="18503" y="21207"/>
                  </a:lnTo>
                  <a:close/>
                  <a:moveTo>
                    <a:pt x="18503" y="2749"/>
                  </a:moveTo>
                  <a:cubicBezTo>
                    <a:pt x="18603" y="2749"/>
                    <a:pt x="18603" y="2749"/>
                    <a:pt x="18603" y="2749"/>
                  </a:cubicBezTo>
                  <a:cubicBezTo>
                    <a:pt x="18603" y="0"/>
                    <a:pt x="18603" y="0"/>
                    <a:pt x="18603" y="0"/>
                  </a:cubicBezTo>
                  <a:cubicBezTo>
                    <a:pt x="18503" y="0"/>
                    <a:pt x="18503" y="0"/>
                    <a:pt x="18503" y="0"/>
                  </a:cubicBezTo>
                  <a:lnTo>
                    <a:pt x="18503" y="2749"/>
                  </a:lnTo>
                  <a:close/>
                  <a:moveTo>
                    <a:pt x="17843" y="9818"/>
                  </a:moveTo>
                  <a:cubicBezTo>
                    <a:pt x="17843" y="8640"/>
                    <a:pt x="17903" y="7855"/>
                    <a:pt x="17983" y="7855"/>
                  </a:cubicBezTo>
                  <a:cubicBezTo>
                    <a:pt x="18063" y="7855"/>
                    <a:pt x="18123" y="8247"/>
                    <a:pt x="18183" y="9818"/>
                  </a:cubicBezTo>
                  <a:cubicBezTo>
                    <a:pt x="18263" y="8640"/>
                    <a:pt x="18263" y="8640"/>
                    <a:pt x="18263" y="8640"/>
                  </a:cubicBezTo>
                  <a:cubicBezTo>
                    <a:pt x="18203" y="7069"/>
                    <a:pt x="18103" y="5891"/>
                    <a:pt x="18003" y="5891"/>
                  </a:cubicBezTo>
                  <a:cubicBezTo>
                    <a:pt x="17843" y="5891"/>
                    <a:pt x="17744" y="7462"/>
                    <a:pt x="17744" y="9818"/>
                  </a:cubicBezTo>
                  <a:cubicBezTo>
                    <a:pt x="17724" y="15316"/>
                    <a:pt x="18183" y="13353"/>
                    <a:pt x="18183" y="17280"/>
                  </a:cubicBezTo>
                  <a:cubicBezTo>
                    <a:pt x="18183" y="18458"/>
                    <a:pt x="18143" y="19636"/>
                    <a:pt x="18023" y="19636"/>
                  </a:cubicBezTo>
                  <a:cubicBezTo>
                    <a:pt x="17923" y="19636"/>
                    <a:pt x="17843" y="18851"/>
                    <a:pt x="17804" y="17673"/>
                  </a:cubicBezTo>
                  <a:cubicBezTo>
                    <a:pt x="17724" y="18851"/>
                    <a:pt x="17724" y="18851"/>
                    <a:pt x="17724" y="18851"/>
                  </a:cubicBezTo>
                  <a:cubicBezTo>
                    <a:pt x="17784" y="20422"/>
                    <a:pt x="17903" y="21600"/>
                    <a:pt x="18023" y="21600"/>
                  </a:cubicBezTo>
                  <a:cubicBezTo>
                    <a:pt x="18163" y="21600"/>
                    <a:pt x="18283" y="20029"/>
                    <a:pt x="18283" y="17280"/>
                  </a:cubicBezTo>
                  <a:cubicBezTo>
                    <a:pt x="18283" y="11389"/>
                    <a:pt x="17843" y="13353"/>
                    <a:pt x="17843" y="9818"/>
                  </a:cubicBezTo>
                  <a:moveTo>
                    <a:pt x="17444" y="17673"/>
                  </a:moveTo>
                  <a:cubicBezTo>
                    <a:pt x="17384" y="18458"/>
                    <a:pt x="17304" y="19636"/>
                    <a:pt x="17224" y="19636"/>
                  </a:cubicBezTo>
                  <a:cubicBezTo>
                    <a:pt x="17144" y="19636"/>
                    <a:pt x="17104" y="19244"/>
                    <a:pt x="17104" y="17280"/>
                  </a:cubicBezTo>
                  <a:cubicBezTo>
                    <a:pt x="17104" y="6284"/>
                    <a:pt x="17104" y="6284"/>
                    <a:pt x="17104" y="6284"/>
                  </a:cubicBezTo>
                  <a:cubicBezTo>
                    <a:pt x="16984" y="6284"/>
                    <a:pt x="16984" y="6284"/>
                    <a:pt x="16984" y="6284"/>
                  </a:cubicBezTo>
                  <a:cubicBezTo>
                    <a:pt x="16984" y="17280"/>
                    <a:pt x="16984" y="17280"/>
                    <a:pt x="16984" y="17280"/>
                  </a:cubicBezTo>
                  <a:cubicBezTo>
                    <a:pt x="16984" y="20422"/>
                    <a:pt x="17104" y="21600"/>
                    <a:pt x="17204" y="21600"/>
                  </a:cubicBezTo>
                  <a:cubicBezTo>
                    <a:pt x="17304" y="21600"/>
                    <a:pt x="17384" y="20422"/>
                    <a:pt x="17444" y="19244"/>
                  </a:cubicBezTo>
                  <a:cubicBezTo>
                    <a:pt x="17444" y="19244"/>
                    <a:pt x="17444" y="19244"/>
                    <a:pt x="17444" y="19244"/>
                  </a:cubicBezTo>
                  <a:cubicBezTo>
                    <a:pt x="17444" y="21207"/>
                    <a:pt x="17444" y="21207"/>
                    <a:pt x="17444" y="21207"/>
                  </a:cubicBezTo>
                  <a:cubicBezTo>
                    <a:pt x="17544" y="21207"/>
                    <a:pt x="17544" y="21207"/>
                    <a:pt x="17544" y="21207"/>
                  </a:cubicBezTo>
                  <a:cubicBezTo>
                    <a:pt x="17544" y="6284"/>
                    <a:pt x="17544" y="6284"/>
                    <a:pt x="17544" y="6284"/>
                  </a:cubicBezTo>
                  <a:cubicBezTo>
                    <a:pt x="17444" y="6284"/>
                    <a:pt x="17444" y="6284"/>
                    <a:pt x="17444" y="6284"/>
                  </a:cubicBezTo>
                  <a:lnTo>
                    <a:pt x="17444" y="17673"/>
                  </a:lnTo>
                  <a:close/>
                  <a:moveTo>
                    <a:pt x="16465" y="19636"/>
                  </a:moveTo>
                  <a:cubicBezTo>
                    <a:pt x="16385" y="19636"/>
                    <a:pt x="16345" y="19244"/>
                    <a:pt x="16265" y="17673"/>
                  </a:cubicBezTo>
                  <a:cubicBezTo>
                    <a:pt x="16265" y="9818"/>
                    <a:pt x="16265" y="9818"/>
                    <a:pt x="16265" y="9818"/>
                  </a:cubicBezTo>
                  <a:cubicBezTo>
                    <a:pt x="16325" y="8640"/>
                    <a:pt x="16405" y="7855"/>
                    <a:pt x="16465" y="7855"/>
                  </a:cubicBezTo>
                  <a:cubicBezTo>
                    <a:pt x="16585" y="7855"/>
                    <a:pt x="16685" y="9425"/>
                    <a:pt x="16685" y="13745"/>
                  </a:cubicBezTo>
                  <a:cubicBezTo>
                    <a:pt x="16685" y="17673"/>
                    <a:pt x="16585" y="19636"/>
                    <a:pt x="16465" y="19636"/>
                  </a:cubicBezTo>
                  <a:moveTo>
                    <a:pt x="16485" y="5891"/>
                  </a:moveTo>
                  <a:cubicBezTo>
                    <a:pt x="16405" y="5891"/>
                    <a:pt x="16325" y="6676"/>
                    <a:pt x="16265" y="7462"/>
                  </a:cubicBezTo>
                  <a:cubicBezTo>
                    <a:pt x="16265" y="7855"/>
                    <a:pt x="16265" y="7855"/>
                    <a:pt x="16265" y="7855"/>
                  </a:cubicBezTo>
                  <a:cubicBezTo>
                    <a:pt x="16265" y="393"/>
                    <a:pt x="16265" y="393"/>
                    <a:pt x="16265" y="393"/>
                  </a:cubicBezTo>
                  <a:cubicBezTo>
                    <a:pt x="16165" y="393"/>
                    <a:pt x="16165" y="393"/>
                    <a:pt x="16165" y="393"/>
                  </a:cubicBezTo>
                  <a:cubicBezTo>
                    <a:pt x="16165" y="18065"/>
                    <a:pt x="16165" y="18065"/>
                    <a:pt x="16165" y="18065"/>
                  </a:cubicBezTo>
                  <a:cubicBezTo>
                    <a:pt x="16165" y="19244"/>
                    <a:pt x="16165" y="20029"/>
                    <a:pt x="16145" y="21207"/>
                  </a:cubicBezTo>
                  <a:cubicBezTo>
                    <a:pt x="16225" y="21207"/>
                    <a:pt x="16225" y="21207"/>
                    <a:pt x="16225" y="21207"/>
                  </a:cubicBezTo>
                  <a:cubicBezTo>
                    <a:pt x="16245" y="19636"/>
                    <a:pt x="16245" y="19636"/>
                    <a:pt x="16245" y="19636"/>
                  </a:cubicBezTo>
                  <a:cubicBezTo>
                    <a:pt x="16305" y="20815"/>
                    <a:pt x="16385" y="21600"/>
                    <a:pt x="16465" y="21600"/>
                  </a:cubicBezTo>
                  <a:cubicBezTo>
                    <a:pt x="16605" y="21600"/>
                    <a:pt x="16784" y="19636"/>
                    <a:pt x="16784" y="13745"/>
                  </a:cubicBezTo>
                  <a:cubicBezTo>
                    <a:pt x="16784" y="7855"/>
                    <a:pt x="16605" y="5891"/>
                    <a:pt x="16485" y="5891"/>
                  </a:cubicBezTo>
                  <a:moveTo>
                    <a:pt x="15086" y="9818"/>
                  </a:moveTo>
                  <a:cubicBezTo>
                    <a:pt x="15086" y="8640"/>
                    <a:pt x="15126" y="7855"/>
                    <a:pt x="15226" y="7855"/>
                  </a:cubicBezTo>
                  <a:cubicBezTo>
                    <a:pt x="15306" y="7855"/>
                    <a:pt x="15366" y="8247"/>
                    <a:pt x="15426" y="9818"/>
                  </a:cubicBezTo>
                  <a:cubicBezTo>
                    <a:pt x="15486" y="8640"/>
                    <a:pt x="15486" y="8640"/>
                    <a:pt x="15486" y="8640"/>
                  </a:cubicBezTo>
                  <a:cubicBezTo>
                    <a:pt x="15446" y="7069"/>
                    <a:pt x="15326" y="5891"/>
                    <a:pt x="15226" y="5891"/>
                  </a:cubicBezTo>
                  <a:cubicBezTo>
                    <a:pt x="15086" y="5891"/>
                    <a:pt x="14986" y="7462"/>
                    <a:pt x="14966" y="9818"/>
                  </a:cubicBezTo>
                  <a:cubicBezTo>
                    <a:pt x="14966" y="15316"/>
                    <a:pt x="15426" y="13353"/>
                    <a:pt x="15426" y="17280"/>
                  </a:cubicBezTo>
                  <a:cubicBezTo>
                    <a:pt x="15426" y="18458"/>
                    <a:pt x="15366" y="19636"/>
                    <a:pt x="15246" y="19636"/>
                  </a:cubicBezTo>
                  <a:cubicBezTo>
                    <a:pt x="15166" y="19636"/>
                    <a:pt x="15086" y="18851"/>
                    <a:pt x="15026" y="17673"/>
                  </a:cubicBezTo>
                  <a:cubicBezTo>
                    <a:pt x="14946" y="18851"/>
                    <a:pt x="14946" y="18851"/>
                    <a:pt x="14946" y="18851"/>
                  </a:cubicBezTo>
                  <a:cubicBezTo>
                    <a:pt x="15026" y="20422"/>
                    <a:pt x="15146" y="21600"/>
                    <a:pt x="15266" y="21600"/>
                  </a:cubicBezTo>
                  <a:cubicBezTo>
                    <a:pt x="15406" y="21600"/>
                    <a:pt x="15526" y="20029"/>
                    <a:pt x="15526" y="17280"/>
                  </a:cubicBezTo>
                  <a:cubicBezTo>
                    <a:pt x="15526" y="11389"/>
                    <a:pt x="15086" y="13353"/>
                    <a:pt x="15086" y="9818"/>
                  </a:cubicBezTo>
                  <a:moveTo>
                    <a:pt x="14567" y="5891"/>
                  </a:moveTo>
                  <a:cubicBezTo>
                    <a:pt x="14467" y="5891"/>
                    <a:pt x="14387" y="7069"/>
                    <a:pt x="14327" y="8247"/>
                  </a:cubicBezTo>
                  <a:cubicBezTo>
                    <a:pt x="14327" y="8247"/>
                    <a:pt x="14327" y="8247"/>
                    <a:pt x="14327" y="8247"/>
                  </a:cubicBezTo>
                  <a:cubicBezTo>
                    <a:pt x="14327" y="6284"/>
                    <a:pt x="14327" y="6284"/>
                    <a:pt x="14327" y="6284"/>
                  </a:cubicBezTo>
                  <a:cubicBezTo>
                    <a:pt x="14227" y="6284"/>
                    <a:pt x="14227" y="6284"/>
                    <a:pt x="14227" y="6284"/>
                  </a:cubicBezTo>
                  <a:cubicBezTo>
                    <a:pt x="14227" y="21207"/>
                    <a:pt x="14227" y="21207"/>
                    <a:pt x="14227" y="21207"/>
                  </a:cubicBezTo>
                  <a:cubicBezTo>
                    <a:pt x="14327" y="21207"/>
                    <a:pt x="14327" y="21207"/>
                    <a:pt x="14327" y="21207"/>
                  </a:cubicBezTo>
                  <a:cubicBezTo>
                    <a:pt x="14327" y="10211"/>
                    <a:pt x="14327" y="10211"/>
                    <a:pt x="14327" y="10211"/>
                  </a:cubicBezTo>
                  <a:cubicBezTo>
                    <a:pt x="14367" y="9033"/>
                    <a:pt x="14467" y="7855"/>
                    <a:pt x="14547" y="7855"/>
                  </a:cubicBezTo>
                  <a:cubicBezTo>
                    <a:pt x="14626" y="7855"/>
                    <a:pt x="14666" y="8247"/>
                    <a:pt x="14666" y="10211"/>
                  </a:cubicBezTo>
                  <a:cubicBezTo>
                    <a:pt x="14666" y="21207"/>
                    <a:pt x="14666" y="21207"/>
                    <a:pt x="14666" y="21207"/>
                  </a:cubicBezTo>
                  <a:cubicBezTo>
                    <a:pt x="14786" y="21207"/>
                    <a:pt x="14786" y="21207"/>
                    <a:pt x="14786" y="21207"/>
                  </a:cubicBezTo>
                  <a:cubicBezTo>
                    <a:pt x="14786" y="10211"/>
                    <a:pt x="14786" y="10211"/>
                    <a:pt x="14786" y="10211"/>
                  </a:cubicBezTo>
                  <a:cubicBezTo>
                    <a:pt x="14786" y="7069"/>
                    <a:pt x="14666" y="5891"/>
                    <a:pt x="14567" y="5891"/>
                  </a:cubicBezTo>
                  <a:moveTo>
                    <a:pt x="13887" y="17280"/>
                  </a:moveTo>
                  <a:cubicBezTo>
                    <a:pt x="13807" y="18851"/>
                    <a:pt x="13727" y="19636"/>
                    <a:pt x="13647" y="19636"/>
                  </a:cubicBezTo>
                  <a:cubicBezTo>
                    <a:pt x="13587" y="19636"/>
                    <a:pt x="13507" y="18851"/>
                    <a:pt x="13507" y="17673"/>
                  </a:cubicBezTo>
                  <a:cubicBezTo>
                    <a:pt x="13507" y="15316"/>
                    <a:pt x="13627" y="14138"/>
                    <a:pt x="13887" y="13353"/>
                  </a:cubicBezTo>
                  <a:lnTo>
                    <a:pt x="13887" y="17280"/>
                  </a:lnTo>
                  <a:close/>
                  <a:moveTo>
                    <a:pt x="13987" y="10604"/>
                  </a:moveTo>
                  <a:cubicBezTo>
                    <a:pt x="13987" y="7069"/>
                    <a:pt x="13847" y="5891"/>
                    <a:pt x="13727" y="5891"/>
                  </a:cubicBezTo>
                  <a:cubicBezTo>
                    <a:pt x="13567" y="5891"/>
                    <a:pt x="13488" y="7462"/>
                    <a:pt x="13428" y="9033"/>
                  </a:cubicBezTo>
                  <a:cubicBezTo>
                    <a:pt x="13527" y="10211"/>
                    <a:pt x="13527" y="10211"/>
                    <a:pt x="13527" y="10211"/>
                  </a:cubicBezTo>
                  <a:cubicBezTo>
                    <a:pt x="13547" y="9033"/>
                    <a:pt x="13607" y="7855"/>
                    <a:pt x="13727" y="7855"/>
                  </a:cubicBezTo>
                  <a:cubicBezTo>
                    <a:pt x="13807" y="7855"/>
                    <a:pt x="13887" y="8640"/>
                    <a:pt x="13887" y="10604"/>
                  </a:cubicBezTo>
                  <a:cubicBezTo>
                    <a:pt x="13887" y="11389"/>
                    <a:pt x="13887" y="11389"/>
                    <a:pt x="13887" y="11389"/>
                  </a:cubicBezTo>
                  <a:cubicBezTo>
                    <a:pt x="13547" y="12567"/>
                    <a:pt x="13408" y="14138"/>
                    <a:pt x="13408" y="17280"/>
                  </a:cubicBezTo>
                  <a:cubicBezTo>
                    <a:pt x="13408" y="20029"/>
                    <a:pt x="13507" y="21600"/>
                    <a:pt x="13627" y="21600"/>
                  </a:cubicBezTo>
                  <a:cubicBezTo>
                    <a:pt x="13747" y="21600"/>
                    <a:pt x="13827" y="20422"/>
                    <a:pt x="13887" y="19244"/>
                  </a:cubicBezTo>
                  <a:cubicBezTo>
                    <a:pt x="13887" y="21207"/>
                    <a:pt x="13887" y="21207"/>
                    <a:pt x="13887" y="21207"/>
                  </a:cubicBezTo>
                  <a:cubicBezTo>
                    <a:pt x="14007" y="21207"/>
                    <a:pt x="14007" y="21207"/>
                    <a:pt x="14007" y="21207"/>
                  </a:cubicBezTo>
                  <a:cubicBezTo>
                    <a:pt x="13987" y="20422"/>
                    <a:pt x="13987" y="19636"/>
                    <a:pt x="13987" y="18065"/>
                  </a:cubicBezTo>
                  <a:lnTo>
                    <a:pt x="13987" y="10604"/>
                  </a:lnTo>
                  <a:close/>
                  <a:moveTo>
                    <a:pt x="12988" y="7855"/>
                  </a:moveTo>
                  <a:cubicBezTo>
                    <a:pt x="13088" y="7855"/>
                    <a:pt x="13168" y="9425"/>
                    <a:pt x="13168" y="12567"/>
                  </a:cubicBezTo>
                  <a:cubicBezTo>
                    <a:pt x="12768" y="12567"/>
                    <a:pt x="12768" y="12567"/>
                    <a:pt x="12768" y="12567"/>
                  </a:cubicBezTo>
                  <a:cubicBezTo>
                    <a:pt x="12788" y="9425"/>
                    <a:pt x="12848" y="7855"/>
                    <a:pt x="12988" y="7855"/>
                  </a:cubicBezTo>
                  <a:moveTo>
                    <a:pt x="12988" y="19636"/>
                  </a:moveTo>
                  <a:cubicBezTo>
                    <a:pt x="12868" y="19636"/>
                    <a:pt x="12768" y="17673"/>
                    <a:pt x="12768" y="14138"/>
                  </a:cubicBezTo>
                  <a:cubicBezTo>
                    <a:pt x="13268" y="14138"/>
                    <a:pt x="13268" y="14138"/>
                    <a:pt x="13268" y="14138"/>
                  </a:cubicBezTo>
                  <a:cubicBezTo>
                    <a:pt x="13268" y="12960"/>
                    <a:pt x="13268" y="12960"/>
                    <a:pt x="13268" y="12960"/>
                  </a:cubicBezTo>
                  <a:cubicBezTo>
                    <a:pt x="13268" y="7855"/>
                    <a:pt x="13128" y="5891"/>
                    <a:pt x="12968" y="5891"/>
                  </a:cubicBezTo>
                  <a:cubicBezTo>
                    <a:pt x="12788" y="5891"/>
                    <a:pt x="12668" y="9033"/>
                    <a:pt x="12668" y="13745"/>
                  </a:cubicBezTo>
                  <a:cubicBezTo>
                    <a:pt x="12668" y="19244"/>
                    <a:pt x="12828" y="21600"/>
                    <a:pt x="12988" y="21600"/>
                  </a:cubicBezTo>
                  <a:cubicBezTo>
                    <a:pt x="13168" y="21600"/>
                    <a:pt x="13248" y="19636"/>
                    <a:pt x="13288" y="18065"/>
                  </a:cubicBezTo>
                  <a:cubicBezTo>
                    <a:pt x="13208" y="17280"/>
                    <a:pt x="13208" y="17280"/>
                    <a:pt x="13208" y="17280"/>
                  </a:cubicBezTo>
                  <a:cubicBezTo>
                    <a:pt x="13168" y="18851"/>
                    <a:pt x="13088" y="19636"/>
                    <a:pt x="12988" y="19636"/>
                  </a:cubicBezTo>
                  <a:moveTo>
                    <a:pt x="12269" y="5891"/>
                  </a:moveTo>
                  <a:cubicBezTo>
                    <a:pt x="12169" y="5891"/>
                    <a:pt x="12089" y="7069"/>
                    <a:pt x="12029" y="8247"/>
                  </a:cubicBezTo>
                  <a:cubicBezTo>
                    <a:pt x="11989" y="7069"/>
                    <a:pt x="11929" y="5891"/>
                    <a:pt x="11829" y="5891"/>
                  </a:cubicBezTo>
                  <a:cubicBezTo>
                    <a:pt x="11749" y="5891"/>
                    <a:pt x="11669" y="6676"/>
                    <a:pt x="11609" y="8247"/>
                  </a:cubicBezTo>
                  <a:cubicBezTo>
                    <a:pt x="11589" y="8247"/>
                    <a:pt x="11589" y="8247"/>
                    <a:pt x="11589" y="8247"/>
                  </a:cubicBezTo>
                  <a:cubicBezTo>
                    <a:pt x="11589" y="6284"/>
                    <a:pt x="11589" y="6284"/>
                    <a:pt x="11589" y="6284"/>
                  </a:cubicBezTo>
                  <a:cubicBezTo>
                    <a:pt x="11489" y="6284"/>
                    <a:pt x="11489" y="6284"/>
                    <a:pt x="11489" y="6284"/>
                  </a:cubicBezTo>
                  <a:cubicBezTo>
                    <a:pt x="11489" y="21207"/>
                    <a:pt x="11489" y="21207"/>
                    <a:pt x="11489" y="21207"/>
                  </a:cubicBezTo>
                  <a:cubicBezTo>
                    <a:pt x="11589" y="21207"/>
                    <a:pt x="11589" y="21207"/>
                    <a:pt x="11589" y="21207"/>
                  </a:cubicBezTo>
                  <a:cubicBezTo>
                    <a:pt x="11589" y="10211"/>
                    <a:pt x="11589" y="10211"/>
                    <a:pt x="11589" y="10211"/>
                  </a:cubicBezTo>
                  <a:cubicBezTo>
                    <a:pt x="11649" y="9033"/>
                    <a:pt x="11709" y="7855"/>
                    <a:pt x="11809" y="7855"/>
                  </a:cubicBezTo>
                  <a:cubicBezTo>
                    <a:pt x="11889" y="7855"/>
                    <a:pt x="11929" y="8640"/>
                    <a:pt x="11929" y="10604"/>
                  </a:cubicBezTo>
                  <a:cubicBezTo>
                    <a:pt x="11929" y="21207"/>
                    <a:pt x="11929" y="21207"/>
                    <a:pt x="11929" y="21207"/>
                  </a:cubicBezTo>
                  <a:cubicBezTo>
                    <a:pt x="12029" y="21207"/>
                    <a:pt x="12029" y="21207"/>
                    <a:pt x="12029" y="21207"/>
                  </a:cubicBezTo>
                  <a:cubicBezTo>
                    <a:pt x="12029" y="10211"/>
                    <a:pt x="12029" y="10211"/>
                    <a:pt x="12029" y="10211"/>
                  </a:cubicBezTo>
                  <a:cubicBezTo>
                    <a:pt x="12089" y="9033"/>
                    <a:pt x="12149" y="7855"/>
                    <a:pt x="12249" y="7855"/>
                  </a:cubicBezTo>
                  <a:cubicBezTo>
                    <a:pt x="12329" y="7855"/>
                    <a:pt x="12369" y="8640"/>
                    <a:pt x="12369" y="10604"/>
                  </a:cubicBezTo>
                  <a:cubicBezTo>
                    <a:pt x="12369" y="21207"/>
                    <a:pt x="12369" y="21207"/>
                    <a:pt x="12369" y="21207"/>
                  </a:cubicBezTo>
                  <a:cubicBezTo>
                    <a:pt x="12468" y="21207"/>
                    <a:pt x="12468" y="21207"/>
                    <a:pt x="12468" y="21207"/>
                  </a:cubicBezTo>
                  <a:cubicBezTo>
                    <a:pt x="12468" y="10604"/>
                    <a:pt x="12468" y="10604"/>
                    <a:pt x="12468" y="10604"/>
                  </a:cubicBezTo>
                  <a:cubicBezTo>
                    <a:pt x="12468" y="6676"/>
                    <a:pt x="12369" y="5891"/>
                    <a:pt x="12269" y="5891"/>
                  </a:cubicBezTo>
                  <a:moveTo>
                    <a:pt x="10550" y="5891"/>
                  </a:moveTo>
                  <a:cubicBezTo>
                    <a:pt x="10470" y="5891"/>
                    <a:pt x="10390" y="7069"/>
                    <a:pt x="10330" y="8247"/>
                  </a:cubicBezTo>
                  <a:cubicBezTo>
                    <a:pt x="10330" y="8247"/>
                    <a:pt x="10330" y="8247"/>
                    <a:pt x="10330" y="8247"/>
                  </a:cubicBezTo>
                  <a:cubicBezTo>
                    <a:pt x="10330" y="6284"/>
                    <a:pt x="10330" y="6284"/>
                    <a:pt x="10330" y="6284"/>
                  </a:cubicBezTo>
                  <a:cubicBezTo>
                    <a:pt x="10231" y="6284"/>
                    <a:pt x="10231" y="6284"/>
                    <a:pt x="10231" y="6284"/>
                  </a:cubicBezTo>
                  <a:cubicBezTo>
                    <a:pt x="10231" y="21207"/>
                    <a:pt x="10231" y="21207"/>
                    <a:pt x="10231" y="21207"/>
                  </a:cubicBezTo>
                  <a:cubicBezTo>
                    <a:pt x="10330" y="21207"/>
                    <a:pt x="10330" y="21207"/>
                    <a:pt x="10330" y="21207"/>
                  </a:cubicBezTo>
                  <a:cubicBezTo>
                    <a:pt x="10330" y="10211"/>
                    <a:pt x="10330" y="10211"/>
                    <a:pt x="10330" y="10211"/>
                  </a:cubicBezTo>
                  <a:cubicBezTo>
                    <a:pt x="10370" y="9033"/>
                    <a:pt x="10470" y="7855"/>
                    <a:pt x="10550" y="7855"/>
                  </a:cubicBezTo>
                  <a:cubicBezTo>
                    <a:pt x="10630" y="7855"/>
                    <a:pt x="10670" y="8247"/>
                    <a:pt x="10670" y="10211"/>
                  </a:cubicBezTo>
                  <a:cubicBezTo>
                    <a:pt x="10670" y="21207"/>
                    <a:pt x="10670" y="21207"/>
                    <a:pt x="10670" y="21207"/>
                  </a:cubicBezTo>
                  <a:cubicBezTo>
                    <a:pt x="10770" y="21207"/>
                    <a:pt x="10770" y="21207"/>
                    <a:pt x="10770" y="21207"/>
                  </a:cubicBezTo>
                  <a:cubicBezTo>
                    <a:pt x="10770" y="10211"/>
                    <a:pt x="10770" y="10211"/>
                    <a:pt x="10770" y="10211"/>
                  </a:cubicBezTo>
                  <a:cubicBezTo>
                    <a:pt x="10770" y="7069"/>
                    <a:pt x="10670" y="5891"/>
                    <a:pt x="10550" y="5891"/>
                  </a:cubicBezTo>
                  <a:moveTo>
                    <a:pt x="9711" y="19636"/>
                  </a:moveTo>
                  <a:cubicBezTo>
                    <a:pt x="9591" y="19636"/>
                    <a:pt x="9511" y="17673"/>
                    <a:pt x="9511" y="13745"/>
                  </a:cubicBezTo>
                  <a:cubicBezTo>
                    <a:pt x="9511" y="9818"/>
                    <a:pt x="9591" y="7855"/>
                    <a:pt x="9711" y="7855"/>
                  </a:cubicBezTo>
                  <a:cubicBezTo>
                    <a:pt x="9851" y="7855"/>
                    <a:pt x="9931" y="9818"/>
                    <a:pt x="9931" y="13745"/>
                  </a:cubicBezTo>
                  <a:cubicBezTo>
                    <a:pt x="9931" y="17673"/>
                    <a:pt x="9851" y="19636"/>
                    <a:pt x="9711" y="19636"/>
                  </a:cubicBezTo>
                  <a:moveTo>
                    <a:pt x="9711" y="5891"/>
                  </a:moveTo>
                  <a:cubicBezTo>
                    <a:pt x="9511" y="5891"/>
                    <a:pt x="9411" y="9425"/>
                    <a:pt x="9411" y="13745"/>
                  </a:cubicBezTo>
                  <a:cubicBezTo>
                    <a:pt x="9411" y="18065"/>
                    <a:pt x="9511" y="21600"/>
                    <a:pt x="9711" y="21600"/>
                  </a:cubicBezTo>
                  <a:cubicBezTo>
                    <a:pt x="9931" y="21600"/>
                    <a:pt x="10031" y="18065"/>
                    <a:pt x="10031" y="13745"/>
                  </a:cubicBezTo>
                  <a:cubicBezTo>
                    <a:pt x="10031" y="9425"/>
                    <a:pt x="9931" y="5891"/>
                    <a:pt x="9711" y="5891"/>
                  </a:cubicBezTo>
                  <a:moveTo>
                    <a:pt x="9092" y="21207"/>
                  </a:moveTo>
                  <a:cubicBezTo>
                    <a:pt x="9191" y="21207"/>
                    <a:pt x="9191" y="21207"/>
                    <a:pt x="9191" y="21207"/>
                  </a:cubicBezTo>
                  <a:cubicBezTo>
                    <a:pt x="9191" y="6284"/>
                    <a:pt x="9191" y="6284"/>
                    <a:pt x="9191" y="6284"/>
                  </a:cubicBezTo>
                  <a:cubicBezTo>
                    <a:pt x="9092" y="6284"/>
                    <a:pt x="9092" y="6284"/>
                    <a:pt x="9092" y="6284"/>
                  </a:cubicBezTo>
                  <a:lnTo>
                    <a:pt x="9092" y="21207"/>
                  </a:lnTo>
                  <a:close/>
                  <a:moveTo>
                    <a:pt x="9092" y="2749"/>
                  </a:moveTo>
                  <a:cubicBezTo>
                    <a:pt x="9191" y="2749"/>
                    <a:pt x="9191" y="2749"/>
                    <a:pt x="9191" y="2749"/>
                  </a:cubicBezTo>
                  <a:cubicBezTo>
                    <a:pt x="9191" y="0"/>
                    <a:pt x="9191" y="0"/>
                    <a:pt x="9191" y="0"/>
                  </a:cubicBezTo>
                  <a:cubicBezTo>
                    <a:pt x="9092" y="0"/>
                    <a:pt x="9092" y="0"/>
                    <a:pt x="9092" y="0"/>
                  </a:cubicBezTo>
                  <a:lnTo>
                    <a:pt x="9092" y="2749"/>
                  </a:lnTo>
                  <a:close/>
                  <a:moveTo>
                    <a:pt x="8692" y="18851"/>
                  </a:moveTo>
                  <a:cubicBezTo>
                    <a:pt x="8692" y="7855"/>
                    <a:pt x="8692" y="7855"/>
                    <a:pt x="8692" y="7855"/>
                  </a:cubicBezTo>
                  <a:cubicBezTo>
                    <a:pt x="8872" y="7855"/>
                    <a:pt x="8872" y="7855"/>
                    <a:pt x="8872" y="7855"/>
                  </a:cubicBezTo>
                  <a:cubicBezTo>
                    <a:pt x="8872" y="6284"/>
                    <a:pt x="8872" y="6284"/>
                    <a:pt x="8872" y="6284"/>
                  </a:cubicBezTo>
                  <a:cubicBezTo>
                    <a:pt x="8692" y="6284"/>
                    <a:pt x="8692" y="6284"/>
                    <a:pt x="8692" y="6284"/>
                  </a:cubicBezTo>
                  <a:cubicBezTo>
                    <a:pt x="8692" y="1178"/>
                    <a:pt x="8692" y="1178"/>
                    <a:pt x="8692" y="1178"/>
                  </a:cubicBezTo>
                  <a:cubicBezTo>
                    <a:pt x="8592" y="1178"/>
                    <a:pt x="8592" y="1178"/>
                    <a:pt x="8592" y="1178"/>
                  </a:cubicBezTo>
                  <a:cubicBezTo>
                    <a:pt x="8592" y="6284"/>
                    <a:pt x="8592" y="6284"/>
                    <a:pt x="8592" y="6284"/>
                  </a:cubicBezTo>
                  <a:cubicBezTo>
                    <a:pt x="8452" y="6284"/>
                    <a:pt x="8452" y="6284"/>
                    <a:pt x="8452" y="6284"/>
                  </a:cubicBezTo>
                  <a:cubicBezTo>
                    <a:pt x="8452" y="7855"/>
                    <a:pt x="8452" y="7855"/>
                    <a:pt x="8452" y="7855"/>
                  </a:cubicBezTo>
                  <a:cubicBezTo>
                    <a:pt x="8592" y="7855"/>
                    <a:pt x="8592" y="7855"/>
                    <a:pt x="8592" y="7855"/>
                  </a:cubicBezTo>
                  <a:cubicBezTo>
                    <a:pt x="8592" y="19244"/>
                    <a:pt x="8592" y="19244"/>
                    <a:pt x="8592" y="19244"/>
                  </a:cubicBezTo>
                  <a:cubicBezTo>
                    <a:pt x="8592" y="21207"/>
                    <a:pt x="8632" y="21600"/>
                    <a:pt x="8752" y="21600"/>
                  </a:cubicBezTo>
                  <a:cubicBezTo>
                    <a:pt x="8812" y="21600"/>
                    <a:pt x="8852" y="21600"/>
                    <a:pt x="8872" y="21207"/>
                  </a:cubicBezTo>
                  <a:cubicBezTo>
                    <a:pt x="8872" y="19636"/>
                    <a:pt x="8872" y="19636"/>
                    <a:pt x="8872" y="19636"/>
                  </a:cubicBezTo>
                  <a:cubicBezTo>
                    <a:pt x="8852" y="19636"/>
                    <a:pt x="8812" y="19636"/>
                    <a:pt x="8772" y="19636"/>
                  </a:cubicBezTo>
                  <a:cubicBezTo>
                    <a:pt x="8712" y="19636"/>
                    <a:pt x="8692" y="19636"/>
                    <a:pt x="8692" y="18851"/>
                  </a:cubicBezTo>
                  <a:moveTo>
                    <a:pt x="8232" y="17280"/>
                  </a:moveTo>
                  <a:cubicBezTo>
                    <a:pt x="8152" y="18851"/>
                    <a:pt x="8073" y="19636"/>
                    <a:pt x="7993" y="19636"/>
                  </a:cubicBezTo>
                  <a:cubicBezTo>
                    <a:pt x="7933" y="19636"/>
                    <a:pt x="7853" y="18851"/>
                    <a:pt x="7853" y="17673"/>
                  </a:cubicBezTo>
                  <a:cubicBezTo>
                    <a:pt x="7853" y="15316"/>
                    <a:pt x="7973" y="14138"/>
                    <a:pt x="8232" y="13353"/>
                  </a:cubicBezTo>
                  <a:lnTo>
                    <a:pt x="8232" y="17280"/>
                  </a:lnTo>
                  <a:close/>
                  <a:moveTo>
                    <a:pt x="8332" y="10604"/>
                  </a:moveTo>
                  <a:cubicBezTo>
                    <a:pt x="8332" y="7069"/>
                    <a:pt x="8192" y="5891"/>
                    <a:pt x="8073" y="5891"/>
                  </a:cubicBezTo>
                  <a:cubicBezTo>
                    <a:pt x="7913" y="5891"/>
                    <a:pt x="7833" y="7462"/>
                    <a:pt x="7773" y="9033"/>
                  </a:cubicBezTo>
                  <a:cubicBezTo>
                    <a:pt x="7873" y="10211"/>
                    <a:pt x="7873" y="10211"/>
                    <a:pt x="7873" y="10211"/>
                  </a:cubicBezTo>
                  <a:cubicBezTo>
                    <a:pt x="7893" y="9033"/>
                    <a:pt x="7953" y="7855"/>
                    <a:pt x="8073" y="7855"/>
                  </a:cubicBezTo>
                  <a:cubicBezTo>
                    <a:pt x="8152" y="7855"/>
                    <a:pt x="8232" y="8640"/>
                    <a:pt x="8232" y="10604"/>
                  </a:cubicBezTo>
                  <a:cubicBezTo>
                    <a:pt x="8232" y="11389"/>
                    <a:pt x="8232" y="11389"/>
                    <a:pt x="8232" y="11389"/>
                  </a:cubicBezTo>
                  <a:cubicBezTo>
                    <a:pt x="7893" y="12567"/>
                    <a:pt x="7753" y="14138"/>
                    <a:pt x="7753" y="17280"/>
                  </a:cubicBezTo>
                  <a:cubicBezTo>
                    <a:pt x="7753" y="20029"/>
                    <a:pt x="7853" y="21600"/>
                    <a:pt x="7973" y="21600"/>
                  </a:cubicBezTo>
                  <a:cubicBezTo>
                    <a:pt x="8093" y="21600"/>
                    <a:pt x="8172" y="20422"/>
                    <a:pt x="8232" y="19244"/>
                  </a:cubicBezTo>
                  <a:cubicBezTo>
                    <a:pt x="8232" y="21207"/>
                    <a:pt x="8232" y="21207"/>
                    <a:pt x="8232" y="21207"/>
                  </a:cubicBezTo>
                  <a:cubicBezTo>
                    <a:pt x="8352" y="21207"/>
                    <a:pt x="8352" y="21207"/>
                    <a:pt x="8352" y="21207"/>
                  </a:cubicBezTo>
                  <a:cubicBezTo>
                    <a:pt x="8332" y="20422"/>
                    <a:pt x="8332" y="19636"/>
                    <a:pt x="8332" y="18065"/>
                  </a:cubicBezTo>
                  <a:lnTo>
                    <a:pt x="8332" y="10604"/>
                  </a:lnTo>
                  <a:close/>
                  <a:moveTo>
                    <a:pt x="7353" y="18851"/>
                  </a:moveTo>
                  <a:cubicBezTo>
                    <a:pt x="7353" y="18851"/>
                    <a:pt x="7353" y="18851"/>
                    <a:pt x="7353" y="18851"/>
                  </a:cubicBezTo>
                  <a:cubicBezTo>
                    <a:pt x="7173" y="6284"/>
                    <a:pt x="7173" y="6284"/>
                    <a:pt x="7173" y="6284"/>
                  </a:cubicBezTo>
                  <a:cubicBezTo>
                    <a:pt x="7053" y="6284"/>
                    <a:pt x="7053" y="6284"/>
                    <a:pt x="7053" y="6284"/>
                  </a:cubicBezTo>
                  <a:cubicBezTo>
                    <a:pt x="7293" y="21207"/>
                    <a:pt x="7293" y="21207"/>
                    <a:pt x="7293" y="21207"/>
                  </a:cubicBezTo>
                  <a:cubicBezTo>
                    <a:pt x="7433" y="21207"/>
                    <a:pt x="7433" y="21207"/>
                    <a:pt x="7433" y="21207"/>
                  </a:cubicBezTo>
                  <a:cubicBezTo>
                    <a:pt x="7673" y="6284"/>
                    <a:pt x="7673" y="6284"/>
                    <a:pt x="7673" y="6284"/>
                  </a:cubicBezTo>
                  <a:cubicBezTo>
                    <a:pt x="7553" y="6284"/>
                    <a:pt x="7553" y="6284"/>
                    <a:pt x="7553" y="6284"/>
                  </a:cubicBezTo>
                  <a:lnTo>
                    <a:pt x="7353" y="18851"/>
                  </a:lnTo>
                  <a:close/>
                  <a:moveTo>
                    <a:pt x="6654" y="19636"/>
                  </a:moveTo>
                  <a:cubicBezTo>
                    <a:pt x="6534" y="19636"/>
                    <a:pt x="6454" y="17673"/>
                    <a:pt x="6454" y="13745"/>
                  </a:cubicBezTo>
                  <a:cubicBezTo>
                    <a:pt x="6454" y="9818"/>
                    <a:pt x="6534" y="7855"/>
                    <a:pt x="6654" y="7855"/>
                  </a:cubicBezTo>
                  <a:cubicBezTo>
                    <a:pt x="6794" y="7855"/>
                    <a:pt x="6874" y="9818"/>
                    <a:pt x="6874" y="13745"/>
                  </a:cubicBezTo>
                  <a:cubicBezTo>
                    <a:pt x="6874" y="17673"/>
                    <a:pt x="6794" y="19636"/>
                    <a:pt x="6654" y="19636"/>
                  </a:cubicBezTo>
                  <a:moveTo>
                    <a:pt x="6654" y="5891"/>
                  </a:moveTo>
                  <a:cubicBezTo>
                    <a:pt x="6454" y="5891"/>
                    <a:pt x="6354" y="9425"/>
                    <a:pt x="6354" y="13745"/>
                  </a:cubicBezTo>
                  <a:cubicBezTo>
                    <a:pt x="6354" y="18065"/>
                    <a:pt x="6454" y="21600"/>
                    <a:pt x="6654" y="21600"/>
                  </a:cubicBezTo>
                  <a:cubicBezTo>
                    <a:pt x="6874" y="21600"/>
                    <a:pt x="6974" y="18065"/>
                    <a:pt x="6974" y="13745"/>
                  </a:cubicBezTo>
                  <a:cubicBezTo>
                    <a:pt x="6974" y="9425"/>
                    <a:pt x="6874" y="5891"/>
                    <a:pt x="6654" y="5891"/>
                  </a:cubicBezTo>
                  <a:moveTo>
                    <a:pt x="5935" y="5891"/>
                  </a:moveTo>
                  <a:cubicBezTo>
                    <a:pt x="5855" y="5891"/>
                    <a:pt x="5775" y="7069"/>
                    <a:pt x="5715" y="8247"/>
                  </a:cubicBezTo>
                  <a:cubicBezTo>
                    <a:pt x="5695" y="8247"/>
                    <a:pt x="5695" y="8247"/>
                    <a:pt x="5695" y="8247"/>
                  </a:cubicBezTo>
                  <a:cubicBezTo>
                    <a:pt x="5695" y="6284"/>
                    <a:pt x="5695" y="6284"/>
                    <a:pt x="5695" y="6284"/>
                  </a:cubicBezTo>
                  <a:cubicBezTo>
                    <a:pt x="5595" y="6284"/>
                    <a:pt x="5595" y="6284"/>
                    <a:pt x="5595" y="6284"/>
                  </a:cubicBezTo>
                  <a:cubicBezTo>
                    <a:pt x="5595" y="21207"/>
                    <a:pt x="5595" y="21207"/>
                    <a:pt x="5595" y="21207"/>
                  </a:cubicBezTo>
                  <a:cubicBezTo>
                    <a:pt x="5695" y="21207"/>
                    <a:pt x="5695" y="21207"/>
                    <a:pt x="5695" y="21207"/>
                  </a:cubicBezTo>
                  <a:cubicBezTo>
                    <a:pt x="5695" y="10211"/>
                    <a:pt x="5695" y="10211"/>
                    <a:pt x="5695" y="10211"/>
                  </a:cubicBezTo>
                  <a:cubicBezTo>
                    <a:pt x="5755" y="9033"/>
                    <a:pt x="5835" y="7855"/>
                    <a:pt x="5915" y="7855"/>
                  </a:cubicBezTo>
                  <a:cubicBezTo>
                    <a:pt x="5994" y="7855"/>
                    <a:pt x="6054" y="8247"/>
                    <a:pt x="6054" y="10211"/>
                  </a:cubicBezTo>
                  <a:cubicBezTo>
                    <a:pt x="6054" y="21207"/>
                    <a:pt x="6054" y="21207"/>
                    <a:pt x="6054" y="21207"/>
                  </a:cubicBezTo>
                  <a:cubicBezTo>
                    <a:pt x="6154" y="21207"/>
                    <a:pt x="6154" y="21207"/>
                    <a:pt x="6154" y="21207"/>
                  </a:cubicBezTo>
                  <a:cubicBezTo>
                    <a:pt x="6154" y="10211"/>
                    <a:pt x="6154" y="10211"/>
                    <a:pt x="6154" y="10211"/>
                  </a:cubicBezTo>
                  <a:cubicBezTo>
                    <a:pt x="6154" y="7069"/>
                    <a:pt x="6054" y="5891"/>
                    <a:pt x="5935" y="5891"/>
                  </a:cubicBezTo>
                  <a:moveTo>
                    <a:pt x="5115" y="5891"/>
                  </a:moveTo>
                  <a:cubicBezTo>
                    <a:pt x="5015" y="5891"/>
                    <a:pt x="4935" y="7069"/>
                    <a:pt x="4875" y="8247"/>
                  </a:cubicBezTo>
                  <a:cubicBezTo>
                    <a:pt x="4875" y="8247"/>
                    <a:pt x="4875" y="8247"/>
                    <a:pt x="4875" y="8247"/>
                  </a:cubicBezTo>
                  <a:cubicBezTo>
                    <a:pt x="4875" y="6284"/>
                    <a:pt x="4875" y="6284"/>
                    <a:pt x="4875" y="6284"/>
                  </a:cubicBezTo>
                  <a:cubicBezTo>
                    <a:pt x="4776" y="6284"/>
                    <a:pt x="4776" y="6284"/>
                    <a:pt x="4776" y="6284"/>
                  </a:cubicBezTo>
                  <a:cubicBezTo>
                    <a:pt x="4776" y="21207"/>
                    <a:pt x="4776" y="21207"/>
                    <a:pt x="4776" y="21207"/>
                  </a:cubicBezTo>
                  <a:cubicBezTo>
                    <a:pt x="4875" y="21207"/>
                    <a:pt x="4875" y="21207"/>
                    <a:pt x="4875" y="21207"/>
                  </a:cubicBezTo>
                  <a:cubicBezTo>
                    <a:pt x="4875" y="10211"/>
                    <a:pt x="4875" y="10211"/>
                    <a:pt x="4875" y="10211"/>
                  </a:cubicBezTo>
                  <a:cubicBezTo>
                    <a:pt x="4915" y="9033"/>
                    <a:pt x="5015" y="7855"/>
                    <a:pt x="5095" y="7855"/>
                  </a:cubicBezTo>
                  <a:cubicBezTo>
                    <a:pt x="5175" y="7855"/>
                    <a:pt x="5215" y="8247"/>
                    <a:pt x="5215" y="10211"/>
                  </a:cubicBezTo>
                  <a:cubicBezTo>
                    <a:pt x="5215" y="21207"/>
                    <a:pt x="5215" y="21207"/>
                    <a:pt x="5215" y="21207"/>
                  </a:cubicBezTo>
                  <a:cubicBezTo>
                    <a:pt x="5335" y="21207"/>
                    <a:pt x="5335" y="21207"/>
                    <a:pt x="5335" y="21207"/>
                  </a:cubicBezTo>
                  <a:cubicBezTo>
                    <a:pt x="5335" y="10211"/>
                    <a:pt x="5335" y="10211"/>
                    <a:pt x="5335" y="10211"/>
                  </a:cubicBezTo>
                  <a:cubicBezTo>
                    <a:pt x="5335" y="7069"/>
                    <a:pt x="5215" y="5891"/>
                    <a:pt x="5115" y="5891"/>
                  </a:cubicBezTo>
                  <a:moveTo>
                    <a:pt x="4376" y="2749"/>
                  </a:moveTo>
                  <a:cubicBezTo>
                    <a:pt x="4476" y="2749"/>
                    <a:pt x="4476" y="2749"/>
                    <a:pt x="4476" y="2749"/>
                  </a:cubicBezTo>
                  <a:cubicBezTo>
                    <a:pt x="4476" y="0"/>
                    <a:pt x="4476" y="0"/>
                    <a:pt x="4476" y="0"/>
                  </a:cubicBezTo>
                  <a:cubicBezTo>
                    <a:pt x="4376" y="0"/>
                    <a:pt x="4376" y="0"/>
                    <a:pt x="4376" y="0"/>
                  </a:cubicBezTo>
                  <a:lnTo>
                    <a:pt x="4376" y="2749"/>
                  </a:lnTo>
                  <a:close/>
                  <a:moveTo>
                    <a:pt x="4376" y="21207"/>
                  </a:moveTo>
                  <a:cubicBezTo>
                    <a:pt x="4476" y="21207"/>
                    <a:pt x="4476" y="21207"/>
                    <a:pt x="4476" y="21207"/>
                  </a:cubicBezTo>
                  <a:cubicBezTo>
                    <a:pt x="4476" y="6284"/>
                    <a:pt x="4476" y="6284"/>
                    <a:pt x="4476" y="6284"/>
                  </a:cubicBezTo>
                  <a:cubicBezTo>
                    <a:pt x="4376" y="6284"/>
                    <a:pt x="4376" y="6284"/>
                    <a:pt x="4376" y="6284"/>
                  </a:cubicBezTo>
                  <a:lnTo>
                    <a:pt x="4376" y="21207"/>
                  </a:lnTo>
                  <a:close/>
                  <a:moveTo>
                    <a:pt x="3397" y="7855"/>
                  </a:moveTo>
                  <a:cubicBezTo>
                    <a:pt x="3517" y="7855"/>
                    <a:pt x="3577" y="9425"/>
                    <a:pt x="3577" y="12567"/>
                  </a:cubicBezTo>
                  <a:cubicBezTo>
                    <a:pt x="3197" y="12567"/>
                    <a:pt x="3197" y="12567"/>
                    <a:pt x="3197" y="12567"/>
                  </a:cubicBezTo>
                  <a:cubicBezTo>
                    <a:pt x="3197" y="9425"/>
                    <a:pt x="3277" y="7855"/>
                    <a:pt x="3397" y="7855"/>
                  </a:cubicBezTo>
                  <a:moveTo>
                    <a:pt x="3417" y="19636"/>
                  </a:moveTo>
                  <a:cubicBezTo>
                    <a:pt x="3297" y="19636"/>
                    <a:pt x="3197" y="17673"/>
                    <a:pt x="3197" y="14138"/>
                  </a:cubicBezTo>
                  <a:cubicBezTo>
                    <a:pt x="3697" y="14138"/>
                    <a:pt x="3697" y="14138"/>
                    <a:pt x="3697" y="14138"/>
                  </a:cubicBezTo>
                  <a:cubicBezTo>
                    <a:pt x="3697" y="12960"/>
                    <a:pt x="3697" y="12960"/>
                    <a:pt x="3697" y="12960"/>
                  </a:cubicBezTo>
                  <a:cubicBezTo>
                    <a:pt x="3697" y="7855"/>
                    <a:pt x="3557" y="5891"/>
                    <a:pt x="3397" y="5891"/>
                  </a:cubicBezTo>
                  <a:cubicBezTo>
                    <a:pt x="3217" y="5891"/>
                    <a:pt x="3077" y="9033"/>
                    <a:pt x="3077" y="13745"/>
                  </a:cubicBezTo>
                  <a:cubicBezTo>
                    <a:pt x="3077" y="19244"/>
                    <a:pt x="3257" y="21600"/>
                    <a:pt x="3417" y="21600"/>
                  </a:cubicBezTo>
                  <a:cubicBezTo>
                    <a:pt x="3597" y="21600"/>
                    <a:pt x="3657" y="19636"/>
                    <a:pt x="3717" y="18065"/>
                  </a:cubicBezTo>
                  <a:cubicBezTo>
                    <a:pt x="3637" y="17280"/>
                    <a:pt x="3637" y="17280"/>
                    <a:pt x="3637" y="17280"/>
                  </a:cubicBezTo>
                  <a:cubicBezTo>
                    <a:pt x="3597" y="18851"/>
                    <a:pt x="3517" y="19636"/>
                    <a:pt x="3417" y="19636"/>
                  </a:cubicBezTo>
                  <a:moveTo>
                    <a:pt x="2737" y="9033"/>
                  </a:moveTo>
                  <a:cubicBezTo>
                    <a:pt x="2737" y="9033"/>
                    <a:pt x="2737" y="9033"/>
                    <a:pt x="2737" y="9033"/>
                  </a:cubicBezTo>
                  <a:cubicBezTo>
                    <a:pt x="2737" y="6284"/>
                    <a:pt x="2737" y="6284"/>
                    <a:pt x="2737" y="6284"/>
                  </a:cubicBezTo>
                  <a:cubicBezTo>
                    <a:pt x="2638" y="6284"/>
                    <a:pt x="2638" y="6284"/>
                    <a:pt x="2638" y="6284"/>
                  </a:cubicBezTo>
                  <a:cubicBezTo>
                    <a:pt x="2638" y="21207"/>
                    <a:pt x="2638" y="21207"/>
                    <a:pt x="2638" y="21207"/>
                  </a:cubicBezTo>
                  <a:cubicBezTo>
                    <a:pt x="2737" y="21207"/>
                    <a:pt x="2737" y="21207"/>
                    <a:pt x="2737" y="21207"/>
                  </a:cubicBezTo>
                  <a:cubicBezTo>
                    <a:pt x="2737" y="12960"/>
                    <a:pt x="2737" y="12960"/>
                    <a:pt x="2737" y="12960"/>
                  </a:cubicBezTo>
                  <a:cubicBezTo>
                    <a:pt x="2797" y="9818"/>
                    <a:pt x="2857" y="8247"/>
                    <a:pt x="2997" y="8247"/>
                  </a:cubicBezTo>
                  <a:cubicBezTo>
                    <a:pt x="2997" y="5891"/>
                    <a:pt x="2997" y="5891"/>
                    <a:pt x="2997" y="5891"/>
                  </a:cubicBezTo>
                  <a:cubicBezTo>
                    <a:pt x="2857" y="5891"/>
                    <a:pt x="2797" y="7069"/>
                    <a:pt x="2737" y="9033"/>
                  </a:cubicBezTo>
                  <a:moveTo>
                    <a:pt x="2158" y="7855"/>
                  </a:moveTo>
                  <a:cubicBezTo>
                    <a:pt x="2278" y="7855"/>
                    <a:pt x="2338" y="9425"/>
                    <a:pt x="2338" y="12567"/>
                  </a:cubicBezTo>
                  <a:cubicBezTo>
                    <a:pt x="1958" y="12567"/>
                    <a:pt x="1958" y="12567"/>
                    <a:pt x="1958" y="12567"/>
                  </a:cubicBezTo>
                  <a:cubicBezTo>
                    <a:pt x="1958" y="9425"/>
                    <a:pt x="2038" y="7855"/>
                    <a:pt x="2158" y="7855"/>
                  </a:cubicBezTo>
                  <a:moveTo>
                    <a:pt x="2178" y="19636"/>
                  </a:moveTo>
                  <a:cubicBezTo>
                    <a:pt x="2058" y="19636"/>
                    <a:pt x="1958" y="17673"/>
                    <a:pt x="1958" y="14138"/>
                  </a:cubicBezTo>
                  <a:cubicBezTo>
                    <a:pt x="2458" y="14138"/>
                    <a:pt x="2458" y="14138"/>
                    <a:pt x="2458" y="14138"/>
                  </a:cubicBezTo>
                  <a:cubicBezTo>
                    <a:pt x="2458" y="12960"/>
                    <a:pt x="2458" y="12960"/>
                    <a:pt x="2458" y="12960"/>
                  </a:cubicBezTo>
                  <a:cubicBezTo>
                    <a:pt x="2458" y="7855"/>
                    <a:pt x="2318" y="5891"/>
                    <a:pt x="2158" y="5891"/>
                  </a:cubicBezTo>
                  <a:cubicBezTo>
                    <a:pt x="1978" y="5891"/>
                    <a:pt x="1838" y="9033"/>
                    <a:pt x="1838" y="13745"/>
                  </a:cubicBezTo>
                  <a:cubicBezTo>
                    <a:pt x="1838" y="19244"/>
                    <a:pt x="2018" y="21600"/>
                    <a:pt x="2178" y="21600"/>
                  </a:cubicBezTo>
                  <a:cubicBezTo>
                    <a:pt x="2358" y="21600"/>
                    <a:pt x="2418" y="19636"/>
                    <a:pt x="2478" y="18065"/>
                  </a:cubicBezTo>
                  <a:cubicBezTo>
                    <a:pt x="2398" y="17280"/>
                    <a:pt x="2398" y="17280"/>
                    <a:pt x="2398" y="17280"/>
                  </a:cubicBezTo>
                  <a:cubicBezTo>
                    <a:pt x="2358" y="18851"/>
                    <a:pt x="2278" y="19636"/>
                    <a:pt x="2178" y="19636"/>
                  </a:cubicBezTo>
                  <a:moveTo>
                    <a:pt x="1439" y="5891"/>
                  </a:moveTo>
                  <a:cubicBezTo>
                    <a:pt x="1339" y="5891"/>
                    <a:pt x="1259" y="7069"/>
                    <a:pt x="1199" y="8247"/>
                  </a:cubicBezTo>
                  <a:cubicBezTo>
                    <a:pt x="1199" y="8247"/>
                    <a:pt x="1199" y="8247"/>
                    <a:pt x="1199" y="8247"/>
                  </a:cubicBezTo>
                  <a:cubicBezTo>
                    <a:pt x="1199" y="393"/>
                    <a:pt x="1199" y="393"/>
                    <a:pt x="1199" y="393"/>
                  </a:cubicBezTo>
                  <a:cubicBezTo>
                    <a:pt x="1099" y="393"/>
                    <a:pt x="1099" y="393"/>
                    <a:pt x="1099" y="393"/>
                  </a:cubicBezTo>
                  <a:cubicBezTo>
                    <a:pt x="1099" y="21207"/>
                    <a:pt x="1099" y="21207"/>
                    <a:pt x="1099" y="21207"/>
                  </a:cubicBezTo>
                  <a:cubicBezTo>
                    <a:pt x="1199" y="21207"/>
                    <a:pt x="1199" y="21207"/>
                    <a:pt x="1199" y="21207"/>
                  </a:cubicBezTo>
                  <a:cubicBezTo>
                    <a:pt x="1199" y="10211"/>
                    <a:pt x="1199" y="10211"/>
                    <a:pt x="1199" y="10211"/>
                  </a:cubicBezTo>
                  <a:cubicBezTo>
                    <a:pt x="1239" y="9033"/>
                    <a:pt x="1339" y="7855"/>
                    <a:pt x="1419" y="7855"/>
                  </a:cubicBezTo>
                  <a:cubicBezTo>
                    <a:pt x="1499" y="7855"/>
                    <a:pt x="1539" y="8247"/>
                    <a:pt x="1539" y="10211"/>
                  </a:cubicBezTo>
                  <a:cubicBezTo>
                    <a:pt x="1539" y="21207"/>
                    <a:pt x="1539" y="21207"/>
                    <a:pt x="1539" y="21207"/>
                  </a:cubicBezTo>
                  <a:cubicBezTo>
                    <a:pt x="1658" y="21207"/>
                    <a:pt x="1658" y="21207"/>
                    <a:pt x="1658" y="21207"/>
                  </a:cubicBezTo>
                  <a:cubicBezTo>
                    <a:pt x="1658" y="10211"/>
                    <a:pt x="1658" y="10211"/>
                    <a:pt x="1658" y="10211"/>
                  </a:cubicBezTo>
                  <a:cubicBezTo>
                    <a:pt x="1658" y="7069"/>
                    <a:pt x="1539" y="5891"/>
                    <a:pt x="1439" y="5891"/>
                  </a:cubicBezTo>
                  <a:moveTo>
                    <a:pt x="679" y="18065"/>
                  </a:moveTo>
                  <a:cubicBezTo>
                    <a:pt x="679" y="18065"/>
                    <a:pt x="679" y="18065"/>
                    <a:pt x="679" y="18065"/>
                  </a:cubicBezTo>
                  <a:cubicBezTo>
                    <a:pt x="520" y="6284"/>
                    <a:pt x="520" y="6284"/>
                    <a:pt x="520" y="6284"/>
                  </a:cubicBezTo>
                  <a:cubicBezTo>
                    <a:pt x="420" y="6284"/>
                    <a:pt x="420" y="6284"/>
                    <a:pt x="420" y="6284"/>
                  </a:cubicBezTo>
                  <a:cubicBezTo>
                    <a:pt x="260" y="17673"/>
                    <a:pt x="260" y="17673"/>
                    <a:pt x="260" y="17673"/>
                  </a:cubicBezTo>
                  <a:cubicBezTo>
                    <a:pt x="260" y="17673"/>
                    <a:pt x="260" y="17673"/>
                    <a:pt x="260" y="17673"/>
                  </a:cubicBezTo>
                  <a:cubicBezTo>
                    <a:pt x="100" y="6284"/>
                    <a:pt x="100" y="6284"/>
                    <a:pt x="100" y="6284"/>
                  </a:cubicBezTo>
                  <a:cubicBezTo>
                    <a:pt x="0" y="6284"/>
                    <a:pt x="0" y="6284"/>
                    <a:pt x="0" y="6284"/>
                  </a:cubicBezTo>
                  <a:cubicBezTo>
                    <a:pt x="200" y="21207"/>
                    <a:pt x="200" y="21207"/>
                    <a:pt x="200" y="21207"/>
                  </a:cubicBezTo>
                  <a:cubicBezTo>
                    <a:pt x="320" y="21207"/>
                    <a:pt x="320" y="21207"/>
                    <a:pt x="320" y="21207"/>
                  </a:cubicBezTo>
                  <a:cubicBezTo>
                    <a:pt x="460" y="9818"/>
                    <a:pt x="460" y="9818"/>
                    <a:pt x="460" y="9818"/>
                  </a:cubicBezTo>
                  <a:cubicBezTo>
                    <a:pt x="460" y="9818"/>
                    <a:pt x="460" y="9818"/>
                    <a:pt x="460" y="9818"/>
                  </a:cubicBezTo>
                  <a:cubicBezTo>
                    <a:pt x="619" y="21207"/>
                    <a:pt x="619" y="21207"/>
                    <a:pt x="619" y="21207"/>
                  </a:cubicBezTo>
                  <a:cubicBezTo>
                    <a:pt x="719" y="21207"/>
                    <a:pt x="719" y="21207"/>
                    <a:pt x="719" y="21207"/>
                  </a:cubicBezTo>
                  <a:cubicBezTo>
                    <a:pt x="939" y="6284"/>
                    <a:pt x="939" y="6284"/>
                    <a:pt x="939" y="6284"/>
                  </a:cubicBezTo>
                  <a:cubicBezTo>
                    <a:pt x="819" y="6284"/>
                    <a:pt x="819" y="6284"/>
                    <a:pt x="819" y="6284"/>
                  </a:cubicBezTo>
                  <a:lnTo>
                    <a:pt x="679" y="18065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  <p:sp>
          <p:nvSpPr>
            <p:cNvPr id="472" name="Freeform 7"/>
            <p:cNvSpPr/>
            <p:nvPr/>
          </p:nvSpPr>
          <p:spPr>
            <a:xfrm>
              <a:off x="-1" y="82549"/>
              <a:ext cx="363539" cy="3032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095" y="5445"/>
                  </a:moveTo>
                  <a:cubicBezTo>
                    <a:pt x="20020" y="5445"/>
                    <a:pt x="20020" y="5445"/>
                    <a:pt x="20020" y="5445"/>
                  </a:cubicBezTo>
                  <a:cubicBezTo>
                    <a:pt x="19192" y="5445"/>
                    <a:pt x="18514" y="6353"/>
                    <a:pt x="18514" y="7351"/>
                  </a:cubicBezTo>
                  <a:cubicBezTo>
                    <a:pt x="18514" y="13160"/>
                    <a:pt x="14601" y="17879"/>
                    <a:pt x="9784" y="17879"/>
                  </a:cubicBezTo>
                  <a:cubicBezTo>
                    <a:pt x="6096" y="17879"/>
                    <a:pt x="3086" y="14249"/>
                    <a:pt x="3086" y="9802"/>
                  </a:cubicBezTo>
                  <a:cubicBezTo>
                    <a:pt x="3086" y="6444"/>
                    <a:pt x="5344" y="3721"/>
                    <a:pt x="8128" y="3721"/>
                  </a:cubicBezTo>
                  <a:cubicBezTo>
                    <a:pt x="10236" y="3721"/>
                    <a:pt x="11891" y="5718"/>
                    <a:pt x="11891" y="8168"/>
                  </a:cubicBezTo>
                  <a:cubicBezTo>
                    <a:pt x="11891" y="8440"/>
                    <a:pt x="11816" y="8531"/>
                    <a:pt x="11816" y="8622"/>
                  </a:cubicBezTo>
                  <a:cubicBezTo>
                    <a:pt x="11666" y="8713"/>
                    <a:pt x="11214" y="8713"/>
                    <a:pt x="10762" y="8713"/>
                  </a:cubicBezTo>
                  <a:cubicBezTo>
                    <a:pt x="10537" y="8713"/>
                    <a:pt x="10311" y="8713"/>
                    <a:pt x="10085" y="8713"/>
                  </a:cubicBezTo>
                  <a:cubicBezTo>
                    <a:pt x="9784" y="8713"/>
                    <a:pt x="9483" y="8713"/>
                    <a:pt x="9182" y="8713"/>
                  </a:cubicBezTo>
                  <a:cubicBezTo>
                    <a:pt x="8354" y="8713"/>
                    <a:pt x="7677" y="9529"/>
                    <a:pt x="7677" y="10528"/>
                  </a:cubicBezTo>
                  <a:cubicBezTo>
                    <a:pt x="7677" y="10528"/>
                    <a:pt x="7677" y="10528"/>
                    <a:pt x="7677" y="10528"/>
                  </a:cubicBezTo>
                  <a:cubicBezTo>
                    <a:pt x="7677" y="11526"/>
                    <a:pt x="8354" y="12434"/>
                    <a:pt x="9182" y="12434"/>
                  </a:cubicBezTo>
                  <a:cubicBezTo>
                    <a:pt x="9483" y="12434"/>
                    <a:pt x="9784" y="12434"/>
                    <a:pt x="10010" y="12434"/>
                  </a:cubicBezTo>
                  <a:cubicBezTo>
                    <a:pt x="10311" y="12434"/>
                    <a:pt x="10537" y="12434"/>
                    <a:pt x="10838" y="12434"/>
                  </a:cubicBezTo>
                  <a:cubicBezTo>
                    <a:pt x="12042" y="12434"/>
                    <a:pt x="13171" y="12252"/>
                    <a:pt x="13999" y="11254"/>
                  </a:cubicBezTo>
                  <a:cubicBezTo>
                    <a:pt x="14601" y="10528"/>
                    <a:pt x="14977" y="9529"/>
                    <a:pt x="14977" y="8168"/>
                  </a:cubicBezTo>
                  <a:cubicBezTo>
                    <a:pt x="14977" y="3721"/>
                    <a:pt x="11891" y="0"/>
                    <a:pt x="8128" y="0"/>
                  </a:cubicBezTo>
                  <a:cubicBezTo>
                    <a:pt x="3688" y="0"/>
                    <a:pt x="0" y="4447"/>
                    <a:pt x="0" y="9802"/>
                  </a:cubicBezTo>
                  <a:cubicBezTo>
                    <a:pt x="0" y="16245"/>
                    <a:pt x="4440" y="21600"/>
                    <a:pt x="9784" y="21600"/>
                  </a:cubicBezTo>
                  <a:cubicBezTo>
                    <a:pt x="16256" y="21600"/>
                    <a:pt x="21600" y="15156"/>
                    <a:pt x="21600" y="7351"/>
                  </a:cubicBezTo>
                  <a:cubicBezTo>
                    <a:pt x="21600" y="6353"/>
                    <a:pt x="20923" y="5445"/>
                    <a:pt x="20095" y="5445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  <p:sp>
          <p:nvSpPr>
            <p:cNvPr id="473" name="Freeform 8"/>
            <p:cNvSpPr/>
            <p:nvPr/>
          </p:nvSpPr>
          <p:spPr>
            <a:xfrm>
              <a:off x="295275" y="-1"/>
              <a:ext cx="85726" cy="873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5247"/>
                  </a:moveTo>
                  <a:cubicBezTo>
                    <a:pt x="8259" y="15247"/>
                    <a:pt x="6353" y="13341"/>
                    <a:pt x="6353" y="10800"/>
                  </a:cubicBezTo>
                  <a:cubicBezTo>
                    <a:pt x="6353" y="8576"/>
                    <a:pt x="8259" y="6671"/>
                    <a:pt x="10800" y="6671"/>
                  </a:cubicBezTo>
                  <a:cubicBezTo>
                    <a:pt x="13024" y="6671"/>
                    <a:pt x="14929" y="8576"/>
                    <a:pt x="14929" y="10800"/>
                  </a:cubicBezTo>
                  <a:cubicBezTo>
                    <a:pt x="14929" y="13341"/>
                    <a:pt x="13024" y="15247"/>
                    <a:pt x="10800" y="15247"/>
                  </a:cubicBezTo>
                  <a:moveTo>
                    <a:pt x="10800" y="0"/>
                  </a:moveTo>
                  <a:cubicBezTo>
                    <a:pt x="10800" y="0"/>
                    <a:pt x="10800" y="0"/>
                    <a:pt x="10800" y="0"/>
                  </a:cubicBezTo>
                  <a:cubicBezTo>
                    <a:pt x="4765" y="0"/>
                    <a:pt x="0" y="4765"/>
                    <a:pt x="0" y="10800"/>
                  </a:cubicBezTo>
                  <a:cubicBezTo>
                    <a:pt x="0" y="16835"/>
                    <a:pt x="4765" y="21600"/>
                    <a:pt x="10800" y="21600"/>
                  </a:cubicBezTo>
                  <a:cubicBezTo>
                    <a:pt x="16835" y="21600"/>
                    <a:pt x="21600" y="16835"/>
                    <a:pt x="21600" y="10800"/>
                  </a:cubicBezTo>
                  <a:cubicBezTo>
                    <a:pt x="21600" y="4765"/>
                    <a:pt x="16835" y="0"/>
                    <a:pt x="10800" y="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b="0" i="0" dirty="0">
                <a:latin typeface="Arial Regular"/>
              </a:endParaRPr>
            </a:p>
          </p:txBody>
        </p:sp>
      </p:grpSp>
      <p:sp>
        <p:nvSpPr>
          <p:cNvPr id="475" name="Title Text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>
                <a:solidFill>
                  <a:srgbClr val="FFFFFF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Title Text</a:t>
            </a:r>
          </a:p>
        </p:txBody>
      </p:sp>
      <p:sp>
        <p:nvSpPr>
          <p:cNvPr id="476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1850" y="4589462"/>
            <a:ext cx="10515600" cy="1500188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2400" b="0" i="0">
                <a:solidFill>
                  <a:srgbClr val="888888"/>
                </a:solidFill>
              </a:defRPr>
            </a:lvl1pPr>
            <a:lvl2pPr marL="0" indent="457200">
              <a:buSzTx/>
              <a:buFontTx/>
              <a:buNone/>
              <a:defRPr sz="2400" b="0" i="0">
                <a:solidFill>
                  <a:srgbClr val="888888"/>
                </a:solidFill>
              </a:defRPr>
            </a:lvl2pPr>
            <a:lvl3pPr marL="0" indent="914400">
              <a:buSzTx/>
              <a:buFontTx/>
              <a:buNone/>
              <a:defRPr sz="2400" b="0" i="0">
                <a:solidFill>
                  <a:srgbClr val="888888"/>
                </a:solidFill>
              </a:defRPr>
            </a:lvl3pPr>
            <a:lvl4pPr marL="0" indent="1371600">
              <a:buSzTx/>
              <a:buFontTx/>
              <a:buNone/>
              <a:defRPr sz="2400" b="0" i="0">
                <a:solidFill>
                  <a:srgbClr val="888888"/>
                </a:solidFill>
              </a:defRPr>
            </a:lvl4pPr>
            <a:lvl5pPr marL="0" indent="1828800">
              <a:buSzTx/>
              <a:buFontTx/>
              <a:buNone/>
              <a:defRPr sz="2400" b="0" i="0">
                <a:solidFill>
                  <a:srgbClr val="888888"/>
                </a:solidFill>
              </a:defRPr>
            </a:lvl5pPr>
          </a:lstStyle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47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12118" y="6400413"/>
            <a:ext cx="279883" cy="276999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Text"/>
          <p:cNvSpPr txBox="1">
            <a:spLocks noGrp="1"/>
          </p:cNvSpPr>
          <p:nvPr>
            <p:ph type="title"/>
          </p:nvPr>
        </p:nvSpPr>
        <p:spPr>
          <a:xfrm>
            <a:off x="102635" y="240621"/>
            <a:ext cx="4133462" cy="521284"/>
          </a:xfrm>
          <a:prstGeom prst="rect">
            <a:avLst/>
          </a:prstGeom>
        </p:spPr>
        <p:txBody>
          <a:bodyPr/>
          <a:lstStyle>
            <a:lvl1pPr>
              <a:defRPr sz="3400"/>
            </a:lvl1pPr>
          </a:lstStyle>
          <a:p>
            <a:r>
              <a:t>Title Text</a:t>
            </a:r>
          </a:p>
        </p:txBody>
      </p:sp>
      <p:sp>
        <p:nvSpPr>
          <p:cNvPr id="41" name="Body Level One…"/>
          <p:cNvSpPr txBox="1">
            <a:spLocks noGrp="1"/>
          </p:cNvSpPr>
          <p:nvPr>
            <p:ph type="body" idx="1"/>
          </p:nvPr>
        </p:nvSpPr>
        <p:spPr>
          <a:xfrm>
            <a:off x="475861" y="1109968"/>
            <a:ext cx="10672665" cy="4804020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pic>
        <p:nvPicPr>
          <p:cNvPr id="42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6162675"/>
            <a:ext cx="12192000" cy="695325"/>
          </a:xfrm>
          <a:prstGeom prst="rect">
            <a:avLst/>
          </a:prstGeom>
          <a:ln w="12700">
            <a:miter lim="400000"/>
          </a:ln>
        </p:spPr>
      </p:pic>
      <p:sp>
        <p:nvSpPr>
          <p:cNvPr id="43" name="Rectangle 7"/>
          <p:cNvSpPr/>
          <p:nvPr/>
        </p:nvSpPr>
        <p:spPr>
          <a:xfrm>
            <a:off x="0" y="851598"/>
            <a:ext cx="3190009" cy="64695"/>
          </a:xfrm>
          <a:prstGeom prst="rect">
            <a:avLst/>
          </a:prstGeom>
          <a:gradFill>
            <a:gsLst>
              <a:gs pos="0">
                <a:srgbClr val="00B0AD"/>
              </a:gs>
              <a:gs pos="100000">
                <a:srgbClr val="0188CA"/>
              </a:gs>
            </a:gsLst>
            <a:lin ang="2700000"/>
          </a:gra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3918" y="6400413"/>
            <a:ext cx="279883" cy="276999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4EE77-1AAB-9842-B478-8AC2808AE2DE}" type="datetimeFigureOut">
              <a:rPr lang="en-US" smtClean="0"/>
              <a:t>3/6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FAF824-EC4D-BA40-B8B5-22C703AB8C5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76894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4EE77-1AAB-9842-B478-8AC2808AE2DE}" type="datetimeFigureOut">
              <a:rPr lang="en-US" smtClean="0"/>
              <a:t>3/6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FAF824-EC4D-BA40-B8B5-22C703AB8C5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535048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4EE77-1AAB-9842-B478-8AC2808AE2DE}" type="datetimeFigureOut">
              <a:rPr lang="en-US" smtClean="0"/>
              <a:t>3/6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FAF824-EC4D-BA40-B8B5-22C703AB8C5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087482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914411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53774" y="8356"/>
            <a:ext cx="10426700" cy="1933005"/>
          </a:xfrm>
        </p:spPr>
        <p:txBody>
          <a:bodyPr>
            <a:normAutofit/>
          </a:bodyPr>
          <a:lstStyle>
            <a:lvl1pPr algn="l">
              <a:defRPr sz="2400" b="1" baseline="0">
                <a:latin typeface="+mn-lt"/>
              </a:defRPr>
            </a:lvl1pPr>
          </a:lstStyle>
          <a:p>
            <a:r>
              <a:rPr lang="en-US" sz="3200" dirty="0"/>
              <a:t>INSERT TITLE HER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857250" y="1941361"/>
            <a:ext cx="10426700" cy="4024464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734983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66700" indent="-266700">
              <a:buClr>
                <a:srgbClr val="00AEEF"/>
              </a:buClr>
              <a:buFont typeface="Arial" panose="020B0604020202020204" pitchFamily="34" charset="0"/>
              <a:buChar char="»"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FB69A-085D-4EBD-BB7C-60DEED4FF629}" type="datetimeFigureOut">
              <a:rPr lang="en-IE" smtClean="0"/>
              <a:t>06/03/2019</a:t>
            </a:fld>
            <a:endParaRPr lang="en-I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D29713-6E2E-4D89-9962-5B95DF3857A4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23704413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gradFill>
          <a:gsLst>
            <a:gs pos="0">
              <a:schemeClr val="bg2">
                <a:lumMod val="75000"/>
              </a:schemeClr>
            </a:gs>
            <a:gs pos="100000">
              <a:schemeClr val="bg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98073" y="2297737"/>
            <a:ext cx="6619875" cy="2309114"/>
          </a:xfrm>
        </p:spPr>
        <p:txBody>
          <a:bodyPr lIns="0" tIns="0" rIns="0" anchor="t" anchorCtr="0"/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98073" y="4698926"/>
            <a:ext cx="6619875" cy="1655762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2800" b="1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836210" y="6356350"/>
            <a:ext cx="2743200" cy="365125"/>
          </a:xfrm>
        </p:spPr>
        <p:txBody>
          <a:bodyPr/>
          <a:lstStyle/>
          <a:p>
            <a:fld id="{E29FB69A-085D-4EBD-BB7C-60DEED4FF629}" type="datetimeFigureOut">
              <a:rPr lang="en-IE" smtClean="0"/>
              <a:t>06/03/2019</a:t>
            </a:fld>
            <a:endParaRPr lang="en-I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036610" y="6356350"/>
            <a:ext cx="6317190" cy="365125"/>
          </a:xfrm>
        </p:spPr>
        <p:txBody>
          <a:bodyPr/>
          <a:lstStyle/>
          <a:p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34800" y="6356350"/>
            <a:ext cx="457200" cy="365125"/>
          </a:xfrm>
        </p:spPr>
        <p:txBody>
          <a:bodyPr/>
          <a:lstStyle/>
          <a:p>
            <a:fld id="{FBD29713-6E2E-4D89-9962-5B95DF3857A4}" type="slidenum">
              <a:rPr lang="en-IE" smtClean="0"/>
              <a:t>‹#›</a:t>
            </a:fld>
            <a:endParaRPr lang="en-IE"/>
          </a:p>
        </p:txBody>
      </p:sp>
      <p:grpSp>
        <p:nvGrpSpPr>
          <p:cNvPr id="40" name="Group 39"/>
          <p:cNvGrpSpPr/>
          <p:nvPr/>
        </p:nvGrpSpPr>
        <p:grpSpPr>
          <a:xfrm>
            <a:off x="7869624" y="522907"/>
            <a:ext cx="762801" cy="1051780"/>
            <a:chOff x="421899" y="345291"/>
            <a:chExt cx="762801" cy="1051780"/>
          </a:xfrm>
        </p:grpSpPr>
        <p:sp>
          <p:nvSpPr>
            <p:cNvPr id="8" name="Freeform 43"/>
            <p:cNvSpPr>
              <a:spLocks noEditPoints="1"/>
            </p:cNvSpPr>
            <p:nvPr userDrawn="1"/>
          </p:nvSpPr>
          <p:spPr bwMode="auto">
            <a:xfrm>
              <a:off x="421899" y="345291"/>
              <a:ext cx="762801" cy="775818"/>
            </a:xfrm>
            <a:custGeom>
              <a:avLst/>
              <a:gdLst>
                <a:gd name="T0" fmla="*/ 61 w 123"/>
                <a:gd name="T1" fmla="*/ 6 h 124"/>
                <a:gd name="T2" fmla="*/ 6 w 123"/>
                <a:gd name="T3" fmla="*/ 62 h 124"/>
                <a:gd name="T4" fmla="*/ 61 w 123"/>
                <a:gd name="T5" fmla="*/ 117 h 124"/>
                <a:gd name="T6" fmla="*/ 117 w 123"/>
                <a:gd name="T7" fmla="*/ 62 h 124"/>
                <a:gd name="T8" fmla="*/ 61 w 123"/>
                <a:gd name="T9" fmla="*/ 6 h 124"/>
                <a:gd name="T10" fmla="*/ 61 w 123"/>
                <a:gd name="T11" fmla="*/ 124 h 124"/>
                <a:gd name="T12" fmla="*/ 0 w 123"/>
                <a:gd name="T13" fmla="*/ 62 h 124"/>
                <a:gd name="T14" fmla="*/ 61 w 123"/>
                <a:gd name="T15" fmla="*/ 0 h 124"/>
                <a:gd name="T16" fmla="*/ 123 w 123"/>
                <a:gd name="T17" fmla="*/ 62 h 124"/>
                <a:gd name="T18" fmla="*/ 61 w 123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3" h="124">
                  <a:moveTo>
                    <a:pt x="61" y="6"/>
                  </a:moveTo>
                  <a:cubicBezTo>
                    <a:pt x="31" y="6"/>
                    <a:pt x="6" y="31"/>
                    <a:pt x="6" y="62"/>
                  </a:cubicBezTo>
                  <a:cubicBezTo>
                    <a:pt x="6" y="92"/>
                    <a:pt x="31" y="117"/>
                    <a:pt x="61" y="117"/>
                  </a:cubicBezTo>
                  <a:cubicBezTo>
                    <a:pt x="92" y="117"/>
                    <a:pt x="117" y="92"/>
                    <a:pt x="117" y="62"/>
                  </a:cubicBezTo>
                  <a:cubicBezTo>
                    <a:pt x="117" y="31"/>
                    <a:pt x="92" y="6"/>
                    <a:pt x="61" y="6"/>
                  </a:cubicBezTo>
                  <a:moveTo>
                    <a:pt x="61" y="124"/>
                  </a:moveTo>
                  <a:cubicBezTo>
                    <a:pt x="27" y="124"/>
                    <a:pt x="0" y="96"/>
                    <a:pt x="0" y="62"/>
                  </a:cubicBezTo>
                  <a:cubicBezTo>
                    <a:pt x="0" y="28"/>
                    <a:pt x="27" y="0"/>
                    <a:pt x="61" y="0"/>
                  </a:cubicBezTo>
                  <a:cubicBezTo>
                    <a:pt x="95" y="0"/>
                    <a:pt x="123" y="28"/>
                    <a:pt x="123" y="62"/>
                  </a:cubicBezTo>
                  <a:cubicBezTo>
                    <a:pt x="123" y="96"/>
                    <a:pt x="95" y="124"/>
                    <a:pt x="61" y="124"/>
                  </a:cubicBezTo>
                </a:path>
              </a:pathLst>
            </a:custGeom>
            <a:solidFill>
              <a:srgbClr val="00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9" name="Freeform 44"/>
            <p:cNvSpPr>
              <a:spLocks/>
            </p:cNvSpPr>
            <p:nvPr userDrawn="1"/>
          </p:nvSpPr>
          <p:spPr bwMode="auto">
            <a:xfrm>
              <a:off x="781170" y="524927"/>
              <a:ext cx="36448" cy="208273"/>
            </a:xfrm>
            <a:custGeom>
              <a:avLst/>
              <a:gdLst>
                <a:gd name="T0" fmla="*/ 0 w 6"/>
                <a:gd name="T1" fmla="*/ 33 h 33"/>
                <a:gd name="T2" fmla="*/ 6 w 6"/>
                <a:gd name="T3" fmla="*/ 33 h 33"/>
                <a:gd name="T4" fmla="*/ 6 w 6"/>
                <a:gd name="T5" fmla="*/ 0 h 33"/>
                <a:gd name="T6" fmla="*/ 3 w 6"/>
                <a:gd name="T7" fmla="*/ 0 h 33"/>
                <a:gd name="T8" fmla="*/ 0 w 6"/>
                <a:gd name="T9" fmla="*/ 0 h 33"/>
                <a:gd name="T10" fmla="*/ 0 w 6"/>
                <a:gd name="T11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3">
                  <a:moveTo>
                    <a:pt x="0" y="33"/>
                  </a:moveTo>
                  <a:cubicBezTo>
                    <a:pt x="6" y="33"/>
                    <a:pt x="6" y="33"/>
                    <a:pt x="6" y="3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lnTo>
                    <a:pt x="0" y="33"/>
                  </a:lnTo>
                  <a:close/>
                </a:path>
              </a:pathLst>
            </a:custGeom>
            <a:solidFill>
              <a:srgbClr val="00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0" name="Freeform 45"/>
            <p:cNvSpPr>
              <a:spLocks/>
            </p:cNvSpPr>
            <p:nvPr userDrawn="1"/>
          </p:nvSpPr>
          <p:spPr bwMode="auto">
            <a:xfrm>
              <a:off x="596328" y="532737"/>
              <a:ext cx="413943" cy="406133"/>
            </a:xfrm>
            <a:custGeom>
              <a:avLst/>
              <a:gdLst>
                <a:gd name="T0" fmla="*/ 43 w 67"/>
                <a:gd name="T1" fmla="*/ 0 h 65"/>
                <a:gd name="T2" fmla="*/ 43 w 67"/>
                <a:gd name="T3" fmla="*/ 6 h 65"/>
                <a:gd name="T4" fmla="*/ 60 w 67"/>
                <a:gd name="T5" fmla="*/ 32 h 65"/>
                <a:gd name="T6" fmla="*/ 33 w 67"/>
                <a:gd name="T7" fmla="*/ 59 h 65"/>
                <a:gd name="T8" fmla="*/ 6 w 67"/>
                <a:gd name="T9" fmla="*/ 32 h 65"/>
                <a:gd name="T10" fmla="*/ 24 w 67"/>
                <a:gd name="T11" fmla="*/ 6 h 65"/>
                <a:gd name="T12" fmla="*/ 24 w 67"/>
                <a:gd name="T13" fmla="*/ 0 h 65"/>
                <a:gd name="T14" fmla="*/ 0 w 67"/>
                <a:gd name="T15" fmla="*/ 32 h 65"/>
                <a:gd name="T16" fmla="*/ 33 w 67"/>
                <a:gd name="T17" fmla="*/ 65 h 65"/>
                <a:gd name="T18" fmla="*/ 67 w 67"/>
                <a:gd name="T19" fmla="*/ 32 h 65"/>
                <a:gd name="T20" fmla="*/ 43 w 67"/>
                <a:gd name="T21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7" h="65">
                  <a:moveTo>
                    <a:pt x="43" y="0"/>
                  </a:moveTo>
                  <a:cubicBezTo>
                    <a:pt x="43" y="6"/>
                    <a:pt x="43" y="6"/>
                    <a:pt x="43" y="6"/>
                  </a:cubicBezTo>
                  <a:cubicBezTo>
                    <a:pt x="53" y="10"/>
                    <a:pt x="60" y="20"/>
                    <a:pt x="60" y="32"/>
                  </a:cubicBezTo>
                  <a:cubicBezTo>
                    <a:pt x="60" y="47"/>
                    <a:pt x="48" y="59"/>
                    <a:pt x="33" y="59"/>
                  </a:cubicBezTo>
                  <a:cubicBezTo>
                    <a:pt x="18" y="59"/>
                    <a:pt x="6" y="47"/>
                    <a:pt x="6" y="32"/>
                  </a:cubicBezTo>
                  <a:cubicBezTo>
                    <a:pt x="6" y="20"/>
                    <a:pt x="14" y="10"/>
                    <a:pt x="24" y="6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0" y="4"/>
                    <a:pt x="0" y="17"/>
                    <a:pt x="0" y="32"/>
                  </a:cubicBezTo>
                  <a:cubicBezTo>
                    <a:pt x="0" y="50"/>
                    <a:pt x="15" y="65"/>
                    <a:pt x="33" y="65"/>
                  </a:cubicBezTo>
                  <a:cubicBezTo>
                    <a:pt x="52" y="65"/>
                    <a:pt x="67" y="50"/>
                    <a:pt x="67" y="32"/>
                  </a:cubicBezTo>
                  <a:cubicBezTo>
                    <a:pt x="67" y="17"/>
                    <a:pt x="56" y="4"/>
                    <a:pt x="43" y="0"/>
                  </a:cubicBezTo>
                </a:path>
              </a:pathLst>
            </a:custGeom>
            <a:solidFill>
              <a:srgbClr val="00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1" name="Freeform 46"/>
            <p:cNvSpPr>
              <a:spLocks/>
            </p:cNvSpPr>
            <p:nvPr userDrawn="1"/>
          </p:nvSpPr>
          <p:spPr bwMode="auto">
            <a:xfrm>
              <a:off x="559880" y="1290331"/>
              <a:ext cx="85913" cy="106740"/>
            </a:xfrm>
            <a:custGeom>
              <a:avLst/>
              <a:gdLst>
                <a:gd name="T0" fmla="*/ 0 w 14"/>
                <a:gd name="T1" fmla="*/ 15 h 17"/>
                <a:gd name="T2" fmla="*/ 3 w 14"/>
                <a:gd name="T3" fmla="*/ 12 h 17"/>
                <a:gd name="T4" fmla="*/ 8 w 14"/>
                <a:gd name="T5" fmla="*/ 14 h 17"/>
                <a:gd name="T6" fmla="*/ 10 w 14"/>
                <a:gd name="T7" fmla="*/ 12 h 17"/>
                <a:gd name="T8" fmla="*/ 10 w 14"/>
                <a:gd name="T9" fmla="*/ 12 h 17"/>
                <a:gd name="T10" fmla="*/ 7 w 14"/>
                <a:gd name="T11" fmla="*/ 10 h 17"/>
                <a:gd name="T12" fmla="*/ 1 w 14"/>
                <a:gd name="T13" fmla="*/ 5 h 17"/>
                <a:gd name="T14" fmla="*/ 1 w 14"/>
                <a:gd name="T15" fmla="*/ 5 h 17"/>
                <a:gd name="T16" fmla="*/ 7 w 14"/>
                <a:gd name="T17" fmla="*/ 0 h 17"/>
                <a:gd name="T18" fmla="*/ 13 w 14"/>
                <a:gd name="T19" fmla="*/ 2 h 17"/>
                <a:gd name="T20" fmla="*/ 11 w 14"/>
                <a:gd name="T21" fmla="*/ 5 h 17"/>
                <a:gd name="T22" fmla="*/ 7 w 14"/>
                <a:gd name="T23" fmla="*/ 3 h 17"/>
                <a:gd name="T24" fmla="*/ 5 w 14"/>
                <a:gd name="T25" fmla="*/ 5 h 17"/>
                <a:gd name="T26" fmla="*/ 5 w 14"/>
                <a:gd name="T27" fmla="*/ 5 h 17"/>
                <a:gd name="T28" fmla="*/ 8 w 14"/>
                <a:gd name="T29" fmla="*/ 7 h 17"/>
                <a:gd name="T30" fmla="*/ 14 w 14"/>
                <a:gd name="T31" fmla="*/ 12 h 17"/>
                <a:gd name="T32" fmla="*/ 14 w 14"/>
                <a:gd name="T33" fmla="*/ 12 h 17"/>
                <a:gd name="T34" fmla="*/ 7 w 14"/>
                <a:gd name="T35" fmla="*/ 17 h 17"/>
                <a:gd name="T36" fmla="*/ 0 w 14"/>
                <a:gd name="T37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17">
                  <a:moveTo>
                    <a:pt x="0" y="15"/>
                  </a:moveTo>
                  <a:cubicBezTo>
                    <a:pt x="3" y="12"/>
                    <a:pt x="3" y="12"/>
                    <a:pt x="3" y="12"/>
                  </a:cubicBezTo>
                  <a:cubicBezTo>
                    <a:pt x="4" y="13"/>
                    <a:pt x="6" y="14"/>
                    <a:pt x="8" y="14"/>
                  </a:cubicBezTo>
                  <a:cubicBezTo>
                    <a:pt x="9" y="14"/>
                    <a:pt x="10" y="13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1"/>
                    <a:pt x="9" y="11"/>
                    <a:pt x="7" y="10"/>
                  </a:cubicBezTo>
                  <a:cubicBezTo>
                    <a:pt x="3" y="9"/>
                    <a:pt x="1" y="9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2"/>
                    <a:pt x="3" y="0"/>
                    <a:pt x="7" y="0"/>
                  </a:cubicBezTo>
                  <a:cubicBezTo>
                    <a:pt x="9" y="0"/>
                    <a:pt x="11" y="1"/>
                    <a:pt x="13" y="2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4"/>
                    <a:pt x="8" y="3"/>
                    <a:pt x="7" y="3"/>
                  </a:cubicBezTo>
                  <a:cubicBezTo>
                    <a:pt x="5" y="3"/>
                    <a:pt x="5" y="4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6"/>
                    <a:pt x="5" y="6"/>
                    <a:pt x="8" y="7"/>
                  </a:cubicBezTo>
                  <a:cubicBezTo>
                    <a:pt x="12" y="8"/>
                    <a:pt x="14" y="9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5"/>
                    <a:pt x="11" y="17"/>
                    <a:pt x="7" y="17"/>
                  </a:cubicBezTo>
                  <a:cubicBezTo>
                    <a:pt x="5" y="17"/>
                    <a:pt x="2" y="16"/>
                    <a:pt x="0" y="15"/>
                  </a:cubicBezTo>
                </a:path>
              </a:pathLst>
            </a:custGeom>
            <a:solidFill>
              <a:srgbClr val="00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2" name="Freeform 47"/>
            <p:cNvSpPr>
              <a:spLocks/>
            </p:cNvSpPr>
            <p:nvPr userDrawn="1"/>
          </p:nvSpPr>
          <p:spPr bwMode="auto">
            <a:xfrm>
              <a:off x="651000" y="1290331"/>
              <a:ext cx="88516" cy="106740"/>
            </a:xfrm>
            <a:custGeom>
              <a:avLst/>
              <a:gdLst>
                <a:gd name="T0" fmla="*/ 12 w 34"/>
                <a:gd name="T1" fmla="*/ 9 h 41"/>
                <a:gd name="T2" fmla="*/ 0 w 34"/>
                <a:gd name="T3" fmla="*/ 9 h 41"/>
                <a:gd name="T4" fmla="*/ 0 w 34"/>
                <a:gd name="T5" fmla="*/ 0 h 41"/>
                <a:gd name="T6" fmla="*/ 34 w 34"/>
                <a:gd name="T7" fmla="*/ 0 h 41"/>
                <a:gd name="T8" fmla="*/ 34 w 34"/>
                <a:gd name="T9" fmla="*/ 9 h 41"/>
                <a:gd name="T10" fmla="*/ 22 w 34"/>
                <a:gd name="T11" fmla="*/ 9 h 41"/>
                <a:gd name="T12" fmla="*/ 22 w 34"/>
                <a:gd name="T13" fmla="*/ 41 h 41"/>
                <a:gd name="T14" fmla="*/ 12 w 34"/>
                <a:gd name="T15" fmla="*/ 41 h 41"/>
                <a:gd name="T16" fmla="*/ 12 w 34"/>
                <a:gd name="T17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41">
                  <a:moveTo>
                    <a:pt x="12" y="9"/>
                  </a:moveTo>
                  <a:lnTo>
                    <a:pt x="0" y="9"/>
                  </a:lnTo>
                  <a:lnTo>
                    <a:pt x="0" y="0"/>
                  </a:lnTo>
                  <a:lnTo>
                    <a:pt x="34" y="0"/>
                  </a:lnTo>
                  <a:lnTo>
                    <a:pt x="34" y="9"/>
                  </a:lnTo>
                  <a:lnTo>
                    <a:pt x="22" y="9"/>
                  </a:lnTo>
                  <a:lnTo>
                    <a:pt x="22" y="41"/>
                  </a:lnTo>
                  <a:lnTo>
                    <a:pt x="12" y="41"/>
                  </a:lnTo>
                  <a:lnTo>
                    <a:pt x="12" y="9"/>
                  </a:lnTo>
                  <a:close/>
                </a:path>
              </a:pathLst>
            </a:custGeom>
            <a:solidFill>
              <a:srgbClr val="00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3" name="Freeform 48"/>
            <p:cNvSpPr>
              <a:spLocks noEditPoints="1"/>
            </p:cNvSpPr>
            <p:nvPr userDrawn="1"/>
          </p:nvSpPr>
          <p:spPr bwMode="auto">
            <a:xfrm>
              <a:off x="731705" y="1290331"/>
              <a:ext cx="111947" cy="106740"/>
            </a:xfrm>
            <a:custGeom>
              <a:avLst/>
              <a:gdLst>
                <a:gd name="T0" fmla="*/ 26 w 43"/>
                <a:gd name="T1" fmla="*/ 24 h 41"/>
                <a:gd name="T2" fmla="*/ 22 w 43"/>
                <a:gd name="T3" fmla="*/ 12 h 41"/>
                <a:gd name="T4" fmla="*/ 17 w 43"/>
                <a:gd name="T5" fmla="*/ 24 h 41"/>
                <a:gd name="T6" fmla="*/ 26 w 43"/>
                <a:gd name="T7" fmla="*/ 24 h 41"/>
                <a:gd name="T8" fmla="*/ 17 w 43"/>
                <a:gd name="T9" fmla="*/ 0 h 41"/>
                <a:gd name="T10" fmla="*/ 26 w 43"/>
                <a:gd name="T11" fmla="*/ 0 h 41"/>
                <a:gd name="T12" fmla="*/ 43 w 43"/>
                <a:gd name="T13" fmla="*/ 41 h 41"/>
                <a:gd name="T14" fmla="*/ 33 w 43"/>
                <a:gd name="T15" fmla="*/ 41 h 41"/>
                <a:gd name="T16" fmla="*/ 29 w 43"/>
                <a:gd name="T17" fmla="*/ 31 h 41"/>
                <a:gd name="T18" fmla="*/ 12 w 43"/>
                <a:gd name="T19" fmla="*/ 31 h 41"/>
                <a:gd name="T20" fmla="*/ 10 w 43"/>
                <a:gd name="T21" fmla="*/ 41 h 41"/>
                <a:gd name="T22" fmla="*/ 0 w 43"/>
                <a:gd name="T23" fmla="*/ 41 h 41"/>
                <a:gd name="T24" fmla="*/ 17 w 43"/>
                <a:gd name="T25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41">
                  <a:moveTo>
                    <a:pt x="26" y="24"/>
                  </a:moveTo>
                  <a:lnTo>
                    <a:pt x="22" y="12"/>
                  </a:lnTo>
                  <a:lnTo>
                    <a:pt x="17" y="24"/>
                  </a:lnTo>
                  <a:lnTo>
                    <a:pt x="26" y="24"/>
                  </a:lnTo>
                  <a:close/>
                  <a:moveTo>
                    <a:pt x="17" y="0"/>
                  </a:moveTo>
                  <a:lnTo>
                    <a:pt x="26" y="0"/>
                  </a:lnTo>
                  <a:lnTo>
                    <a:pt x="43" y="41"/>
                  </a:lnTo>
                  <a:lnTo>
                    <a:pt x="33" y="41"/>
                  </a:lnTo>
                  <a:lnTo>
                    <a:pt x="29" y="31"/>
                  </a:lnTo>
                  <a:lnTo>
                    <a:pt x="12" y="31"/>
                  </a:lnTo>
                  <a:lnTo>
                    <a:pt x="10" y="41"/>
                  </a:lnTo>
                  <a:lnTo>
                    <a:pt x="0" y="41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00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4" name="Freeform 49"/>
            <p:cNvSpPr>
              <a:spLocks noEditPoints="1"/>
            </p:cNvSpPr>
            <p:nvPr userDrawn="1"/>
          </p:nvSpPr>
          <p:spPr bwMode="auto">
            <a:xfrm>
              <a:off x="856669" y="1290331"/>
              <a:ext cx="91120" cy="106740"/>
            </a:xfrm>
            <a:custGeom>
              <a:avLst/>
              <a:gdLst>
                <a:gd name="T0" fmla="*/ 8 w 15"/>
                <a:gd name="T1" fmla="*/ 8 h 17"/>
                <a:gd name="T2" fmla="*/ 11 w 15"/>
                <a:gd name="T3" fmla="*/ 6 h 17"/>
                <a:gd name="T4" fmla="*/ 11 w 15"/>
                <a:gd name="T5" fmla="*/ 6 h 17"/>
                <a:gd name="T6" fmla="*/ 8 w 15"/>
                <a:gd name="T7" fmla="*/ 4 h 17"/>
                <a:gd name="T8" fmla="*/ 4 w 15"/>
                <a:gd name="T9" fmla="*/ 4 h 17"/>
                <a:gd name="T10" fmla="*/ 4 w 15"/>
                <a:gd name="T11" fmla="*/ 8 h 17"/>
                <a:gd name="T12" fmla="*/ 8 w 15"/>
                <a:gd name="T13" fmla="*/ 8 h 17"/>
                <a:gd name="T14" fmla="*/ 0 w 15"/>
                <a:gd name="T15" fmla="*/ 0 h 17"/>
                <a:gd name="T16" fmla="*/ 8 w 15"/>
                <a:gd name="T17" fmla="*/ 0 h 17"/>
                <a:gd name="T18" fmla="*/ 13 w 15"/>
                <a:gd name="T19" fmla="*/ 2 h 17"/>
                <a:gd name="T20" fmla="*/ 14 w 15"/>
                <a:gd name="T21" fmla="*/ 6 h 17"/>
                <a:gd name="T22" fmla="*/ 14 w 15"/>
                <a:gd name="T23" fmla="*/ 6 h 17"/>
                <a:gd name="T24" fmla="*/ 11 w 15"/>
                <a:gd name="T25" fmla="*/ 11 h 17"/>
                <a:gd name="T26" fmla="*/ 15 w 15"/>
                <a:gd name="T27" fmla="*/ 17 h 17"/>
                <a:gd name="T28" fmla="*/ 10 w 15"/>
                <a:gd name="T29" fmla="*/ 17 h 17"/>
                <a:gd name="T30" fmla="*/ 7 w 15"/>
                <a:gd name="T31" fmla="*/ 12 h 17"/>
                <a:gd name="T32" fmla="*/ 7 w 15"/>
                <a:gd name="T33" fmla="*/ 12 h 17"/>
                <a:gd name="T34" fmla="*/ 4 w 15"/>
                <a:gd name="T35" fmla="*/ 12 h 17"/>
                <a:gd name="T36" fmla="*/ 4 w 15"/>
                <a:gd name="T37" fmla="*/ 17 h 17"/>
                <a:gd name="T38" fmla="*/ 0 w 15"/>
                <a:gd name="T39" fmla="*/ 17 h 17"/>
                <a:gd name="T40" fmla="*/ 0 w 15"/>
                <a:gd name="T4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17">
                  <a:moveTo>
                    <a:pt x="8" y="8"/>
                  </a:moveTo>
                  <a:cubicBezTo>
                    <a:pt x="9" y="8"/>
                    <a:pt x="11" y="8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9" y="4"/>
                    <a:pt x="8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8"/>
                    <a:pt x="4" y="8"/>
                    <a:pt x="4" y="8"/>
                  </a:cubicBezTo>
                  <a:lnTo>
                    <a:pt x="8" y="8"/>
                  </a:lnTo>
                  <a:close/>
                  <a:moveTo>
                    <a:pt x="0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10" y="0"/>
                    <a:pt x="12" y="1"/>
                    <a:pt x="13" y="2"/>
                  </a:cubicBezTo>
                  <a:cubicBezTo>
                    <a:pt x="14" y="3"/>
                    <a:pt x="14" y="4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9"/>
                    <a:pt x="13" y="10"/>
                    <a:pt x="11" y="11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0" y="17"/>
                    <a:pt x="0" y="17"/>
                    <a:pt x="0" y="1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5" name="Freeform 50"/>
            <p:cNvSpPr>
              <a:spLocks/>
            </p:cNvSpPr>
            <p:nvPr userDrawn="1"/>
          </p:nvSpPr>
          <p:spPr bwMode="auto">
            <a:xfrm>
              <a:off x="955599" y="1290331"/>
              <a:ext cx="85913" cy="106740"/>
            </a:xfrm>
            <a:custGeom>
              <a:avLst/>
              <a:gdLst>
                <a:gd name="T0" fmla="*/ 12 w 33"/>
                <a:gd name="T1" fmla="*/ 9 h 41"/>
                <a:gd name="T2" fmla="*/ 0 w 33"/>
                <a:gd name="T3" fmla="*/ 9 h 41"/>
                <a:gd name="T4" fmla="*/ 0 w 33"/>
                <a:gd name="T5" fmla="*/ 0 h 41"/>
                <a:gd name="T6" fmla="*/ 33 w 33"/>
                <a:gd name="T7" fmla="*/ 0 h 41"/>
                <a:gd name="T8" fmla="*/ 33 w 33"/>
                <a:gd name="T9" fmla="*/ 9 h 41"/>
                <a:gd name="T10" fmla="*/ 21 w 33"/>
                <a:gd name="T11" fmla="*/ 9 h 41"/>
                <a:gd name="T12" fmla="*/ 21 w 33"/>
                <a:gd name="T13" fmla="*/ 41 h 41"/>
                <a:gd name="T14" fmla="*/ 12 w 33"/>
                <a:gd name="T15" fmla="*/ 41 h 41"/>
                <a:gd name="T16" fmla="*/ 12 w 33"/>
                <a:gd name="T17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41">
                  <a:moveTo>
                    <a:pt x="12" y="9"/>
                  </a:moveTo>
                  <a:lnTo>
                    <a:pt x="0" y="9"/>
                  </a:lnTo>
                  <a:lnTo>
                    <a:pt x="0" y="0"/>
                  </a:lnTo>
                  <a:lnTo>
                    <a:pt x="33" y="0"/>
                  </a:lnTo>
                  <a:lnTo>
                    <a:pt x="33" y="9"/>
                  </a:lnTo>
                  <a:lnTo>
                    <a:pt x="21" y="9"/>
                  </a:lnTo>
                  <a:lnTo>
                    <a:pt x="21" y="41"/>
                  </a:lnTo>
                  <a:lnTo>
                    <a:pt x="12" y="41"/>
                  </a:lnTo>
                  <a:lnTo>
                    <a:pt x="12" y="9"/>
                  </a:lnTo>
                  <a:close/>
                </a:path>
              </a:pathLst>
            </a:custGeom>
            <a:solidFill>
              <a:srgbClr val="00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10593602" y="522907"/>
            <a:ext cx="760197" cy="1051780"/>
            <a:chOff x="2384875" y="345291"/>
            <a:chExt cx="760197" cy="1051780"/>
          </a:xfrm>
        </p:grpSpPr>
        <p:sp>
          <p:nvSpPr>
            <p:cNvPr id="16" name="Freeform 51"/>
            <p:cNvSpPr>
              <a:spLocks noEditPoints="1"/>
            </p:cNvSpPr>
            <p:nvPr userDrawn="1"/>
          </p:nvSpPr>
          <p:spPr bwMode="auto">
            <a:xfrm>
              <a:off x="2384875" y="345291"/>
              <a:ext cx="760197" cy="775818"/>
            </a:xfrm>
            <a:custGeom>
              <a:avLst/>
              <a:gdLst>
                <a:gd name="T0" fmla="*/ 61 w 123"/>
                <a:gd name="T1" fmla="*/ 117 h 124"/>
                <a:gd name="T2" fmla="*/ 20 w 123"/>
                <a:gd name="T3" fmla="*/ 99 h 124"/>
                <a:gd name="T4" fmla="*/ 43 w 123"/>
                <a:gd name="T5" fmla="*/ 106 h 124"/>
                <a:gd name="T6" fmla="*/ 87 w 123"/>
                <a:gd name="T7" fmla="*/ 62 h 124"/>
                <a:gd name="T8" fmla="*/ 43 w 123"/>
                <a:gd name="T9" fmla="*/ 18 h 124"/>
                <a:gd name="T10" fmla="*/ 20 w 123"/>
                <a:gd name="T11" fmla="*/ 25 h 124"/>
                <a:gd name="T12" fmla="*/ 61 w 123"/>
                <a:gd name="T13" fmla="*/ 6 h 124"/>
                <a:gd name="T14" fmla="*/ 117 w 123"/>
                <a:gd name="T15" fmla="*/ 62 h 124"/>
                <a:gd name="T16" fmla="*/ 61 w 123"/>
                <a:gd name="T17" fmla="*/ 117 h 124"/>
                <a:gd name="T18" fmla="*/ 12 w 123"/>
                <a:gd name="T19" fmla="*/ 83 h 124"/>
                <a:gd name="T20" fmla="*/ 23 w 123"/>
                <a:gd name="T21" fmla="*/ 85 h 124"/>
                <a:gd name="T22" fmla="*/ 47 w 123"/>
                <a:gd name="T23" fmla="*/ 62 h 124"/>
                <a:gd name="T24" fmla="*/ 23 w 123"/>
                <a:gd name="T25" fmla="*/ 38 h 124"/>
                <a:gd name="T26" fmla="*/ 12 w 123"/>
                <a:gd name="T27" fmla="*/ 41 h 124"/>
                <a:gd name="T28" fmla="*/ 43 w 123"/>
                <a:gd name="T29" fmla="*/ 24 h 124"/>
                <a:gd name="T30" fmla="*/ 81 w 123"/>
                <a:gd name="T31" fmla="*/ 62 h 124"/>
                <a:gd name="T32" fmla="*/ 43 w 123"/>
                <a:gd name="T33" fmla="*/ 100 h 124"/>
                <a:gd name="T34" fmla="*/ 12 w 123"/>
                <a:gd name="T35" fmla="*/ 83 h 124"/>
                <a:gd name="T36" fmla="*/ 23 w 123"/>
                <a:gd name="T37" fmla="*/ 44 h 124"/>
                <a:gd name="T38" fmla="*/ 41 w 123"/>
                <a:gd name="T39" fmla="*/ 62 h 124"/>
                <a:gd name="T40" fmla="*/ 23 w 123"/>
                <a:gd name="T41" fmla="*/ 79 h 124"/>
                <a:gd name="T42" fmla="*/ 6 w 123"/>
                <a:gd name="T43" fmla="*/ 62 h 124"/>
                <a:gd name="T44" fmla="*/ 6 w 123"/>
                <a:gd name="T45" fmla="*/ 62 h 124"/>
                <a:gd name="T46" fmla="*/ 6 w 123"/>
                <a:gd name="T47" fmla="*/ 62 h 124"/>
                <a:gd name="T48" fmla="*/ 23 w 123"/>
                <a:gd name="T49" fmla="*/ 44 h 124"/>
                <a:gd name="T50" fmla="*/ 61 w 123"/>
                <a:gd name="T51" fmla="*/ 0 h 124"/>
                <a:gd name="T52" fmla="*/ 0 w 123"/>
                <a:gd name="T53" fmla="*/ 60 h 124"/>
                <a:gd name="T54" fmla="*/ 0 w 123"/>
                <a:gd name="T55" fmla="*/ 62 h 124"/>
                <a:gd name="T56" fmla="*/ 0 w 123"/>
                <a:gd name="T57" fmla="*/ 62 h 124"/>
                <a:gd name="T58" fmla="*/ 0 w 123"/>
                <a:gd name="T59" fmla="*/ 62 h 124"/>
                <a:gd name="T60" fmla="*/ 0 w 123"/>
                <a:gd name="T61" fmla="*/ 64 h 124"/>
                <a:gd name="T62" fmla="*/ 61 w 123"/>
                <a:gd name="T63" fmla="*/ 124 h 124"/>
                <a:gd name="T64" fmla="*/ 123 w 123"/>
                <a:gd name="T65" fmla="*/ 62 h 124"/>
                <a:gd name="T66" fmla="*/ 61 w 123"/>
                <a:gd name="T67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3" h="124">
                  <a:moveTo>
                    <a:pt x="61" y="117"/>
                  </a:moveTo>
                  <a:cubicBezTo>
                    <a:pt x="45" y="117"/>
                    <a:pt x="30" y="110"/>
                    <a:pt x="20" y="99"/>
                  </a:cubicBezTo>
                  <a:cubicBezTo>
                    <a:pt x="26" y="103"/>
                    <a:pt x="35" y="106"/>
                    <a:pt x="43" y="106"/>
                  </a:cubicBezTo>
                  <a:cubicBezTo>
                    <a:pt x="68" y="106"/>
                    <a:pt x="87" y="86"/>
                    <a:pt x="87" y="62"/>
                  </a:cubicBezTo>
                  <a:cubicBezTo>
                    <a:pt x="87" y="38"/>
                    <a:pt x="68" y="18"/>
                    <a:pt x="43" y="18"/>
                  </a:cubicBezTo>
                  <a:cubicBezTo>
                    <a:pt x="35" y="18"/>
                    <a:pt x="26" y="21"/>
                    <a:pt x="20" y="25"/>
                  </a:cubicBezTo>
                  <a:cubicBezTo>
                    <a:pt x="30" y="14"/>
                    <a:pt x="45" y="6"/>
                    <a:pt x="61" y="6"/>
                  </a:cubicBezTo>
                  <a:cubicBezTo>
                    <a:pt x="92" y="6"/>
                    <a:pt x="117" y="31"/>
                    <a:pt x="117" y="62"/>
                  </a:cubicBezTo>
                  <a:cubicBezTo>
                    <a:pt x="117" y="93"/>
                    <a:pt x="92" y="117"/>
                    <a:pt x="61" y="117"/>
                  </a:cubicBezTo>
                  <a:moveTo>
                    <a:pt x="12" y="83"/>
                  </a:moveTo>
                  <a:cubicBezTo>
                    <a:pt x="15" y="84"/>
                    <a:pt x="19" y="85"/>
                    <a:pt x="23" y="85"/>
                  </a:cubicBezTo>
                  <a:cubicBezTo>
                    <a:pt x="36" y="85"/>
                    <a:pt x="47" y="75"/>
                    <a:pt x="47" y="62"/>
                  </a:cubicBezTo>
                  <a:cubicBezTo>
                    <a:pt x="47" y="49"/>
                    <a:pt x="36" y="38"/>
                    <a:pt x="23" y="38"/>
                  </a:cubicBezTo>
                  <a:cubicBezTo>
                    <a:pt x="19" y="38"/>
                    <a:pt x="15" y="39"/>
                    <a:pt x="12" y="41"/>
                  </a:cubicBezTo>
                  <a:cubicBezTo>
                    <a:pt x="19" y="31"/>
                    <a:pt x="30" y="24"/>
                    <a:pt x="43" y="24"/>
                  </a:cubicBezTo>
                  <a:cubicBezTo>
                    <a:pt x="64" y="24"/>
                    <a:pt x="81" y="41"/>
                    <a:pt x="81" y="62"/>
                  </a:cubicBezTo>
                  <a:cubicBezTo>
                    <a:pt x="81" y="83"/>
                    <a:pt x="64" y="100"/>
                    <a:pt x="43" y="100"/>
                  </a:cubicBezTo>
                  <a:cubicBezTo>
                    <a:pt x="30" y="100"/>
                    <a:pt x="19" y="93"/>
                    <a:pt x="12" y="83"/>
                  </a:cubicBezTo>
                  <a:moveTo>
                    <a:pt x="23" y="44"/>
                  </a:moveTo>
                  <a:cubicBezTo>
                    <a:pt x="33" y="44"/>
                    <a:pt x="41" y="52"/>
                    <a:pt x="41" y="62"/>
                  </a:cubicBezTo>
                  <a:cubicBezTo>
                    <a:pt x="41" y="72"/>
                    <a:pt x="33" y="79"/>
                    <a:pt x="23" y="79"/>
                  </a:cubicBezTo>
                  <a:cubicBezTo>
                    <a:pt x="14" y="79"/>
                    <a:pt x="6" y="72"/>
                    <a:pt x="6" y="62"/>
                  </a:cubicBezTo>
                  <a:cubicBezTo>
                    <a:pt x="6" y="62"/>
                    <a:pt x="6" y="62"/>
                    <a:pt x="6" y="62"/>
                  </a:cubicBezTo>
                  <a:cubicBezTo>
                    <a:pt x="6" y="62"/>
                    <a:pt x="6" y="62"/>
                    <a:pt x="6" y="62"/>
                  </a:cubicBezTo>
                  <a:cubicBezTo>
                    <a:pt x="6" y="52"/>
                    <a:pt x="14" y="44"/>
                    <a:pt x="23" y="44"/>
                  </a:cubicBezTo>
                  <a:moveTo>
                    <a:pt x="61" y="0"/>
                  </a:moveTo>
                  <a:cubicBezTo>
                    <a:pt x="28" y="0"/>
                    <a:pt x="1" y="27"/>
                    <a:pt x="0" y="60"/>
                  </a:cubicBezTo>
                  <a:cubicBezTo>
                    <a:pt x="0" y="60"/>
                    <a:pt x="0" y="61"/>
                    <a:pt x="0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3"/>
                    <a:pt x="0" y="63"/>
                    <a:pt x="0" y="64"/>
                  </a:cubicBezTo>
                  <a:cubicBezTo>
                    <a:pt x="1" y="97"/>
                    <a:pt x="28" y="124"/>
                    <a:pt x="61" y="124"/>
                  </a:cubicBezTo>
                  <a:cubicBezTo>
                    <a:pt x="95" y="124"/>
                    <a:pt x="123" y="96"/>
                    <a:pt x="123" y="62"/>
                  </a:cubicBezTo>
                  <a:cubicBezTo>
                    <a:pt x="123" y="28"/>
                    <a:pt x="95" y="0"/>
                    <a:pt x="61" y="0"/>
                  </a:cubicBezTo>
                </a:path>
              </a:pathLst>
            </a:custGeom>
            <a:solidFill>
              <a:srgbClr val="00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7" name="Freeform 52"/>
            <p:cNvSpPr>
              <a:spLocks/>
            </p:cNvSpPr>
            <p:nvPr userDrawn="1"/>
          </p:nvSpPr>
          <p:spPr bwMode="auto">
            <a:xfrm>
              <a:off x="2515045" y="1290331"/>
              <a:ext cx="85913" cy="106740"/>
            </a:xfrm>
            <a:custGeom>
              <a:avLst/>
              <a:gdLst>
                <a:gd name="T0" fmla="*/ 0 w 14"/>
                <a:gd name="T1" fmla="*/ 15 h 17"/>
                <a:gd name="T2" fmla="*/ 3 w 14"/>
                <a:gd name="T3" fmla="*/ 12 h 17"/>
                <a:gd name="T4" fmla="*/ 8 w 14"/>
                <a:gd name="T5" fmla="*/ 14 h 17"/>
                <a:gd name="T6" fmla="*/ 10 w 14"/>
                <a:gd name="T7" fmla="*/ 12 h 17"/>
                <a:gd name="T8" fmla="*/ 10 w 14"/>
                <a:gd name="T9" fmla="*/ 12 h 17"/>
                <a:gd name="T10" fmla="*/ 7 w 14"/>
                <a:gd name="T11" fmla="*/ 10 h 17"/>
                <a:gd name="T12" fmla="*/ 1 w 14"/>
                <a:gd name="T13" fmla="*/ 5 h 17"/>
                <a:gd name="T14" fmla="*/ 1 w 14"/>
                <a:gd name="T15" fmla="*/ 5 h 17"/>
                <a:gd name="T16" fmla="*/ 7 w 14"/>
                <a:gd name="T17" fmla="*/ 0 h 17"/>
                <a:gd name="T18" fmla="*/ 13 w 14"/>
                <a:gd name="T19" fmla="*/ 2 h 17"/>
                <a:gd name="T20" fmla="*/ 11 w 14"/>
                <a:gd name="T21" fmla="*/ 5 h 17"/>
                <a:gd name="T22" fmla="*/ 7 w 14"/>
                <a:gd name="T23" fmla="*/ 3 h 17"/>
                <a:gd name="T24" fmla="*/ 5 w 14"/>
                <a:gd name="T25" fmla="*/ 5 h 17"/>
                <a:gd name="T26" fmla="*/ 5 w 14"/>
                <a:gd name="T27" fmla="*/ 5 h 17"/>
                <a:gd name="T28" fmla="*/ 8 w 14"/>
                <a:gd name="T29" fmla="*/ 7 h 17"/>
                <a:gd name="T30" fmla="*/ 14 w 14"/>
                <a:gd name="T31" fmla="*/ 12 h 17"/>
                <a:gd name="T32" fmla="*/ 14 w 14"/>
                <a:gd name="T33" fmla="*/ 12 h 17"/>
                <a:gd name="T34" fmla="*/ 7 w 14"/>
                <a:gd name="T35" fmla="*/ 17 h 17"/>
                <a:gd name="T36" fmla="*/ 0 w 14"/>
                <a:gd name="T37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17">
                  <a:moveTo>
                    <a:pt x="0" y="15"/>
                  </a:moveTo>
                  <a:cubicBezTo>
                    <a:pt x="3" y="12"/>
                    <a:pt x="3" y="12"/>
                    <a:pt x="3" y="12"/>
                  </a:cubicBezTo>
                  <a:cubicBezTo>
                    <a:pt x="4" y="13"/>
                    <a:pt x="6" y="14"/>
                    <a:pt x="8" y="14"/>
                  </a:cubicBezTo>
                  <a:cubicBezTo>
                    <a:pt x="9" y="14"/>
                    <a:pt x="10" y="13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1"/>
                    <a:pt x="9" y="11"/>
                    <a:pt x="7" y="10"/>
                  </a:cubicBezTo>
                  <a:cubicBezTo>
                    <a:pt x="3" y="9"/>
                    <a:pt x="1" y="8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2"/>
                    <a:pt x="4" y="0"/>
                    <a:pt x="7" y="0"/>
                  </a:cubicBezTo>
                  <a:cubicBezTo>
                    <a:pt x="9" y="0"/>
                    <a:pt x="11" y="1"/>
                    <a:pt x="13" y="2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4"/>
                    <a:pt x="8" y="3"/>
                    <a:pt x="7" y="3"/>
                  </a:cubicBezTo>
                  <a:cubicBezTo>
                    <a:pt x="5" y="3"/>
                    <a:pt x="5" y="4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6"/>
                    <a:pt x="5" y="6"/>
                    <a:pt x="8" y="7"/>
                  </a:cubicBezTo>
                  <a:cubicBezTo>
                    <a:pt x="12" y="8"/>
                    <a:pt x="14" y="9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5"/>
                    <a:pt x="11" y="17"/>
                    <a:pt x="7" y="17"/>
                  </a:cubicBezTo>
                  <a:cubicBezTo>
                    <a:pt x="5" y="17"/>
                    <a:pt x="2" y="16"/>
                    <a:pt x="0" y="15"/>
                  </a:cubicBezTo>
                </a:path>
              </a:pathLst>
            </a:custGeom>
            <a:solidFill>
              <a:srgbClr val="00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8" name="Freeform 53"/>
            <p:cNvSpPr>
              <a:spLocks/>
            </p:cNvSpPr>
            <p:nvPr userDrawn="1"/>
          </p:nvSpPr>
          <p:spPr bwMode="auto">
            <a:xfrm>
              <a:off x="2613975" y="1290331"/>
              <a:ext cx="91120" cy="106740"/>
            </a:xfrm>
            <a:custGeom>
              <a:avLst/>
              <a:gdLst>
                <a:gd name="T0" fmla="*/ 0 w 15"/>
                <a:gd name="T1" fmla="*/ 9 h 17"/>
                <a:gd name="T2" fmla="*/ 0 w 15"/>
                <a:gd name="T3" fmla="*/ 9 h 17"/>
                <a:gd name="T4" fmla="*/ 9 w 15"/>
                <a:gd name="T5" fmla="*/ 0 h 17"/>
                <a:gd name="T6" fmla="*/ 15 w 15"/>
                <a:gd name="T7" fmla="*/ 3 h 17"/>
                <a:gd name="T8" fmla="*/ 13 w 15"/>
                <a:gd name="T9" fmla="*/ 5 h 17"/>
                <a:gd name="T10" fmla="*/ 9 w 15"/>
                <a:gd name="T11" fmla="*/ 3 h 17"/>
                <a:gd name="T12" fmla="*/ 4 w 15"/>
                <a:gd name="T13" fmla="*/ 9 h 17"/>
                <a:gd name="T14" fmla="*/ 4 w 15"/>
                <a:gd name="T15" fmla="*/ 9 h 17"/>
                <a:gd name="T16" fmla="*/ 9 w 15"/>
                <a:gd name="T17" fmla="*/ 14 h 17"/>
                <a:gd name="T18" fmla="*/ 13 w 15"/>
                <a:gd name="T19" fmla="*/ 12 h 17"/>
                <a:gd name="T20" fmla="*/ 15 w 15"/>
                <a:gd name="T21" fmla="*/ 14 h 17"/>
                <a:gd name="T22" fmla="*/ 9 w 15"/>
                <a:gd name="T23" fmla="*/ 17 h 17"/>
                <a:gd name="T24" fmla="*/ 0 w 15"/>
                <a:gd name="T25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17">
                  <a:moveTo>
                    <a:pt x="0" y="9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2" y="0"/>
                    <a:pt x="14" y="1"/>
                    <a:pt x="15" y="3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4"/>
                    <a:pt x="10" y="3"/>
                    <a:pt x="9" y="3"/>
                  </a:cubicBezTo>
                  <a:cubicBezTo>
                    <a:pt x="6" y="3"/>
                    <a:pt x="4" y="6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12"/>
                    <a:pt x="6" y="14"/>
                    <a:pt x="9" y="14"/>
                  </a:cubicBezTo>
                  <a:cubicBezTo>
                    <a:pt x="11" y="14"/>
                    <a:pt x="12" y="13"/>
                    <a:pt x="13" y="12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4" y="16"/>
                    <a:pt x="12" y="17"/>
                    <a:pt x="9" y="17"/>
                  </a:cubicBezTo>
                  <a:cubicBezTo>
                    <a:pt x="4" y="17"/>
                    <a:pt x="0" y="13"/>
                    <a:pt x="0" y="9"/>
                  </a:cubicBezTo>
                </a:path>
              </a:pathLst>
            </a:custGeom>
            <a:solidFill>
              <a:srgbClr val="00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9" name="Freeform 54"/>
            <p:cNvSpPr>
              <a:spLocks noEditPoints="1"/>
            </p:cNvSpPr>
            <p:nvPr userDrawn="1"/>
          </p:nvSpPr>
          <p:spPr bwMode="auto">
            <a:xfrm>
              <a:off x="2718112" y="1290331"/>
              <a:ext cx="104137" cy="106740"/>
            </a:xfrm>
            <a:custGeom>
              <a:avLst/>
              <a:gdLst>
                <a:gd name="T0" fmla="*/ 26 w 40"/>
                <a:gd name="T1" fmla="*/ 24 h 41"/>
                <a:gd name="T2" fmla="*/ 21 w 40"/>
                <a:gd name="T3" fmla="*/ 12 h 41"/>
                <a:gd name="T4" fmla="*/ 14 w 40"/>
                <a:gd name="T5" fmla="*/ 24 h 41"/>
                <a:gd name="T6" fmla="*/ 26 w 40"/>
                <a:gd name="T7" fmla="*/ 24 h 41"/>
                <a:gd name="T8" fmla="*/ 17 w 40"/>
                <a:gd name="T9" fmla="*/ 0 h 41"/>
                <a:gd name="T10" fmla="*/ 24 w 40"/>
                <a:gd name="T11" fmla="*/ 0 h 41"/>
                <a:gd name="T12" fmla="*/ 40 w 40"/>
                <a:gd name="T13" fmla="*/ 41 h 41"/>
                <a:gd name="T14" fmla="*/ 33 w 40"/>
                <a:gd name="T15" fmla="*/ 41 h 41"/>
                <a:gd name="T16" fmla="*/ 28 w 40"/>
                <a:gd name="T17" fmla="*/ 31 h 41"/>
                <a:gd name="T18" fmla="*/ 12 w 40"/>
                <a:gd name="T19" fmla="*/ 31 h 41"/>
                <a:gd name="T20" fmla="*/ 9 w 40"/>
                <a:gd name="T21" fmla="*/ 41 h 41"/>
                <a:gd name="T22" fmla="*/ 0 w 40"/>
                <a:gd name="T23" fmla="*/ 41 h 41"/>
                <a:gd name="T24" fmla="*/ 17 w 40"/>
                <a:gd name="T25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" h="41">
                  <a:moveTo>
                    <a:pt x="26" y="24"/>
                  </a:moveTo>
                  <a:lnTo>
                    <a:pt x="21" y="12"/>
                  </a:lnTo>
                  <a:lnTo>
                    <a:pt x="14" y="24"/>
                  </a:lnTo>
                  <a:lnTo>
                    <a:pt x="26" y="24"/>
                  </a:lnTo>
                  <a:close/>
                  <a:moveTo>
                    <a:pt x="17" y="0"/>
                  </a:moveTo>
                  <a:lnTo>
                    <a:pt x="24" y="0"/>
                  </a:lnTo>
                  <a:lnTo>
                    <a:pt x="40" y="41"/>
                  </a:lnTo>
                  <a:lnTo>
                    <a:pt x="33" y="41"/>
                  </a:lnTo>
                  <a:lnTo>
                    <a:pt x="28" y="31"/>
                  </a:lnTo>
                  <a:lnTo>
                    <a:pt x="12" y="31"/>
                  </a:lnTo>
                  <a:lnTo>
                    <a:pt x="9" y="41"/>
                  </a:lnTo>
                  <a:lnTo>
                    <a:pt x="0" y="41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00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0" name="Freeform 55"/>
            <p:cNvSpPr>
              <a:spLocks/>
            </p:cNvSpPr>
            <p:nvPr userDrawn="1"/>
          </p:nvSpPr>
          <p:spPr bwMode="auto">
            <a:xfrm>
              <a:off x="2840472" y="1290331"/>
              <a:ext cx="75499" cy="106740"/>
            </a:xfrm>
            <a:custGeom>
              <a:avLst/>
              <a:gdLst>
                <a:gd name="T0" fmla="*/ 0 w 29"/>
                <a:gd name="T1" fmla="*/ 0 h 41"/>
                <a:gd name="T2" fmla="*/ 10 w 29"/>
                <a:gd name="T3" fmla="*/ 0 h 41"/>
                <a:gd name="T4" fmla="*/ 10 w 29"/>
                <a:gd name="T5" fmla="*/ 33 h 41"/>
                <a:gd name="T6" fmla="*/ 29 w 29"/>
                <a:gd name="T7" fmla="*/ 33 h 41"/>
                <a:gd name="T8" fmla="*/ 29 w 29"/>
                <a:gd name="T9" fmla="*/ 41 h 41"/>
                <a:gd name="T10" fmla="*/ 0 w 29"/>
                <a:gd name="T11" fmla="*/ 41 h 41"/>
                <a:gd name="T12" fmla="*/ 0 w 29"/>
                <a:gd name="T13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41">
                  <a:moveTo>
                    <a:pt x="0" y="0"/>
                  </a:moveTo>
                  <a:lnTo>
                    <a:pt x="10" y="0"/>
                  </a:lnTo>
                  <a:lnTo>
                    <a:pt x="10" y="33"/>
                  </a:lnTo>
                  <a:lnTo>
                    <a:pt x="29" y="33"/>
                  </a:lnTo>
                  <a:lnTo>
                    <a:pt x="29" y="41"/>
                  </a:lnTo>
                  <a:lnTo>
                    <a:pt x="0" y="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1" name="Freeform 56"/>
            <p:cNvSpPr>
              <a:spLocks/>
            </p:cNvSpPr>
            <p:nvPr userDrawn="1"/>
          </p:nvSpPr>
          <p:spPr bwMode="auto">
            <a:xfrm>
              <a:off x="2934195" y="1290331"/>
              <a:ext cx="75499" cy="106740"/>
            </a:xfrm>
            <a:custGeom>
              <a:avLst/>
              <a:gdLst>
                <a:gd name="T0" fmla="*/ 0 w 29"/>
                <a:gd name="T1" fmla="*/ 0 h 41"/>
                <a:gd name="T2" fmla="*/ 29 w 29"/>
                <a:gd name="T3" fmla="*/ 0 h 41"/>
                <a:gd name="T4" fmla="*/ 29 w 29"/>
                <a:gd name="T5" fmla="*/ 9 h 41"/>
                <a:gd name="T6" fmla="*/ 7 w 29"/>
                <a:gd name="T7" fmla="*/ 9 h 41"/>
                <a:gd name="T8" fmla="*/ 7 w 29"/>
                <a:gd name="T9" fmla="*/ 17 h 41"/>
                <a:gd name="T10" fmla="*/ 26 w 29"/>
                <a:gd name="T11" fmla="*/ 17 h 41"/>
                <a:gd name="T12" fmla="*/ 26 w 29"/>
                <a:gd name="T13" fmla="*/ 24 h 41"/>
                <a:gd name="T14" fmla="*/ 7 w 29"/>
                <a:gd name="T15" fmla="*/ 24 h 41"/>
                <a:gd name="T16" fmla="*/ 7 w 29"/>
                <a:gd name="T17" fmla="*/ 33 h 41"/>
                <a:gd name="T18" fmla="*/ 29 w 29"/>
                <a:gd name="T19" fmla="*/ 33 h 41"/>
                <a:gd name="T20" fmla="*/ 29 w 29"/>
                <a:gd name="T21" fmla="*/ 41 h 41"/>
                <a:gd name="T22" fmla="*/ 0 w 29"/>
                <a:gd name="T23" fmla="*/ 41 h 41"/>
                <a:gd name="T24" fmla="*/ 0 w 29"/>
                <a:gd name="T25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" h="41">
                  <a:moveTo>
                    <a:pt x="0" y="0"/>
                  </a:moveTo>
                  <a:lnTo>
                    <a:pt x="29" y="0"/>
                  </a:lnTo>
                  <a:lnTo>
                    <a:pt x="29" y="9"/>
                  </a:lnTo>
                  <a:lnTo>
                    <a:pt x="7" y="9"/>
                  </a:lnTo>
                  <a:lnTo>
                    <a:pt x="7" y="17"/>
                  </a:lnTo>
                  <a:lnTo>
                    <a:pt x="26" y="17"/>
                  </a:lnTo>
                  <a:lnTo>
                    <a:pt x="26" y="24"/>
                  </a:lnTo>
                  <a:lnTo>
                    <a:pt x="7" y="24"/>
                  </a:lnTo>
                  <a:lnTo>
                    <a:pt x="7" y="33"/>
                  </a:lnTo>
                  <a:lnTo>
                    <a:pt x="29" y="33"/>
                  </a:lnTo>
                  <a:lnTo>
                    <a:pt x="29" y="41"/>
                  </a:lnTo>
                  <a:lnTo>
                    <a:pt x="0" y="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9230311" y="522907"/>
            <a:ext cx="765404" cy="1051780"/>
            <a:chOff x="1400783" y="345291"/>
            <a:chExt cx="765404" cy="1051780"/>
          </a:xfrm>
        </p:grpSpPr>
        <p:sp>
          <p:nvSpPr>
            <p:cNvPr id="22" name="Rectangle 57"/>
            <p:cNvSpPr>
              <a:spLocks noChangeArrowheads="1"/>
            </p:cNvSpPr>
            <p:nvPr userDrawn="1"/>
          </p:nvSpPr>
          <p:spPr bwMode="auto">
            <a:xfrm>
              <a:off x="1400783" y="1290331"/>
              <a:ext cx="18224" cy="106740"/>
            </a:xfrm>
            <a:prstGeom prst="rect">
              <a:avLst/>
            </a:prstGeom>
            <a:solidFill>
              <a:srgbClr val="00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3" name="Freeform 58"/>
            <p:cNvSpPr>
              <a:spLocks/>
            </p:cNvSpPr>
            <p:nvPr userDrawn="1"/>
          </p:nvSpPr>
          <p:spPr bwMode="auto">
            <a:xfrm>
              <a:off x="1442438" y="1290331"/>
              <a:ext cx="93723" cy="106740"/>
            </a:xfrm>
            <a:custGeom>
              <a:avLst/>
              <a:gdLst>
                <a:gd name="T0" fmla="*/ 0 w 36"/>
                <a:gd name="T1" fmla="*/ 0 h 41"/>
                <a:gd name="T2" fmla="*/ 10 w 36"/>
                <a:gd name="T3" fmla="*/ 0 h 41"/>
                <a:gd name="T4" fmla="*/ 29 w 36"/>
                <a:gd name="T5" fmla="*/ 26 h 41"/>
                <a:gd name="T6" fmla="*/ 29 w 36"/>
                <a:gd name="T7" fmla="*/ 0 h 41"/>
                <a:gd name="T8" fmla="*/ 36 w 36"/>
                <a:gd name="T9" fmla="*/ 0 h 41"/>
                <a:gd name="T10" fmla="*/ 36 w 36"/>
                <a:gd name="T11" fmla="*/ 41 h 41"/>
                <a:gd name="T12" fmla="*/ 29 w 36"/>
                <a:gd name="T13" fmla="*/ 41 h 41"/>
                <a:gd name="T14" fmla="*/ 10 w 36"/>
                <a:gd name="T15" fmla="*/ 14 h 41"/>
                <a:gd name="T16" fmla="*/ 10 w 36"/>
                <a:gd name="T17" fmla="*/ 41 h 41"/>
                <a:gd name="T18" fmla="*/ 0 w 36"/>
                <a:gd name="T19" fmla="*/ 41 h 41"/>
                <a:gd name="T20" fmla="*/ 0 w 36"/>
                <a:gd name="T21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41">
                  <a:moveTo>
                    <a:pt x="0" y="0"/>
                  </a:moveTo>
                  <a:lnTo>
                    <a:pt x="10" y="0"/>
                  </a:lnTo>
                  <a:lnTo>
                    <a:pt x="29" y="26"/>
                  </a:lnTo>
                  <a:lnTo>
                    <a:pt x="29" y="0"/>
                  </a:lnTo>
                  <a:lnTo>
                    <a:pt x="36" y="0"/>
                  </a:lnTo>
                  <a:lnTo>
                    <a:pt x="36" y="41"/>
                  </a:lnTo>
                  <a:lnTo>
                    <a:pt x="29" y="41"/>
                  </a:lnTo>
                  <a:lnTo>
                    <a:pt x="10" y="14"/>
                  </a:lnTo>
                  <a:lnTo>
                    <a:pt x="10" y="41"/>
                  </a:lnTo>
                  <a:lnTo>
                    <a:pt x="0" y="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4" name="Freeform 59"/>
            <p:cNvSpPr>
              <a:spLocks/>
            </p:cNvSpPr>
            <p:nvPr userDrawn="1"/>
          </p:nvSpPr>
          <p:spPr bwMode="auto">
            <a:xfrm>
              <a:off x="1562195" y="1290331"/>
              <a:ext cx="91120" cy="106740"/>
            </a:xfrm>
            <a:custGeom>
              <a:avLst/>
              <a:gdLst>
                <a:gd name="T0" fmla="*/ 0 w 35"/>
                <a:gd name="T1" fmla="*/ 0 h 41"/>
                <a:gd name="T2" fmla="*/ 9 w 35"/>
                <a:gd name="T3" fmla="*/ 0 h 41"/>
                <a:gd name="T4" fmla="*/ 26 w 35"/>
                <a:gd name="T5" fmla="*/ 26 h 41"/>
                <a:gd name="T6" fmla="*/ 26 w 35"/>
                <a:gd name="T7" fmla="*/ 0 h 41"/>
                <a:gd name="T8" fmla="*/ 35 w 35"/>
                <a:gd name="T9" fmla="*/ 0 h 41"/>
                <a:gd name="T10" fmla="*/ 35 w 35"/>
                <a:gd name="T11" fmla="*/ 41 h 41"/>
                <a:gd name="T12" fmla="*/ 28 w 35"/>
                <a:gd name="T13" fmla="*/ 41 h 41"/>
                <a:gd name="T14" fmla="*/ 9 w 35"/>
                <a:gd name="T15" fmla="*/ 14 h 41"/>
                <a:gd name="T16" fmla="*/ 9 w 35"/>
                <a:gd name="T17" fmla="*/ 41 h 41"/>
                <a:gd name="T18" fmla="*/ 0 w 35"/>
                <a:gd name="T19" fmla="*/ 41 h 41"/>
                <a:gd name="T20" fmla="*/ 0 w 35"/>
                <a:gd name="T21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41">
                  <a:moveTo>
                    <a:pt x="0" y="0"/>
                  </a:moveTo>
                  <a:lnTo>
                    <a:pt x="9" y="0"/>
                  </a:lnTo>
                  <a:lnTo>
                    <a:pt x="26" y="26"/>
                  </a:lnTo>
                  <a:lnTo>
                    <a:pt x="26" y="0"/>
                  </a:lnTo>
                  <a:lnTo>
                    <a:pt x="35" y="0"/>
                  </a:lnTo>
                  <a:lnTo>
                    <a:pt x="35" y="41"/>
                  </a:lnTo>
                  <a:lnTo>
                    <a:pt x="28" y="41"/>
                  </a:lnTo>
                  <a:lnTo>
                    <a:pt x="9" y="14"/>
                  </a:lnTo>
                  <a:lnTo>
                    <a:pt x="9" y="41"/>
                  </a:lnTo>
                  <a:lnTo>
                    <a:pt x="0" y="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5" name="Freeform 60"/>
            <p:cNvSpPr>
              <a:spLocks noEditPoints="1"/>
            </p:cNvSpPr>
            <p:nvPr userDrawn="1"/>
          </p:nvSpPr>
          <p:spPr bwMode="auto">
            <a:xfrm>
              <a:off x="1671539" y="1290331"/>
              <a:ext cx="111947" cy="106740"/>
            </a:xfrm>
            <a:custGeom>
              <a:avLst/>
              <a:gdLst>
                <a:gd name="T0" fmla="*/ 14 w 18"/>
                <a:gd name="T1" fmla="*/ 9 h 17"/>
                <a:gd name="T2" fmla="*/ 14 w 18"/>
                <a:gd name="T3" fmla="*/ 9 h 17"/>
                <a:gd name="T4" fmla="*/ 9 w 18"/>
                <a:gd name="T5" fmla="*/ 3 h 17"/>
                <a:gd name="T6" fmla="*/ 4 w 18"/>
                <a:gd name="T7" fmla="*/ 9 h 17"/>
                <a:gd name="T8" fmla="*/ 4 w 18"/>
                <a:gd name="T9" fmla="*/ 9 h 17"/>
                <a:gd name="T10" fmla="*/ 9 w 18"/>
                <a:gd name="T11" fmla="*/ 14 h 17"/>
                <a:gd name="T12" fmla="*/ 14 w 18"/>
                <a:gd name="T13" fmla="*/ 9 h 17"/>
                <a:gd name="T14" fmla="*/ 0 w 18"/>
                <a:gd name="T15" fmla="*/ 9 h 17"/>
                <a:gd name="T16" fmla="*/ 0 w 18"/>
                <a:gd name="T17" fmla="*/ 9 h 17"/>
                <a:gd name="T18" fmla="*/ 9 w 18"/>
                <a:gd name="T19" fmla="*/ 0 h 17"/>
                <a:gd name="T20" fmla="*/ 18 w 18"/>
                <a:gd name="T21" fmla="*/ 9 h 17"/>
                <a:gd name="T22" fmla="*/ 18 w 18"/>
                <a:gd name="T23" fmla="*/ 9 h 17"/>
                <a:gd name="T24" fmla="*/ 9 w 18"/>
                <a:gd name="T25" fmla="*/ 17 h 17"/>
                <a:gd name="T26" fmla="*/ 0 w 18"/>
                <a:gd name="T27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" h="17">
                  <a:moveTo>
                    <a:pt x="14" y="9"/>
                  </a:moveTo>
                  <a:cubicBezTo>
                    <a:pt x="14" y="9"/>
                    <a:pt x="14" y="9"/>
                    <a:pt x="14" y="9"/>
                  </a:cubicBezTo>
                  <a:cubicBezTo>
                    <a:pt x="14" y="6"/>
                    <a:pt x="12" y="3"/>
                    <a:pt x="9" y="3"/>
                  </a:cubicBezTo>
                  <a:cubicBezTo>
                    <a:pt x="6" y="3"/>
                    <a:pt x="4" y="6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12"/>
                    <a:pt x="6" y="14"/>
                    <a:pt x="9" y="14"/>
                  </a:cubicBezTo>
                  <a:cubicBezTo>
                    <a:pt x="12" y="14"/>
                    <a:pt x="14" y="12"/>
                    <a:pt x="14" y="9"/>
                  </a:cubicBezTo>
                  <a:moveTo>
                    <a:pt x="0" y="9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13"/>
                    <a:pt x="14" y="17"/>
                    <a:pt x="9" y="17"/>
                  </a:cubicBezTo>
                  <a:cubicBezTo>
                    <a:pt x="4" y="17"/>
                    <a:pt x="0" y="13"/>
                    <a:pt x="0" y="9"/>
                  </a:cubicBezTo>
                </a:path>
              </a:pathLst>
            </a:custGeom>
            <a:solidFill>
              <a:srgbClr val="00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6" name="Freeform 61"/>
            <p:cNvSpPr>
              <a:spLocks/>
            </p:cNvSpPr>
            <p:nvPr userDrawn="1"/>
          </p:nvSpPr>
          <p:spPr bwMode="auto">
            <a:xfrm>
              <a:off x="1788692" y="1290331"/>
              <a:ext cx="101533" cy="106740"/>
            </a:xfrm>
            <a:custGeom>
              <a:avLst/>
              <a:gdLst>
                <a:gd name="T0" fmla="*/ 0 w 39"/>
                <a:gd name="T1" fmla="*/ 0 h 41"/>
                <a:gd name="T2" fmla="*/ 10 w 39"/>
                <a:gd name="T3" fmla="*/ 0 h 41"/>
                <a:gd name="T4" fmla="*/ 19 w 39"/>
                <a:gd name="T5" fmla="*/ 29 h 41"/>
                <a:gd name="T6" fmla="*/ 29 w 39"/>
                <a:gd name="T7" fmla="*/ 0 h 41"/>
                <a:gd name="T8" fmla="*/ 39 w 39"/>
                <a:gd name="T9" fmla="*/ 0 h 41"/>
                <a:gd name="T10" fmla="*/ 24 w 39"/>
                <a:gd name="T11" fmla="*/ 41 h 41"/>
                <a:gd name="T12" fmla="*/ 15 w 39"/>
                <a:gd name="T13" fmla="*/ 41 h 41"/>
                <a:gd name="T14" fmla="*/ 0 w 39"/>
                <a:gd name="T15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0"/>
                  </a:moveTo>
                  <a:lnTo>
                    <a:pt x="10" y="0"/>
                  </a:lnTo>
                  <a:lnTo>
                    <a:pt x="19" y="29"/>
                  </a:lnTo>
                  <a:lnTo>
                    <a:pt x="29" y="0"/>
                  </a:lnTo>
                  <a:lnTo>
                    <a:pt x="39" y="0"/>
                  </a:lnTo>
                  <a:lnTo>
                    <a:pt x="24" y="41"/>
                  </a:lnTo>
                  <a:lnTo>
                    <a:pt x="15" y="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7" name="Freeform 62"/>
            <p:cNvSpPr>
              <a:spLocks noEditPoints="1"/>
            </p:cNvSpPr>
            <p:nvPr userDrawn="1"/>
          </p:nvSpPr>
          <p:spPr bwMode="auto">
            <a:xfrm>
              <a:off x="1882415" y="1290331"/>
              <a:ext cx="111947" cy="106740"/>
            </a:xfrm>
            <a:custGeom>
              <a:avLst/>
              <a:gdLst>
                <a:gd name="T0" fmla="*/ 26 w 43"/>
                <a:gd name="T1" fmla="*/ 24 h 41"/>
                <a:gd name="T2" fmla="*/ 22 w 43"/>
                <a:gd name="T3" fmla="*/ 12 h 41"/>
                <a:gd name="T4" fmla="*/ 17 w 43"/>
                <a:gd name="T5" fmla="*/ 24 h 41"/>
                <a:gd name="T6" fmla="*/ 26 w 43"/>
                <a:gd name="T7" fmla="*/ 24 h 41"/>
                <a:gd name="T8" fmla="*/ 17 w 43"/>
                <a:gd name="T9" fmla="*/ 0 h 41"/>
                <a:gd name="T10" fmla="*/ 24 w 43"/>
                <a:gd name="T11" fmla="*/ 0 h 41"/>
                <a:gd name="T12" fmla="*/ 43 w 43"/>
                <a:gd name="T13" fmla="*/ 41 h 41"/>
                <a:gd name="T14" fmla="*/ 33 w 43"/>
                <a:gd name="T15" fmla="*/ 41 h 41"/>
                <a:gd name="T16" fmla="*/ 29 w 43"/>
                <a:gd name="T17" fmla="*/ 31 h 41"/>
                <a:gd name="T18" fmla="*/ 12 w 43"/>
                <a:gd name="T19" fmla="*/ 31 h 41"/>
                <a:gd name="T20" fmla="*/ 10 w 43"/>
                <a:gd name="T21" fmla="*/ 41 h 41"/>
                <a:gd name="T22" fmla="*/ 0 w 43"/>
                <a:gd name="T23" fmla="*/ 41 h 41"/>
                <a:gd name="T24" fmla="*/ 17 w 43"/>
                <a:gd name="T25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41">
                  <a:moveTo>
                    <a:pt x="26" y="24"/>
                  </a:moveTo>
                  <a:lnTo>
                    <a:pt x="22" y="12"/>
                  </a:lnTo>
                  <a:lnTo>
                    <a:pt x="17" y="24"/>
                  </a:lnTo>
                  <a:lnTo>
                    <a:pt x="26" y="24"/>
                  </a:lnTo>
                  <a:close/>
                  <a:moveTo>
                    <a:pt x="17" y="0"/>
                  </a:moveTo>
                  <a:lnTo>
                    <a:pt x="24" y="0"/>
                  </a:lnTo>
                  <a:lnTo>
                    <a:pt x="43" y="41"/>
                  </a:lnTo>
                  <a:lnTo>
                    <a:pt x="33" y="41"/>
                  </a:lnTo>
                  <a:lnTo>
                    <a:pt x="29" y="31"/>
                  </a:lnTo>
                  <a:lnTo>
                    <a:pt x="12" y="31"/>
                  </a:lnTo>
                  <a:lnTo>
                    <a:pt x="10" y="41"/>
                  </a:lnTo>
                  <a:lnTo>
                    <a:pt x="0" y="41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00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8" name="Freeform 63"/>
            <p:cNvSpPr>
              <a:spLocks/>
            </p:cNvSpPr>
            <p:nvPr userDrawn="1"/>
          </p:nvSpPr>
          <p:spPr bwMode="auto">
            <a:xfrm>
              <a:off x="1989155" y="1290331"/>
              <a:ext cx="85913" cy="106740"/>
            </a:xfrm>
            <a:custGeom>
              <a:avLst/>
              <a:gdLst>
                <a:gd name="T0" fmla="*/ 11 w 33"/>
                <a:gd name="T1" fmla="*/ 9 h 41"/>
                <a:gd name="T2" fmla="*/ 0 w 33"/>
                <a:gd name="T3" fmla="*/ 9 h 41"/>
                <a:gd name="T4" fmla="*/ 0 w 33"/>
                <a:gd name="T5" fmla="*/ 0 h 41"/>
                <a:gd name="T6" fmla="*/ 33 w 33"/>
                <a:gd name="T7" fmla="*/ 0 h 41"/>
                <a:gd name="T8" fmla="*/ 33 w 33"/>
                <a:gd name="T9" fmla="*/ 9 h 41"/>
                <a:gd name="T10" fmla="*/ 21 w 33"/>
                <a:gd name="T11" fmla="*/ 9 h 41"/>
                <a:gd name="T12" fmla="*/ 21 w 33"/>
                <a:gd name="T13" fmla="*/ 41 h 41"/>
                <a:gd name="T14" fmla="*/ 11 w 33"/>
                <a:gd name="T15" fmla="*/ 41 h 41"/>
                <a:gd name="T16" fmla="*/ 11 w 33"/>
                <a:gd name="T17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41">
                  <a:moveTo>
                    <a:pt x="11" y="9"/>
                  </a:moveTo>
                  <a:lnTo>
                    <a:pt x="0" y="9"/>
                  </a:lnTo>
                  <a:lnTo>
                    <a:pt x="0" y="0"/>
                  </a:lnTo>
                  <a:lnTo>
                    <a:pt x="33" y="0"/>
                  </a:lnTo>
                  <a:lnTo>
                    <a:pt x="33" y="9"/>
                  </a:lnTo>
                  <a:lnTo>
                    <a:pt x="21" y="9"/>
                  </a:lnTo>
                  <a:lnTo>
                    <a:pt x="21" y="41"/>
                  </a:lnTo>
                  <a:lnTo>
                    <a:pt x="11" y="41"/>
                  </a:lnTo>
                  <a:lnTo>
                    <a:pt x="11" y="9"/>
                  </a:lnTo>
                  <a:close/>
                </a:path>
              </a:pathLst>
            </a:custGeom>
            <a:solidFill>
              <a:srgbClr val="00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9" name="Freeform 64"/>
            <p:cNvSpPr>
              <a:spLocks/>
            </p:cNvSpPr>
            <p:nvPr userDrawn="1"/>
          </p:nvSpPr>
          <p:spPr bwMode="auto">
            <a:xfrm>
              <a:off x="2088085" y="1290331"/>
              <a:ext cx="78102" cy="106740"/>
            </a:xfrm>
            <a:custGeom>
              <a:avLst/>
              <a:gdLst>
                <a:gd name="T0" fmla="*/ 0 w 30"/>
                <a:gd name="T1" fmla="*/ 0 h 41"/>
                <a:gd name="T2" fmla="*/ 30 w 30"/>
                <a:gd name="T3" fmla="*/ 0 h 41"/>
                <a:gd name="T4" fmla="*/ 30 w 30"/>
                <a:gd name="T5" fmla="*/ 9 h 41"/>
                <a:gd name="T6" fmla="*/ 9 w 30"/>
                <a:gd name="T7" fmla="*/ 9 h 41"/>
                <a:gd name="T8" fmla="*/ 9 w 30"/>
                <a:gd name="T9" fmla="*/ 17 h 41"/>
                <a:gd name="T10" fmla="*/ 28 w 30"/>
                <a:gd name="T11" fmla="*/ 17 h 41"/>
                <a:gd name="T12" fmla="*/ 28 w 30"/>
                <a:gd name="T13" fmla="*/ 24 h 41"/>
                <a:gd name="T14" fmla="*/ 9 w 30"/>
                <a:gd name="T15" fmla="*/ 24 h 41"/>
                <a:gd name="T16" fmla="*/ 9 w 30"/>
                <a:gd name="T17" fmla="*/ 33 h 41"/>
                <a:gd name="T18" fmla="*/ 30 w 30"/>
                <a:gd name="T19" fmla="*/ 33 h 41"/>
                <a:gd name="T20" fmla="*/ 30 w 30"/>
                <a:gd name="T21" fmla="*/ 41 h 41"/>
                <a:gd name="T22" fmla="*/ 0 w 30"/>
                <a:gd name="T23" fmla="*/ 41 h 41"/>
                <a:gd name="T24" fmla="*/ 0 w 30"/>
                <a:gd name="T25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41">
                  <a:moveTo>
                    <a:pt x="0" y="0"/>
                  </a:moveTo>
                  <a:lnTo>
                    <a:pt x="30" y="0"/>
                  </a:lnTo>
                  <a:lnTo>
                    <a:pt x="30" y="9"/>
                  </a:lnTo>
                  <a:lnTo>
                    <a:pt x="9" y="9"/>
                  </a:lnTo>
                  <a:lnTo>
                    <a:pt x="9" y="17"/>
                  </a:lnTo>
                  <a:lnTo>
                    <a:pt x="28" y="17"/>
                  </a:lnTo>
                  <a:lnTo>
                    <a:pt x="28" y="24"/>
                  </a:lnTo>
                  <a:lnTo>
                    <a:pt x="9" y="24"/>
                  </a:lnTo>
                  <a:lnTo>
                    <a:pt x="9" y="33"/>
                  </a:lnTo>
                  <a:lnTo>
                    <a:pt x="30" y="33"/>
                  </a:lnTo>
                  <a:lnTo>
                    <a:pt x="30" y="41"/>
                  </a:lnTo>
                  <a:lnTo>
                    <a:pt x="0" y="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30" name="Freeform 65"/>
            <p:cNvSpPr>
              <a:spLocks noEditPoints="1"/>
            </p:cNvSpPr>
            <p:nvPr userDrawn="1"/>
          </p:nvSpPr>
          <p:spPr bwMode="auto">
            <a:xfrm>
              <a:off x="1400783" y="345291"/>
              <a:ext cx="765404" cy="775818"/>
            </a:xfrm>
            <a:custGeom>
              <a:avLst/>
              <a:gdLst>
                <a:gd name="T0" fmla="*/ 62 w 124"/>
                <a:gd name="T1" fmla="*/ 6 h 124"/>
                <a:gd name="T2" fmla="*/ 6 w 124"/>
                <a:gd name="T3" fmla="*/ 62 h 124"/>
                <a:gd name="T4" fmla="*/ 62 w 124"/>
                <a:gd name="T5" fmla="*/ 117 h 124"/>
                <a:gd name="T6" fmla="*/ 117 w 124"/>
                <a:gd name="T7" fmla="*/ 62 h 124"/>
                <a:gd name="T8" fmla="*/ 62 w 124"/>
                <a:gd name="T9" fmla="*/ 6 h 124"/>
                <a:gd name="T10" fmla="*/ 62 w 124"/>
                <a:gd name="T11" fmla="*/ 124 h 124"/>
                <a:gd name="T12" fmla="*/ 0 w 124"/>
                <a:gd name="T13" fmla="*/ 62 h 124"/>
                <a:gd name="T14" fmla="*/ 62 w 124"/>
                <a:gd name="T15" fmla="*/ 0 h 124"/>
                <a:gd name="T16" fmla="*/ 124 w 124"/>
                <a:gd name="T17" fmla="*/ 62 h 124"/>
                <a:gd name="T18" fmla="*/ 62 w 124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4" h="124">
                  <a:moveTo>
                    <a:pt x="62" y="6"/>
                  </a:moveTo>
                  <a:cubicBezTo>
                    <a:pt x="31" y="6"/>
                    <a:pt x="6" y="31"/>
                    <a:pt x="6" y="62"/>
                  </a:cubicBezTo>
                  <a:cubicBezTo>
                    <a:pt x="6" y="92"/>
                    <a:pt x="31" y="117"/>
                    <a:pt x="62" y="117"/>
                  </a:cubicBezTo>
                  <a:cubicBezTo>
                    <a:pt x="92" y="117"/>
                    <a:pt x="117" y="92"/>
                    <a:pt x="117" y="62"/>
                  </a:cubicBezTo>
                  <a:cubicBezTo>
                    <a:pt x="117" y="31"/>
                    <a:pt x="92" y="6"/>
                    <a:pt x="62" y="6"/>
                  </a:cubicBezTo>
                  <a:moveTo>
                    <a:pt x="62" y="124"/>
                  </a:moveTo>
                  <a:cubicBezTo>
                    <a:pt x="28" y="124"/>
                    <a:pt x="0" y="96"/>
                    <a:pt x="0" y="62"/>
                  </a:cubicBezTo>
                  <a:cubicBezTo>
                    <a:pt x="0" y="28"/>
                    <a:pt x="28" y="0"/>
                    <a:pt x="62" y="0"/>
                  </a:cubicBezTo>
                  <a:cubicBezTo>
                    <a:pt x="96" y="0"/>
                    <a:pt x="124" y="28"/>
                    <a:pt x="124" y="62"/>
                  </a:cubicBezTo>
                  <a:cubicBezTo>
                    <a:pt x="124" y="96"/>
                    <a:pt x="96" y="124"/>
                    <a:pt x="62" y="124"/>
                  </a:cubicBezTo>
                </a:path>
              </a:pathLst>
            </a:custGeom>
            <a:solidFill>
              <a:srgbClr val="00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31" name="Rectangle 66"/>
            <p:cNvSpPr>
              <a:spLocks noChangeArrowheads="1"/>
            </p:cNvSpPr>
            <p:nvPr userDrawn="1"/>
          </p:nvSpPr>
          <p:spPr bwMode="auto">
            <a:xfrm>
              <a:off x="1765262" y="475462"/>
              <a:ext cx="36448" cy="106740"/>
            </a:xfrm>
            <a:prstGeom prst="rect">
              <a:avLst/>
            </a:prstGeom>
            <a:solidFill>
              <a:srgbClr val="00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32" name="Rectangle 67"/>
            <p:cNvSpPr>
              <a:spLocks noChangeArrowheads="1"/>
            </p:cNvSpPr>
            <p:nvPr userDrawn="1"/>
          </p:nvSpPr>
          <p:spPr bwMode="auto">
            <a:xfrm>
              <a:off x="1765262" y="881595"/>
              <a:ext cx="36448" cy="106740"/>
            </a:xfrm>
            <a:prstGeom prst="rect">
              <a:avLst/>
            </a:prstGeom>
            <a:solidFill>
              <a:srgbClr val="00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33" name="Rectangle 68"/>
            <p:cNvSpPr>
              <a:spLocks noChangeArrowheads="1"/>
            </p:cNvSpPr>
            <p:nvPr userDrawn="1"/>
          </p:nvSpPr>
          <p:spPr bwMode="auto">
            <a:xfrm>
              <a:off x="1931880" y="714976"/>
              <a:ext cx="106740" cy="36448"/>
            </a:xfrm>
            <a:prstGeom prst="rect">
              <a:avLst/>
            </a:prstGeom>
            <a:solidFill>
              <a:srgbClr val="00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34" name="Rectangle 69"/>
            <p:cNvSpPr>
              <a:spLocks noChangeArrowheads="1"/>
            </p:cNvSpPr>
            <p:nvPr userDrawn="1"/>
          </p:nvSpPr>
          <p:spPr bwMode="auto">
            <a:xfrm>
              <a:off x="1530954" y="714976"/>
              <a:ext cx="104137" cy="36448"/>
            </a:xfrm>
            <a:prstGeom prst="rect">
              <a:avLst/>
            </a:prstGeom>
            <a:solidFill>
              <a:srgbClr val="00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35" name="Freeform 70"/>
            <p:cNvSpPr>
              <a:spLocks/>
            </p:cNvSpPr>
            <p:nvPr userDrawn="1"/>
          </p:nvSpPr>
          <p:spPr bwMode="auto">
            <a:xfrm>
              <a:off x="1869398" y="537944"/>
              <a:ext cx="106740" cy="101533"/>
            </a:xfrm>
            <a:custGeom>
              <a:avLst/>
              <a:gdLst>
                <a:gd name="T0" fmla="*/ 12 w 41"/>
                <a:gd name="T1" fmla="*/ 39 h 39"/>
                <a:gd name="T2" fmla="*/ 0 w 41"/>
                <a:gd name="T3" fmla="*/ 29 h 39"/>
                <a:gd name="T4" fmla="*/ 31 w 41"/>
                <a:gd name="T5" fmla="*/ 0 h 39"/>
                <a:gd name="T6" fmla="*/ 41 w 41"/>
                <a:gd name="T7" fmla="*/ 10 h 39"/>
                <a:gd name="T8" fmla="*/ 12 w 41"/>
                <a:gd name="T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39">
                  <a:moveTo>
                    <a:pt x="12" y="39"/>
                  </a:moveTo>
                  <a:lnTo>
                    <a:pt x="0" y="29"/>
                  </a:lnTo>
                  <a:lnTo>
                    <a:pt x="31" y="0"/>
                  </a:lnTo>
                  <a:lnTo>
                    <a:pt x="41" y="10"/>
                  </a:lnTo>
                  <a:lnTo>
                    <a:pt x="12" y="39"/>
                  </a:lnTo>
                  <a:close/>
                </a:path>
              </a:pathLst>
            </a:custGeom>
            <a:solidFill>
              <a:srgbClr val="00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36" name="Freeform 71"/>
            <p:cNvSpPr>
              <a:spLocks/>
            </p:cNvSpPr>
            <p:nvPr userDrawn="1"/>
          </p:nvSpPr>
          <p:spPr bwMode="auto">
            <a:xfrm>
              <a:off x="1590833" y="826923"/>
              <a:ext cx="98930" cy="98930"/>
            </a:xfrm>
            <a:custGeom>
              <a:avLst/>
              <a:gdLst>
                <a:gd name="T0" fmla="*/ 10 w 38"/>
                <a:gd name="T1" fmla="*/ 38 h 38"/>
                <a:gd name="T2" fmla="*/ 0 w 38"/>
                <a:gd name="T3" fmla="*/ 29 h 38"/>
                <a:gd name="T4" fmla="*/ 29 w 38"/>
                <a:gd name="T5" fmla="*/ 0 h 38"/>
                <a:gd name="T6" fmla="*/ 38 w 38"/>
                <a:gd name="T7" fmla="*/ 9 h 38"/>
                <a:gd name="T8" fmla="*/ 10 w 38"/>
                <a:gd name="T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10" y="38"/>
                  </a:moveTo>
                  <a:lnTo>
                    <a:pt x="0" y="29"/>
                  </a:lnTo>
                  <a:lnTo>
                    <a:pt x="29" y="0"/>
                  </a:lnTo>
                  <a:lnTo>
                    <a:pt x="38" y="9"/>
                  </a:lnTo>
                  <a:lnTo>
                    <a:pt x="10" y="38"/>
                  </a:lnTo>
                  <a:close/>
                </a:path>
              </a:pathLst>
            </a:custGeom>
            <a:solidFill>
              <a:srgbClr val="00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37" name="Freeform 72"/>
            <p:cNvSpPr>
              <a:spLocks/>
            </p:cNvSpPr>
            <p:nvPr userDrawn="1"/>
          </p:nvSpPr>
          <p:spPr bwMode="auto">
            <a:xfrm>
              <a:off x="1869398" y="826923"/>
              <a:ext cx="106740" cy="98930"/>
            </a:xfrm>
            <a:custGeom>
              <a:avLst/>
              <a:gdLst>
                <a:gd name="T0" fmla="*/ 31 w 41"/>
                <a:gd name="T1" fmla="*/ 38 h 38"/>
                <a:gd name="T2" fmla="*/ 0 w 41"/>
                <a:gd name="T3" fmla="*/ 9 h 38"/>
                <a:gd name="T4" fmla="*/ 12 w 41"/>
                <a:gd name="T5" fmla="*/ 0 h 38"/>
                <a:gd name="T6" fmla="*/ 41 w 41"/>
                <a:gd name="T7" fmla="*/ 29 h 38"/>
                <a:gd name="T8" fmla="*/ 31 w 41"/>
                <a:gd name="T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38">
                  <a:moveTo>
                    <a:pt x="31" y="38"/>
                  </a:moveTo>
                  <a:lnTo>
                    <a:pt x="0" y="9"/>
                  </a:lnTo>
                  <a:lnTo>
                    <a:pt x="12" y="0"/>
                  </a:lnTo>
                  <a:lnTo>
                    <a:pt x="41" y="29"/>
                  </a:lnTo>
                  <a:lnTo>
                    <a:pt x="31" y="38"/>
                  </a:lnTo>
                  <a:close/>
                </a:path>
              </a:pathLst>
            </a:custGeom>
            <a:solidFill>
              <a:srgbClr val="00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38" name="Freeform 73"/>
            <p:cNvSpPr>
              <a:spLocks/>
            </p:cNvSpPr>
            <p:nvPr userDrawn="1"/>
          </p:nvSpPr>
          <p:spPr bwMode="auto">
            <a:xfrm>
              <a:off x="1590833" y="537944"/>
              <a:ext cx="98930" cy="101533"/>
            </a:xfrm>
            <a:custGeom>
              <a:avLst/>
              <a:gdLst>
                <a:gd name="T0" fmla="*/ 29 w 38"/>
                <a:gd name="T1" fmla="*/ 39 h 39"/>
                <a:gd name="T2" fmla="*/ 0 w 38"/>
                <a:gd name="T3" fmla="*/ 10 h 39"/>
                <a:gd name="T4" fmla="*/ 10 w 38"/>
                <a:gd name="T5" fmla="*/ 0 h 39"/>
                <a:gd name="T6" fmla="*/ 38 w 38"/>
                <a:gd name="T7" fmla="*/ 29 h 39"/>
                <a:gd name="T8" fmla="*/ 29 w 38"/>
                <a:gd name="T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9">
                  <a:moveTo>
                    <a:pt x="29" y="39"/>
                  </a:moveTo>
                  <a:lnTo>
                    <a:pt x="0" y="10"/>
                  </a:lnTo>
                  <a:lnTo>
                    <a:pt x="10" y="0"/>
                  </a:lnTo>
                  <a:lnTo>
                    <a:pt x="38" y="29"/>
                  </a:lnTo>
                  <a:lnTo>
                    <a:pt x="29" y="39"/>
                  </a:lnTo>
                  <a:close/>
                </a:path>
              </a:pathLst>
            </a:custGeom>
            <a:solidFill>
              <a:srgbClr val="00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39" name="Freeform 74"/>
            <p:cNvSpPr>
              <a:spLocks noEditPoints="1"/>
            </p:cNvSpPr>
            <p:nvPr userDrawn="1"/>
          </p:nvSpPr>
          <p:spPr bwMode="auto">
            <a:xfrm>
              <a:off x="1661125" y="608236"/>
              <a:ext cx="247325" cy="236911"/>
            </a:xfrm>
            <a:custGeom>
              <a:avLst/>
              <a:gdLst>
                <a:gd name="T0" fmla="*/ 11 w 40"/>
                <a:gd name="T1" fmla="*/ 29 h 38"/>
                <a:gd name="T2" fmla="*/ 28 w 40"/>
                <a:gd name="T3" fmla="*/ 29 h 38"/>
                <a:gd name="T4" fmla="*/ 28 w 40"/>
                <a:gd name="T5" fmla="*/ 11 h 38"/>
                <a:gd name="T6" fmla="*/ 11 w 40"/>
                <a:gd name="T7" fmla="*/ 11 h 38"/>
                <a:gd name="T8" fmla="*/ 11 w 40"/>
                <a:gd name="T9" fmla="*/ 29 h 38"/>
                <a:gd name="T10" fmla="*/ 20 w 40"/>
                <a:gd name="T11" fmla="*/ 38 h 38"/>
                <a:gd name="T12" fmla="*/ 7 w 40"/>
                <a:gd name="T13" fmla="*/ 33 h 38"/>
                <a:gd name="T14" fmla="*/ 7 w 40"/>
                <a:gd name="T15" fmla="*/ 7 h 38"/>
                <a:gd name="T16" fmla="*/ 33 w 40"/>
                <a:gd name="T17" fmla="*/ 7 h 38"/>
                <a:gd name="T18" fmla="*/ 33 w 40"/>
                <a:gd name="T19" fmla="*/ 33 h 38"/>
                <a:gd name="T20" fmla="*/ 20 w 40"/>
                <a:gd name="T21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38">
                  <a:moveTo>
                    <a:pt x="11" y="29"/>
                  </a:moveTo>
                  <a:cubicBezTo>
                    <a:pt x="16" y="33"/>
                    <a:pt x="24" y="33"/>
                    <a:pt x="28" y="29"/>
                  </a:cubicBezTo>
                  <a:cubicBezTo>
                    <a:pt x="33" y="24"/>
                    <a:pt x="33" y="16"/>
                    <a:pt x="28" y="11"/>
                  </a:cubicBezTo>
                  <a:cubicBezTo>
                    <a:pt x="24" y="7"/>
                    <a:pt x="16" y="7"/>
                    <a:pt x="11" y="11"/>
                  </a:cubicBezTo>
                  <a:cubicBezTo>
                    <a:pt x="6" y="16"/>
                    <a:pt x="6" y="24"/>
                    <a:pt x="11" y="29"/>
                  </a:cubicBezTo>
                  <a:close/>
                  <a:moveTo>
                    <a:pt x="20" y="38"/>
                  </a:moveTo>
                  <a:cubicBezTo>
                    <a:pt x="15" y="38"/>
                    <a:pt x="10" y="36"/>
                    <a:pt x="7" y="33"/>
                  </a:cubicBezTo>
                  <a:cubicBezTo>
                    <a:pt x="0" y="26"/>
                    <a:pt x="0" y="14"/>
                    <a:pt x="7" y="7"/>
                  </a:cubicBezTo>
                  <a:cubicBezTo>
                    <a:pt x="14" y="0"/>
                    <a:pt x="26" y="0"/>
                    <a:pt x="33" y="7"/>
                  </a:cubicBezTo>
                  <a:cubicBezTo>
                    <a:pt x="40" y="14"/>
                    <a:pt x="40" y="26"/>
                    <a:pt x="33" y="33"/>
                  </a:cubicBezTo>
                  <a:cubicBezTo>
                    <a:pt x="29" y="36"/>
                    <a:pt x="25" y="38"/>
                    <a:pt x="20" y="38"/>
                  </a:cubicBezTo>
                </a:path>
              </a:pathLst>
            </a:custGeom>
            <a:solidFill>
              <a:srgbClr val="00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pic>
        <p:nvPicPr>
          <p:cNvPr id="43" name="Picture 4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518" y="425299"/>
            <a:ext cx="4296407" cy="1139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99124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gradFill>
          <a:gsLst>
            <a:gs pos="0">
              <a:schemeClr val="bg2">
                <a:lumMod val="75000"/>
              </a:schemeClr>
            </a:gs>
            <a:gs pos="100000">
              <a:schemeClr val="bg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FB69A-085D-4EBD-BB7C-60DEED4FF629}" type="datetimeFigureOut">
              <a:rPr lang="en-IE" smtClean="0"/>
              <a:t>06/03/2019</a:t>
            </a:fld>
            <a:endParaRPr lang="en-I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D29713-6E2E-4D89-9962-5B95DF3857A4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86079673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gradFill>
          <a:gsLst>
            <a:gs pos="0">
              <a:schemeClr val="bg2">
                <a:lumMod val="75000"/>
              </a:schemeClr>
            </a:gs>
            <a:gs pos="100000">
              <a:schemeClr val="bg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775521" y="764707"/>
            <a:ext cx="9313035" cy="60548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FFCA05"/>
                </a:solidFill>
                <a:latin typeface="Arial Bold" panose="020B0704020202020204" pitchFamily="34" charset="0"/>
                <a:cs typeface="Arial Bold" panose="020B07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E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775521" y="1370113"/>
            <a:ext cx="9313035" cy="1944290"/>
          </a:xfrm>
          <a:prstGeom prst="rect">
            <a:avLst/>
          </a:prstGeom>
        </p:spPr>
        <p:txBody>
          <a:bodyPr/>
          <a:lstStyle>
            <a:lvl1pPr>
              <a:buClr>
                <a:srgbClr val="FFCA05"/>
              </a:buCl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FFCA05"/>
              </a:buClr>
              <a:defRPr/>
            </a:lvl2pPr>
            <a:lvl3pPr>
              <a:buClr>
                <a:srgbClr val="FFCA05"/>
              </a:buClr>
              <a:defRPr/>
            </a:lvl3pPr>
            <a:lvl4pPr>
              <a:buClr>
                <a:srgbClr val="FFCA05"/>
              </a:buClr>
              <a:defRPr/>
            </a:lvl4pPr>
            <a:lvl5pPr>
              <a:buClr>
                <a:srgbClr val="FFCA05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22205319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bg>
      <p:bgPr>
        <a:gradFill>
          <a:gsLst>
            <a:gs pos="0">
              <a:schemeClr val="bg2">
                <a:lumMod val="75000"/>
              </a:schemeClr>
            </a:gs>
            <a:gs pos="100000">
              <a:schemeClr val="bg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403" y="735288"/>
            <a:ext cx="10515600" cy="60548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 Bold" panose="020B0704020202020204" pitchFamily="34" charset="0"/>
                <a:cs typeface="Arial Bold" panose="020B07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E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19403" y="1340694"/>
            <a:ext cx="10515600" cy="1944290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6254916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6"/>
          <p:cNvSpPr/>
          <p:nvPr/>
        </p:nvSpPr>
        <p:spPr>
          <a:xfrm>
            <a:off x="-79132" y="0"/>
            <a:ext cx="12271131" cy="6919546"/>
          </a:xfrm>
          <a:prstGeom prst="rect">
            <a:avLst/>
          </a:prstGeom>
          <a:solidFill>
            <a:srgbClr val="042D43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b="0" i="0" dirty="0">
              <a:latin typeface="Arial Regular"/>
            </a:endParaRPr>
          </a:p>
        </p:txBody>
      </p:sp>
      <p:pic>
        <p:nvPicPr>
          <p:cNvPr id="52" name="Picture 5" descr="Picture 5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-79132" y="6352051"/>
            <a:ext cx="567494" cy="567495"/>
          </a:xfrm>
          <a:prstGeom prst="rect">
            <a:avLst/>
          </a:prstGeom>
          <a:ln w="12700">
            <a:miter lim="400000"/>
          </a:ln>
        </p:spPr>
      </p:pic>
      <p:sp>
        <p:nvSpPr>
          <p:cNvPr id="5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gradFill>
          <a:gsLst>
            <a:gs pos="0">
              <a:schemeClr val="bg2">
                <a:lumMod val="75000"/>
              </a:schemeClr>
            </a:gs>
            <a:gs pos="100000">
              <a:schemeClr val="bg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FB69A-085D-4EBD-BB7C-60DEED4FF629}" type="datetimeFigureOut">
              <a:rPr lang="en-IE" smtClean="0"/>
              <a:t>06/03/2019</a:t>
            </a:fld>
            <a:endParaRPr lang="en-I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D29713-6E2E-4D89-9962-5B95DF3857A4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3355967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itle Text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61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6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3918" y="6400413"/>
            <a:ext cx="279883" cy="276999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Title Text"/>
          <p:cNvSpPr txBox="1">
            <a:spLocks noGrp="1"/>
          </p:cNvSpPr>
          <p:nvPr>
            <p:ph type="title"/>
          </p:nvPr>
        </p:nvSpPr>
        <p:spPr>
          <a:xfrm>
            <a:off x="839787" y="365125"/>
            <a:ext cx="10515601" cy="1325563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70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9787" y="1681163"/>
            <a:ext cx="5157789" cy="823913"/>
          </a:xfrm>
          <a:prstGeom prst="rect">
            <a:avLst/>
          </a:prstGeom>
        </p:spPr>
        <p:txBody>
          <a:bodyPr anchor="b"/>
          <a:lstStyle>
            <a:lvl1pPr marL="0" indent="0">
              <a:buSzTx/>
              <a:buFontTx/>
              <a:buNone/>
              <a:defRPr sz="2400" b="0" i="0"/>
            </a:lvl1pPr>
            <a:lvl2pPr marL="0" indent="457200">
              <a:buSzTx/>
              <a:buFontTx/>
              <a:buNone/>
              <a:defRPr sz="2400" b="0" i="0"/>
            </a:lvl2pPr>
            <a:lvl3pPr marL="0" indent="914400">
              <a:buSzTx/>
              <a:buFontTx/>
              <a:buNone/>
              <a:defRPr sz="2400" b="0" i="0"/>
            </a:lvl3pPr>
            <a:lvl4pPr marL="0" indent="1371600">
              <a:buSzTx/>
              <a:buFontTx/>
              <a:buNone/>
              <a:defRPr sz="2400" b="0" i="0"/>
            </a:lvl4pPr>
            <a:lvl5pPr marL="0" indent="1828800">
              <a:buSzTx/>
              <a:buFontTx/>
              <a:buNone/>
              <a:defRPr sz="2400" b="0" i="0"/>
            </a:lvl5pPr>
          </a:lstStyle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7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172200" y="1681163"/>
            <a:ext cx="5183188" cy="823913"/>
          </a:xfrm>
          <a:prstGeom prst="rect">
            <a:avLst/>
          </a:prstGeom>
        </p:spPr>
        <p:txBody>
          <a:bodyPr anchor="b"/>
          <a:lstStyle>
            <a:lvl1pPr>
              <a:defRPr b="0" i="0"/>
            </a:lvl1pPr>
          </a:lstStyle>
          <a:p>
            <a:pPr marL="0" indent="0">
              <a:buSzTx/>
              <a:buFontTx/>
              <a:buNone/>
              <a:defRPr sz="2400" b="1"/>
            </a:pPr>
            <a:endParaRPr dirty="0"/>
          </a:p>
        </p:txBody>
      </p:sp>
      <p:sp>
        <p:nvSpPr>
          <p:cNvPr id="7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3918" y="6400413"/>
            <a:ext cx="279883" cy="276999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Title Text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8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3918" y="6400413"/>
            <a:ext cx="279883" cy="276999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Title Text"/>
          <p:cNvSpPr txBox="1">
            <a:spLocks noGrp="1"/>
          </p:cNvSpPr>
          <p:nvPr>
            <p:ph type="title"/>
          </p:nvPr>
        </p:nvSpPr>
        <p:spPr>
          <a:xfrm>
            <a:off x="839787" y="457200"/>
            <a:ext cx="3932239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t>Title Text</a:t>
            </a:r>
          </a:p>
        </p:txBody>
      </p:sp>
      <p:sp>
        <p:nvSpPr>
          <p:cNvPr id="95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5183187" y="987425"/>
            <a:ext cx="6172201" cy="4873625"/>
          </a:xfrm>
          <a:prstGeom prst="rect">
            <a:avLst/>
          </a:prstGeom>
        </p:spPr>
        <p:txBody>
          <a:bodyPr/>
          <a:lstStyle>
            <a:lvl1pPr>
              <a:defRPr sz="3200" b="0" i="0"/>
            </a:lvl1pPr>
            <a:lvl2pPr marL="718457" indent="-261257">
              <a:defRPr sz="3200" b="0" i="0"/>
            </a:lvl2pPr>
            <a:lvl3pPr marL="1219200" indent="-304800">
              <a:defRPr sz="3200" b="0" i="0"/>
            </a:lvl3pPr>
            <a:lvl4pPr marL="1737360" indent="-365760">
              <a:defRPr sz="3200" b="0" i="0"/>
            </a:lvl4pPr>
            <a:lvl5pPr marL="2194560" indent="-365760">
              <a:defRPr sz="3200" b="0" i="0"/>
            </a:lvl5pPr>
          </a:lstStyle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96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839787" y="2057400"/>
            <a:ext cx="3932239" cy="3811588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pPr marL="0" indent="0">
              <a:buSzTx/>
              <a:buFontTx/>
              <a:buNone/>
              <a:defRPr sz="1600"/>
            </a:pPr>
            <a:endParaRPr dirty="0"/>
          </a:p>
        </p:txBody>
      </p:sp>
      <p:sp>
        <p:nvSpPr>
          <p:cNvPr id="9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73918" y="6400413"/>
            <a:ext cx="279883" cy="276999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6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b="0" i="0" dirty="0">
              <a:latin typeface="Arial Regular"/>
            </a:endParaRPr>
          </a:p>
        </p:txBody>
      </p:sp>
      <p:pic>
        <p:nvPicPr>
          <p:cNvPr id="3" name="Picture 7" descr="Picture 7"/>
          <p:cNvPicPr>
            <a:picLocks noChangeAspect="1"/>
          </p:cNvPicPr>
          <p:nvPr/>
        </p:nvPicPr>
        <p:blipFill>
          <a:blip r:embed="rId44">
            <a:extLst/>
          </a:blip>
          <a:srcRect t="52094" r="40648"/>
          <a:stretch>
            <a:fillRect/>
          </a:stretch>
        </p:blipFill>
        <p:spPr>
          <a:xfrm>
            <a:off x="8845220" y="0"/>
            <a:ext cx="3346781" cy="2683068"/>
          </a:xfrm>
          <a:prstGeom prst="rect">
            <a:avLst/>
          </a:prstGeom>
          <a:ln w="12700">
            <a:miter lim="400000"/>
          </a:ln>
        </p:spPr>
      </p:pic>
      <p:pic>
        <p:nvPicPr>
          <p:cNvPr id="4" name="Picture 8" descr="Picture 8"/>
          <p:cNvPicPr>
            <a:picLocks noChangeAspect="1"/>
          </p:cNvPicPr>
          <p:nvPr/>
        </p:nvPicPr>
        <p:blipFill>
          <a:blip r:embed="rId45">
            <a:extLst/>
          </a:blip>
          <a:stretch>
            <a:fillRect/>
          </a:stretch>
        </p:blipFill>
        <p:spPr>
          <a:xfrm>
            <a:off x="10477500" y="2683068"/>
            <a:ext cx="1714500" cy="1689101"/>
          </a:xfrm>
          <a:prstGeom prst="rect">
            <a:avLst/>
          </a:prstGeom>
          <a:ln w="12700">
            <a:miter lim="400000"/>
          </a:ln>
        </p:spPr>
      </p:pic>
      <p:pic>
        <p:nvPicPr>
          <p:cNvPr id="5" name="Picture 10" descr="Picture 10"/>
          <p:cNvPicPr>
            <a:picLocks noChangeAspect="1"/>
          </p:cNvPicPr>
          <p:nvPr/>
        </p:nvPicPr>
        <p:blipFill>
          <a:blip r:embed="rId46">
            <a:extLst/>
          </a:blip>
          <a:stretch>
            <a:fillRect/>
          </a:stretch>
        </p:blipFill>
        <p:spPr>
          <a:xfrm>
            <a:off x="0" y="6290505"/>
            <a:ext cx="567494" cy="567495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itle Text"/>
          <p:cNvSpPr txBox="1">
            <a:spLocks noGrp="1"/>
          </p:cNvSpPr>
          <p:nvPr>
            <p:ph type="title"/>
          </p:nvPr>
        </p:nvSpPr>
        <p:spPr>
          <a:xfrm>
            <a:off x="609600" y="92074"/>
            <a:ext cx="10972800" cy="15081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normAutofit/>
          </a:bodyPr>
          <a:lstStyle/>
          <a:p>
            <a:r>
              <a:t>Title Text</a:t>
            </a:r>
          </a:p>
        </p:txBody>
      </p:sp>
      <p:sp>
        <p:nvSpPr>
          <p:cNvPr id="7" name="Body Level One…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52578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normAutofit/>
          </a:bodyPr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57718" y="6217851"/>
            <a:ext cx="279882" cy="276999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lvl1pPr algn="r">
              <a:defRPr sz="1200" b="0" i="0">
                <a:solidFill>
                  <a:srgbClr val="888888"/>
                </a:solidFill>
                <a:latin typeface="Arial Regular"/>
              </a:defRPr>
            </a:lvl1pPr>
          </a:lstStyle>
          <a:p>
            <a:fld id="{86CB4B4D-7CA3-9044-876B-883B54F8677D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8" r:id="rId9"/>
    <p:sldLayoutId id="2147483659" r:id="rId10"/>
    <p:sldLayoutId id="2147483661" r:id="rId11"/>
    <p:sldLayoutId id="2147483693" r:id="rId12"/>
    <p:sldLayoutId id="2147483666" r:id="rId13"/>
    <p:sldLayoutId id="2147483667" r:id="rId14"/>
    <p:sldLayoutId id="2147483668" r:id="rId15"/>
    <p:sldLayoutId id="2147483669" r:id="rId16"/>
    <p:sldLayoutId id="2147483670" r:id="rId17"/>
    <p:sldLayoutId id="2147483671" r:id="rId18"/>
    <p:sldLayoutId id="2147483672" r:id="rId19"/>
    <p:sldLayoutId id="2147483673" r:id="rId20"/>
    <p:sldLayoutId id="2147483674" r:id="rId21"/>
    <p:sldLayoutId id="2147483675" r:id="rId22"/>
    <p:sldLayoutId id="2147483676" r:id="rId23"/>
    <p:sldLayoutId id="2147483677" r:id="rId24"/>
    <p:sldLayoutId id="2147483678" r:id="rId25"/>
    <p:sldLayoutId id="2147483679" r:id="rId26"/>
    <p:sldLayoutId id="2147483680" r:id="rId27"/>
    <p:sldLayoutId id="2147483681" r:id="rId28"/>
    <p:sldLayoutId id="2147483682" r:id="rId29"/>
    <p:sldLayoutId id="2147483683" r:id="rId30"/>
    <p:sldLayoutId id="2147483684" r:id="rId31"/>
    <p:sldLayoutId id="2147483685" r:id="rId32"/>
    <p:sldLayoutId id="2147483686" r:id="rId33"/>
    <p:sldLayoutId id="2147483687" r:id="rId34"/>
    <p:sldLayoutId id="2147483688" r:id="rId35"/>
    <p:sldLayoutId id="2147483689" r:id="rId36"/>
    <p:sldLayoutId id="2147483690" r:id="rId37"/>
    <p:sldLayoutId id="2147483691" r:id="rId38"/>
    <p:sldLayoutId id="2147483692" r:id="rId39"/>
    <p:sldLayoutId id="2147483714" r:id="rId40"/>
    <p:sldLayoutId id="2147483715" r:id="rId41"/>
    <p:sldLayoutId id="2147483716" r:id="rId42"/>
  </p:sldLayoutIdLst>
  <p:transition spd="med"/>
  <p:txStyles>
    <p:titleStyle>
      <a:lvl1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1pPr>
      <a:lvl2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2pPr>
      <a:lvl3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3pPr>
      <a:lvl4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4pPr>
      <a:lvl5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5pPr>
      <a:lvl6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6pPr>
      <a:lvl7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7pPr>
      <a:lvl8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8pPr>
      <a:lvl9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9pPr>
    </p:titleStyle>
    <p:bodyStyle>
      <a:lvl1pPr marL="228600" marR="0" indent="-228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Arial Regular"/>
          <a:ea typeface="+mj-ea"/>
          <a:cs typeface="+mj-cs"/>
          <a:sym typeface="Calibri"/>
        </a:defRPr>
      </a:lvl1pPr>
      <a:lvl2pPr marL="723900" marR="0" indent="-2667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Arial Regular"/>
          <a:ea typeface="+mj-ea"/>
          <a:cs typeface="+mj-cs"/>
          <a:sym typeface="Calibri"/>
        </a:defRPr>
      </a:lvl2pPr>
      <a:lvl3pPr marL="1234439" marR="0" indent="-320039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Arial Regular"/>
          <a:ea typeface="+mj-ea"/>
          <a:cs typeface="+mj-cs"/>
          <a:sym typeface="Calibri"/>
        </a:defRPr>
      </a:lvl3pPr>
      <a:lvl4pPr marL="17272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Arial Regular"/>
          <a:ea typeface="+mj-ea"/>
          <a:cs typeface="+mj-cs"/>
          <a:sym typeface="Calibri"/>
        </a:defRPr>
      </a:lvl4pPr>
      <a:lvl5pPr marL="21844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Arial Regular"/>
          <a:ea typeface="+mj-ea"/>
          <a:cs typeface="+mj-cs"/>
          <a:sym typeface="Calibri"/>
        </a:defRPr>
      </a:lvl5pPr>
      <a:lvl6pPr marL="26416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6pPr>
      <a:lvl7pPr marL="30988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7pPr>
      <a:lvl8pPr marL="35560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8pPr>
      <a:lvl9pPr marL="40132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457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914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371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8288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22860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743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3200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3657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2E6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1"/>
            <a:ext cx="8905875" cy="914399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103243"/>
            <a:ext cx="10515600" cy="491267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3621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9FB69A-085D-4EBD-BB7C-60DEED4FF629}" type="datetimeFigureOut">
              <a:rPr lang="en-IE" smtClean="0"/>
              <a:t>06/03/2019</a:t>
            </a:fld>
            <a:endParaRPr lang="en-I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36610" y="6356350"/>
            <a:ext cx="631719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34800" y="6356350"/>
            <a:ext cx="457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D29713-6E2E-4D89-9962-5B95DF3857A4}" type="slidenum">
              <a:rPr lang="en-IE" smtClean="0"/>
              <a:t>‹#›</a:t>
            </a:fld>
            <a:endParaRPr lang="en-IE"/>
          </a:p>
        </p:txBody>
      </p:sp>
      <p:sp>
        <p:nvSpPr>
          <p:cNvPr id="7" name="Rectangle 6"/>
          <p:cNvSpPr/>
          <p:nvPr userDrawn="1"/>
        </p:nvSpPr>
        <p:spPr>
          <a:xfrm>
            <a:off x="0" y="914399"/>
            <a:ext cx="12192000" cy="54000"/>
          </a:xfrm>
          <a:prstGeom prst="rect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8" name="Rectangle 7"/>
          <p:cNvSpPr/>
          <p:nvPr userDrawn="1"/>
        </p:nvSpPr>
        <p:spPr>
          <a:xfrm>
            <a:off x="0" y="5985163"/>
            <a:ext cx="12192000" cy="872837"/>
          </a:xfrm>
          <a:prstGeom prst="rect">
            <a:avLst/>
          </a:prstGeom>
          <a:gradFill>
            <a:gsLst>
              <a:gs pos="0">
                <a:srgbClr val="8B959B">
                  <a:alpha val="50000"/>
                </a:srgbClr>
              </a:gs>
              <a:gs pos="100000">
                <a:schemeClr val="bg1">
                  <a:alpha val="5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9" name="Rectangle 8"/>
          <p:cNvSpPr/>
          <p:nvPr userDrawn="1"/>
        </p:nvSpPr>
        <p:spPr>
          <a:xfrm>
            <a:off x="0" y="5957169"/>
            <a:ext cx="12193200" cy="54000"/>
          </a:xfrm>
          <a:prstGeom prst="rect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9721313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rgbClr val="004F7C"/>
          </a:solidFill>
          <a:latin typeface="Arial Black" panose="020B0A040201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Char char="•"/>
        <a:defRPr sz="2800" kern="1200">
          <a:solidFill>
            <a:srgbClr val="00AEEF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Calibri" panose="020F0502020204030204" pitchFamily="34" charset="0"/>
        <a:buChar char="–"/>
        <a:defRPr sz="2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enterprise-ireland.com/en/funding-supports/Company/HPSU-Funding/Competitive-Start-Fund-All-Sectors.html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enterprise-ireland.com/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7" Type="http://schemas.openxmlformats.org/officeDocument/2006/relationships/image" Target="../media/image24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23.emf"/><Relationship Id="rId5" Type="http://schemas.openxmlformats.org/officeDocument/2006/relationships/image" Target="../media/image22.emf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chart" Target="../charts/chart2.xml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image" Target="../media/image25.emf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oleObject" Target="../embeddings/oleObject1.bin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notesSlide" Target="../notesSlides/notesSlide6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slideLayout" Target="../slideLayouts/slideLayout42.xml"/><Relationship Id="rId27" Type="http://schemas.openxmlformats.org/officeDocument/2006/relationships/chart" Target="../charts/char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image" Target="../media/image26.emf"/><Relationship Id="rId7" Type="http://schemas.openxmlformats.org/officeDocument/2006/relationships/image" Target="../media/image30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9.emf"/><Relationship Id="rId5" Type="http://schemas.openxmlformats.org/officeDocument/2006/relationships/image" Target="../media/image28.emf"/><Relationship Id="rId10" Type="http://schemas.openxmlformats.org/officeDocument/2006/relationships/image" Target="../media/image33.png"/><Relationship Id="rId4" Type="http://schemas.openxmlformats.org/officeDocument/2006/relationships/image" Target="../media/image27.emf"/><Relationship Id="rId9" Type="http://schemas.openxmlformats.org/officeDocument/2006/relationships/image" Target="../media/image32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2" name="Group 4"/>
          <p:cNvGrpSpPr/>
          <p:nvPr/>
        </p:nvGrpSpPr>
        <p:grpSpPr>
          <a:xfrm>
            <a:off x="752433" y="5786747"/>
            <a:ext cx="2777946" cy="574465"/>
            <a:chOff x="0" y="0"/>
            <a:chExt cx="2777945" cy="574464"/>
          </a:xfrm>
        </p:grpSpPr>
        <p:sp>
          <p:nvSpPr>
            <p:cNvPr id="489" name="Freeform 5"/>
            <p:cNvSpPr/>
            <p:nvPr/>
          </p:nvSpPr>
          <p:spPr>
            <a:xfrm>
              <a:off x="694486" y="0"/>
              <a:ext cx="2083460" cy="5518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53" y="16982"/>
                  </a:moveTo>
                  <a:cubicBezTo>
                    <a:pt x="14753" y="18621"/>
                    <a:pt x="14439" y="19738"/>
                    <a:pt x="14008" y="19738"/>
                  </a:cubicBezTo>
                  <a:cubicBezTo>
                    <a:pt x="13596" y="19738"/>
                    <a:pt x="13596" y="19738"/>
                    <a:pt x="13596" y="19738"/>
                  </a:cubicBezTo>
                  <a:cubicBezTo>
                    <a:pt x="13596" y="14152"/>
                    <a:pt x="13596" y="14152"/>
                    <a:pt x="13596" y="14152"/>
                  </a:cubicBezTo>
                  <a:cubicBezTo>
                    <a:pt x="14008" y="14152"/>
                    <a:pt x="14008" y="14152"/>
                    <a:pt x="14008" y="14152"/>
                  </a:cubicBezTo>
                  <a:cubicBezTo>
                    <a:pt x="14439" y="14152"/>
                    <a:pt x="14753" y="15269"/>
                    <a:pt x="14753" y="16908"/>
                  </a:cubicBezTo>
                  <a:lnTo>
                    <a:pt x="14753" y="16982"/>
                  </a:lnTo>
                  <a:close/>
                  <a:moveTo>
                    <a:pt x="14008" y="12290"/>
                  </a:moveTo>
                  <a:cubicBezTo>
                    <a:pt x="13046" y="12290"/>
                    <a:pt x="13046" y="12290"/>
                    <a:pt x="13046" y="12290"/>
                  </a:cubicBezTo>
                  <a:cubicBezTo>
                    <a:pt x="13046" y="21600"/>
                    <a:pt x="13046" y="21600"/>
                    <a:pt x="13046" y="21600"/>
                  </a:cubicBezTo>
                  <a:cubicBezTo>
                    <a:pt x="14008" y="21600"/>
                    <a:pt x="14008" y="21600"/>
                    <a:pt x="14008" y="21600"/>
                  </a:cubicBezTo>
                  <a:cubicBezTo>
                    <a:pt x="14773" y="21600"/>
                    <a:pt x="15302" y="19589"/>
                    <a:pt x="15302" y="16908"/>
                  </a:cubicBezTo>
                  <a:cubicBezTo>
                    <a:pt x="15302" y="16908"/>
                    <a:pt x="15302" y="16908"/>
                    <a:pt x="15302" y="16908"/>
                  </a:cubicBezTo>
                  <a:cubicBezTo>
                    <a:pt x="15302" y="14301"/>
                    <a:pt x="14773" y="12290"/>
                    <a:pt x="14008" y="12290"/>
                  </a:cubicBezTo>
                  <a:moveTo>
                    <a:pt x="12105" y="18025"/>
                  </a:moveTo>
                  <a:cubicBezTo>
                    <a:pt x="10967" y="12290"/>
                    <a:pt x="10967" y="12290"/>
                    <a:pt x="10967" y="12290"/>
                  </a:cubicBezTo>
                  <a:cubicBezTo>
                    <a:pt x="10476" y="12290"/>
                    <a:pt x="10476" y="12290"/>
                    <a:pt x="10476" y="12290"/>
                  </a:cubicBezTo>
                  <a:cubicBezTo>
                    <a:pt x="10476" y="21600"/>
                    <a:pt x="10476" y="21600"/>
                    <a:pt x="10476" y="21600"/>
                  </a:cubicBezTo>
                  <a:cubicBezTo>
                    <a:pt x="11006" y="21600"/>
                    <a:pt x="11006" y="21600"/>
                    <a:pt x="11006" y="21600"/>
                  </a:cubicBezTo>
                  <a:cubicBezTo>
                    <a:pt x="11006" y="15716"/>
                    <a:pt x="11006" y="15716"/>
                    <a:pt x="11006" y="15716"/>
                  </a:cubicBezTo>
                  <a:cubicBezTo>
                    <a:pt x="12183" y="21600"/>
                    <a:pt x="12183" y="21600"/>
                    <a:pt x="12183" y="21600"/>
                  </a:cubicBezTo>
                  <a:cubicBezTo>
                    <a:pt x="12634" y="21600"/>
                    <a:pt x="12634" y="21600"/>
                    <a:pt x="12634" y="21600"/>
                  </a:cubicBezTo>
                  <a:cubicBezTo>
                    <a:pt x="12634" y="12290"/>
                    <a:pt x="12634" y="12290"/>
                    <a:pt x="12634" y="12290"/>
                  </a:cubicBezTo>
                  <a:cubicBezTo>
                    <a:pt x="12105" y="12290"/>
                    <a:pt x="12105" y="12290"/>
                    <a:pt x="12105" y="12290"/>
                  </a:cubicBezTo>
                  <a:lnTo>
                    <a:pt x="12105" y="18025"/>
                  </a:lnTo>
                  <a:close/>
                  <a:moveTo>
                    <a:pt x="8573" y="17727"/>
                  </a:moveTo>
                  <a:cubicBezTo>
                    <a:pt x="8907" y="14673"/>
                    <a:pt x="8907" y="14673"/>
                    <a:pt x="8907" y="14673"/>
                  </a:cubicBezTo>
                  <a:cubicBezTo>
                    <a:pt x="9221" y="17727"/>
                    <a:pt x="9221" y="17727"/>
                    <a:pt x="9221" y="17727"/>
                  </a:cubicBezTo>
                  <a:lnTo>
                    <a:pt x="8573" y="17727"/>
                  </a:lnTo>
                  <a:close/>
                  <a:moveTo>
                    <a:pt x="8671" y="12215"/>
                  </a:moveTo>
                  <a:cubicBezTo>
                    <a:pt x="7612" y="21600"/>
                    <a:pt x="7612" y="21600"/>
                    <a:pt x="7612" y="21600"/>
                  </a:cubicBezTo>
                  <a:cubicBezTo>
                    <a:pt x="8161" y="21600"/>
                    <a:pt x="8161" y="21600"/>
                    <a:pt x="8161" y="21600"/>
                  </a:cubicBezTo>
                  <a:cubicBezTo>
                    <a:pt x="8397" y="19514"/>
                    <a:pt x="8397" y="19514"/>
                    <a:pt x="8397" y="19514"/>
                  </a:cubicBezTo>
                  <a:cubicBezTo>
                    <a:pt x="9417" y="19514"/>
                    <a:pt x="9417" y="19514"/>
                    <a:pt x="9417" y="19514"/>
                  </a:cubicBezTo>
                  <a:cubicBezTo>
                    <a:pt x="9652" y="21600"/>
                    <a:pt x="9652" y="21600"/>
                    <a:pt x="9652" y="21600"/>
                  </a:cubicBezTo>
                  <a:cubicBezTo>
                    <a:pt x="10202" y="21600"/>
                    <a:pt x="10202" y="21600"/>
                    <a:pt x="10202" y="21600"/>
                  </a:cubicBezTo>
                  <a:cubicBezTo>
                    <a:pt x="9162" y="12215"/>
                    <a:pt x="9162" y="12215"/>
                    <a:pt x="9162" y="12215"/>
                  </a:cubicBezTo>
                  <a:lnTo>
                    <a:pt x="8671" y="12215"/>
                  </a:lnTo>
                  <a:close/>
                  <a:moveTo>
                    <a:pt x="6180" y="12290"/>
                  </a:moveTo>
                  <a:cubicBezTo>
                    <a:pt x="5650" y="12290"/>
                    <a:pt x="5650" y="12290"/>
                    <a:pt x="5650" y="12290"/>
                  </a:cubicBezTo>
                  <a:cubicBezTo>
                    <a:pt x="5650" y="21600"/>
                    <a:pt x="5650" y="21600"/>
                    <a:pt x="5650" y="21600"/>
                  </a:cubicBezTo>
                  <a:cubicBezTo>
                    <a:pt x="7396" y="21600"/>
                    <a:pt x="7396" y="21600"/>
                    <a:pt x="7396" y="21600"/>
                  </a:cubicBezTo>
                  <a:cubicBezTo>
                    <a:pt x="7396" y="19738"/>
                    <a:pt x="7396" y="19738"/>
                    <a:pt x="7396" y="19738"/>
                  </a:cubicBezTo>
                  <a:cubicBezTo>
                    <a:pt x="6180" y="19738"/>
                    <a:pt x="6180" y="19738"/>
                    <a:pt x="6180" y="19738"/>
                  </a:cubicBezTo>
                  <a:lnTo>
                    <a:pt x="6180" y="12290"/>
                  </a:lnTo>
                  <a:close/>
                  <a:moveTo>
                    <a:pt x="3943" y="17801"/>
                  </a:moveTo>
                  <a:cubicBezTo>
                    <a:pt x="5081" y="17801"/>
                    <a:pt x="5081" y="17801"/>
                    <a:pt x="5081" y="17801"/>
                  </a:cubicBezTo>
                  <a:cubicBezTo>
                    <a:pt x="5081" y="16014"/>
                    <a:pt x="5081" y="16014"/>
                    <a:pt x="5081" y="16014"/>
                  </a:cubicBezTo>
                  <a:cubicBezTo>
                    <a:pt x="3943" y="16014"/>
                    <a:pt x="3943" y="16014"/>
                    <a:pt x="3943" y="16014"/>
                  </a:cubicBezTo>
                  <a:cubicBezTo>
                    <a:pt x="3943" y="14152"/>
                    <a:pt x="3943" y="14152"/>
                    <a:pt x="3943" y="14152"/>
                  </a:cubicBezTo>
                  <a:cubicBezTo>
                    <a:pt x="5238" y="14152"/>
                    <a:pt x="5238" y="14152"/>
                    <a:pt x="5238" y="14152"/>
                  </a:cubicBezTo>
                  <a:cubicBezTo>
                    <a:pt x="5238" y="12290"/>
                    <a:pt x="5238" y="12290"/>
                    <a:pt x="5238" y="12290"/>
                  </a:cubicBezTo>
                  <a:cubicBezTo>
                    <a:pt x="3394" y="12290"/>
                    <a:pt x="3394" y="12290"/>
                    <a:pt x="3394" y="12290"/>
                  </a:cubicBezTo>
                  <a:cubicBezTo>
                    <a:pt x="3394" y="21600"/>
                    <a:pt x="3394" y="21600"/>
                    <a:pt x="3394" y="21600"/>
                  </a:cubicBezTo>
                  <a:cubicBezTo>
                    <a:pt x="5258" y="21600"/>
                    <a:pt x="5258" y="21600"/>
                    <a:pt x="5258" y="21600"/>
                  </a:cubicBezTo>
                  <a:cubicBezTo>
                    <a:pt x="5258" y="19738"/>
                    <a:pt x="5258" y="19738"/>
                    <a:pt x="5258" y="19738"/>
                  </a:cubicBezTo>
                  <a:cubicBezTo>
                    <a:pt x="3943" y="19738"/>
                    <a:pt x="3943" y="19738"/>
                    <a:pt x="3943" y="19738"/>
                  </a:cubicBezTo>
                  <a:lnTo>
                    <a:pt x="3943" y="17801"/>
                  </a:lnTo>
                  <a:close/>
                  <a:moveTo>
                    <a:pt x="2472" y="15492"/>
                  </a:moveTo>
                  <a:cubicBezTo>
                    <a:pt x="2472" y="16312"/>
                    <a:pt x="2315" y="16833"/>
                    <a:pt x="2060" y="16833"/>
                  </a:cubicBezTo>
                  <a:cubicBezTo>
                    <a:pt x="1511" y="16833"/>
                    <a:pt x="1511" y="16833"/>
                    <a:pt x="1511" y="16833"/>
                  </a:cubicBezTo>
                  <a:cubicBezTo>
                    <a:pt x="1511" y="14152"/>
                    <a:pt x="1511" y="14152"/>
                    <a:pt x="1511" y="14152"/>
                  </a:cubicBezTo>
                  <a:cubicBezTo>
                    <a:pt x="2040" y="14152"/>
                    <a:pt x="2040" y="14152"/>
                    <a:pt x="2040" y="14152"/>
                  </a:cubicBezTo>
                  <a:cubicBezTo>
                    <a:pt x="2295" y="14152"/>
                    <a:pt x="2472" y="14599"/>
                    <a:pt x="2472" y="15492"/>
                  </a:cubicBezTo>
                  <a:close/>
                  <a:moveTo>
                    <a:pt x="3002" y="15418"/>
                  </a:moveTo>
                  <a:cubicBezTo>
                    <a:pt x="3002" y="15343"/>
                    <a:pt x="3002" y="15343"/>
                    <a:pt x="3002" y="15343"/>
                  </a:cubicBezTo>
                  <a:cubicBezTo>
                    <a:pt x="3002" y="14524"/>
                    <a:pt x="2943" y="13779"/>
                    <a:pt x="2805" y="13258"/>
                  </a:cubicBezTo>
                  <a:cubicBezTo>
                    <a:pt x="2629" y="12662"/>
                    <a:pt x="2393" y="12290"/>
                    <a:pt x="2080" y="12290"/>
                  </a:cubicBezTo>
                  <a:cubicBezTo>
                    <a:pt x="961" y="12290"/>
                    <a:pt x="961" y="12290"/>
                    <a:pt x="961" y="12290"/>
                  </a:cubicBezTo>
                  <a:cubicBezTo>
                    <a:pt x="961" y="21600"/>
                    <a:pt x="961" y="21600"/>
                    <a:pt x="961" y="21600"/>
                  </a:cubicBezTo>
                  <a:cubicBezTo>
                    <a:pt x="1511" y="21600"/>
                    <a:pt x="1511" y="21600"/>
                    <a:pt x="1511" y="21600"/>
                  </a:cubicBezTo>
                  <a:cubicBezTo>
                    <a:pt x="1511" y="18621"/>
                    <a:pt x="1511" y="18621"/>
                    <a:pt x="1511" y="18621"/>
                  </a:cubicBezTo>
                  <a:cubicBezTo>
                    <a:pt x="1923" y="18621"/>
                    <a:pt x="1923" y="18621"/>
                    <a:pt x="1923" y="18621"/>
                  </a:cubicBezTo>
                  <a:cubicBezTo>
                    <a:pt x="2452" y="21600"/>
                    <a:pt x="2452" y="21600"/>
                    <a:pt x="2452" y="21600"/>
                  </a:cubicBezTo>
                  <a:cubicBezTo>
                    <a:pt x="3080" y="21600"/>
                    <a:pt x="3080" y="21600"/>
                    <a:pt x="3080" y="21600"/>
                  </a:cubicBezTo>
                  <a:cubicBezTo>
                    <a:pt x="2492" y="18248"/>
                    <a:pt x="2492" y="18248"/>
                    <a:pt x="2492" y="18248"/>
                  </a:cubicBezTo>
                  <a:cubicBezTo>
                    <a:pt x="2786" y="17801"/>
                    <a:pt x="3002" y="16908"/>
                    <a:pt x="3002" y="15418"/>
                  </a:cubicBezTo>
                  <a:moveTo>
                    <a:pt x="20" y="21600"/>
                  </a:moveTo>
                  <a:cubicBezTo>
                    <a:pt x="549" y="21600"/>
                    <a:pt x="549" y="21600"/>
                    <a:pt x="549" y="21600"/>
                  </a:cubicBezTo>
                  <a:cubicBezTo>
                    <a:pt x="549" y="12290"/>
                    <a:pt x="549" y="12290"/>
                    <a:pt x="549" y="12290"/>
                  </a:cubicBezTo>
                  <a:cubicBezTo>
                    <a:pt x="20" y="12290"/>
                    <a:pt x="20" y="12290"/>
                    <a:pt x="20" y="12290"/>
                  </a:cubicBezTo>
                  <a:lnTo>
                    <a:pt x="20" y="21600"/>
                  </a:lnTo>
                  <a:close/>
                  <a:moveTo>
                    <a:pt x="20266" y="7597"/>
                  </a:moveTo>
                  <a:cubicBezTo>
                    <a:pt x="20266" y="5661"/>
                    <a:pt x="20266" y="5661"/>
                    <a:pt x="20266" y="5661"/>
                  </a:cubicBezTo>
                  <a:cubicBezTo>
                    <a:pt x="21423" y="5661"/>
                    <a:pt x="21423" y="5661"/>
                    <a:pt x="21423" y="5661"/>
                  </a:cubicBezTo>
                  <a:cubicBezTo>
                    <a:pt x="21423" y="3873"/>
                    <a:pt x="21423" y="3873"/>
                    <a:pt x="21423" y="3873"/>
                  </a:cubicBezTo>
                  <a:cubicBezTo>
                    <a:pt x="20266" y="3873"/>
                    <a:pt x="20266" y="3873"/>
                    <a:pt x="20266" y="3873"/>
                  </a:cubicBezTo>
                  <a:cubicBezTo>
                    <a:pt x="20266" y="1937"/>
                    <a:pt x="20266" y="1937"/>
                    <a:pt x="20266" y="1937"/>
                  </a:cubicBezTo>
                  <a:cubicBezTo>
                    <a:pt x="21580" y="1937"/>
                    <a:pt x="21580" y="1937"/>
                    <a:pt x="21580" y="1937"/>
                  </a:cubicBezTo>
                  <a:cubicBezTo>
                    <a:pt x="21580" y="149"/>
                    <a:pt x="21580" y="149"/>
                    <a:pt x="21580" y="149"/>
                  </a:cubicBezTo>
                  <a:cubicBezTo>
                    <a:pt x="19736" y="149"/>
                    <a:pt x="19736" y="149"/>
                    <a:pt x="19736" y="149"/>
                  </a:cubicBezTo>
                  <a:cubicBezTo>
                    <a:pt x="19736" y="9385"/>
                    <a:pt x="19736" y="9385"/>
                    <a:pt x="19736" y="9385"/>
                  </a:cubicBezTo>
                  <a:cubicBezTo>
                    <a:pt x="21600" y="9385"/>
                    <a:pt x="21600" y="9385"/>
                    <a:pt x="21600" y="9385"/>
                  </a:cubicBezTo>
                  <a:cubicBezTo>
                    <a:pt x="21600" y="7597"/>
                    <a:pt x="21600" y="7597"/>
                    <a:pt x="21600" y="7597"/>
                  </a:cubicBezTo>
                  <a:lnTo>
                    <a:pt x="20266" y="7597"/>
                  </a:lnTo>
                  <a:close/>
                  <a:moveTo>
                    <a:pt x="18598" y="3873"/>
                  </a:moveTo>
                  <a:cubicBezTo>
                    <a:pt x="18186" y="3426"/>
                    <a:pt x="18069" y="3277"/>
                    <a:pt x="18069" y="2607"/>
                  </a:cubicBezTo>
                  <a:cubicBezTo>
                    <a:pt x="18069" y="2607"/>
                    <a:pt x="18069" y="2607"/>
                    <a:pt x="18069" y="2607"/>
                  </a:cubicBezTo>
                  <a:cubicBezTo>
                    <a:pt x="18069" y="2160"/>
                    <a:pt x="18186" y="1788"/>
                    <a:pt x="18383" y="1788"/>
                  </a:cubicBezTo>
                  <a:cubicBezTo>
                    <a:pt x="18598" y="1788"/>
                    <a:pt x="18814" y="2160"/>
                    <a:pt x="19030" y="2756"/>
                  </a:cubicBezTo>
                  <a:cubicBezTo>
                    <a:pt x="19305" y="1192"/>
                    <a:pt x="19305" y="1192"/>
                    <a:pt x="19305" y="1192"/>
                  </a:cubicBezTo>
                  <a:cubicBezTo>
                    <a:pt x="19050" y="447"/>
                    <a:pt x="18755" y="0"/>
                    <a:pt x="18402" y="0"/>
                  </a:cubicBezTo>
                  <a:cubicBezTo>
                    <a:pt x="17892" y="0"/>
                    <a:pt x="17539" y="1117"/>
                    <a:pt x="17539" y="2830"/>
                  </a:cubicBezTo>
                  <a:cubicBezTo>
                    <a:pt x="17539" y="2830"/>
                    <a:pt x="17539" y="2830"/>
                    <a:pt x="17539" y="2830"/>
                  </a:cubicBezTo>
                  <a:cubicBezTo>
                    <a:pt x="17539" y="4692"/>
                    <a:pt x="17853" y="5214"/>
                    <a:pt x="18343" y="5661"/>
                  </a:cubicBezTo>
                  <a:cubicBezTo>
                    <a:pt x="18755" y="6033"/>
                    <a:pt x="18834" y="6331"/>
                    <a:pt x="18834" y="6852"/>
                  </a:cubicBezTo>
                  <a:cubicBezTo>
                    <a:pt x="18834" y="6852"/>
                    <a:pt x="18834" y="6852"/>
                    <a:pt x="18834" y="6852"/>
                  </a:cubicBezTo>
                  <a:cubicBezTo>
                    <a:pt x="18834" y="7448"/>
                    <a:pt x="18716" y="7746"/>
                    <a:pt x="18481" y="7746"/>
                  </a:cubicBezTo>
                  <a:cubicBezTo>
                    <a:pt x="18206" y="7746"/>
                    <a:pt x="17990" y="7299"/>
                    <a:pt x="17755" y="6629"/>
                  </a:cubicBezTo>
                  <a:cubicBezTo>
                    <a:pt x="17441" y="8044"/>
                    <a:pt x="17441" y="8044"/>
                    <a:pt x="17441" y="8044"/>
                  </a:cubicBezTo>
                  <a:cubicBezTo>
                    <a:pt x="17735" y="9087"/>
                    <a:pt x="18108" y="9534"/>
                    <a:pt x="18481" y="9534"/>
                  </a:cubicBezTo>
                  <a:cubicBezTo>
                    <a:pt x="19010" y="9534"/>
                    <a:pt x="19383" y="8491"/>
                    <a:pt x="19383" y="6703"/>
                  </a:cubicBezTo>
                  <a:cubicBezTo>
                    <a:pt x="19383" y="6629"/>
                    <a:pt x="19383" y="6629"/>
                    <a:pt x="19383" y="6629"/>
                  </a:cubicBezTo>
                  <a:cubicBezTo>
                    <a:pt x="19383" y="5065"/>
                    <a:pt x="19089" y="4320"/>
                    <a:pt x="18598" y="3873"/>
                  </a:cubicBezTo>
                  <a:moveTo>
                    <a:pt x="16538" y="9385"/>
                  </a:moveTo>
                  <a:cubicBezTo>
                    <a:pt x="17088" y="9385"/>
                    <a:pt x="17088" y="9385"/>
                    <a:pt x="17088" y="9385"/>
                  </a:cubicBezTo>
                  <a:cubicBezTo>
                    <a:pt x="17088" y="149"/>
                    <a:pt x="17088" y="149"/>
                    <a:pt x="17088" y="149"/>
                  </a:cubicBezTo>
                  <a:cubicBezTo>
                    <a:pt x="16538" y="149"/>
                    <a:pt x="16538" y="149"/>
                    <a:pt x="16538" y="149"/>
                  </a:cubicBezTo>
                  <a:lnTo>
                    <a:pt x="16538" y="9385"/>
                  </a:lnTo>
                  <a:close/>
                  <a:moveTo>
                    <a:pt x="15557" y="3352"/>
                  </a:moveTo>
                  <a:cubicBezTo>
                    <a:pt x="15557" y="4097"/>
                    <a:pt x="15420" y="4618"/>
                    <a:pt x="15146" y="4618"/>
                  </a:cubicBezTo>
                  <a:cubicBezTo>
                    <a:pt x="14616" y="4618"/>
                    <a:pt x="14616" y="4618"/>
                    <a:pt x="14616" y="4618"/>
                  </a:cubicBezTo>
                  <a:cubicBezTo>
                    <a:pt x="14616" y="2011"/>
                    <a:pt x="14616" y="2011"/>
                    <a:pt x="14616" y="2011"/>
                  </a:cubicBezTo>
                  <a:cubicBezTo>
                    <a:pt x="15146" y="2011"/>
                    <a:pt x="15146" y="2011"/>
                    <a:pt x="15146" y="2011"/>
                  </a:cubicBezTo>
                  <a:cubicBezTo>
                    <a:pt x="15401" y="2011"/>
                    <a:pt x="15557" y="2458"/>
                    <a:pt x="15557" y="3277"/>
                  </a:cubicBezTo>
                  <a:lnTo>
                    <a:pt x="15557" y="3352"/>
                  </a:lnTo>
                  <a:close/>
                  <a:moveTo>
                    <a:pt x="16107" y="3203"/>
                  </a:moveTo>
                  <a:cubicBezTo>
                    <a:pt x="16107" y="3203"/>
                    <a:pt x="16107" y="3203"/>
                    <a:pt x="16107" y="3203"/>
                  </a:cubicBezTo>
                  <a:cubicBezTo>
                    <a:pt x="16107" y="2309"/>
                    <a:pt x="16028" y="1564"/>
                    <a:pt x="15911" y="1043"/>
                  </a:cubicBezTo>
                  <a:cubicBezTo>
                    <a:pt x="15734" y="447"/>
                    <a:pt x="15499" y="149"/>
                    <a:pt x="15185" y="149"/>
                  </a:cubicBezTo>
                  <a:cubicBezTo>
                    <a:pt x="14066" y="149"/>
                    <a:pt x="14066" y="149"/>
                    <a:pt x="14066" y="149"/>
                  </a:cubicBezTo>
                  <a:cubicBezTo>
                    <a:pt x="14066" y="9385"/>
                    <a:pt x="14066" y="9385"/>
                    <a:pt x="14066" y="9385"/>
                  </a:cubicBezTo>
                  <a:cubicBezTo>
                    <a:pt x="14616" y="9385"/>
                    <a:pt x="14616" y="9385"/>
                    <a:pt x="14616" y="9385"/>
                  </a:cubicBezTo>
                  <a:cubicBezTo>
                    <a:pt x="14616" y="6480"/>
                    <a:pt x="14616" y="6480"/>
                    <a:pt x="14616" y="6480"/>
                  </a:cubicBezTo>
                  <a:cubicBezTo>
                    <a:pt x="15028" y="6480"/>
                    <a:pt x="15028" y="6480"/>
                    <a:pt x="15028" y="6480"/>
                  </a:cubicBezTo>
                  <a:cubicBezTo>
                    <a:pt x="15557" y="9385"/>
                    <a:pt x="15557" y="9385"/>
                    <a:pt x="15557" y="9385"/>
                  </a:cubicBezTo>
                  <a:cubicBezTo>
                    <a:pt x="16185" y="9385"/>
                    <a:pt x="16185" y="9385"/>
                    <a:pt x="16185" y="9385"/>
                  </a:cubicBezTo>
                  <a:cubicBezTo>
                    <a:pt x="15597" y="6108"/>
                    <a:pt x="15597" y="6108"/>
                    <a:pt x="15597" y="6108"/>
                  </a:cubicBezTo>
                  <a:cubicBezTo>
                    <a:pt x="15891" y="5661"/>
                    <a:pt x="16107" y="4692"/>
                    <a:pt x="16107" y="3203"/>
                  </a:cubicBezTo>
                  <a:moveTo>
                    <a:pt x="13203" y="3426"/>
                  </a:moveTo>
                  <a:cubicBezTo>
                    <a:pt x="13203" y="4171"/>
                    <a:pt x="13046" y="4841"/>
                    <a:pt x="12772" y="4841"/>
                  </a:cubicBezTo>
                  <a:cubicBezTo>
                    <a:pt x="12360" y="4841"/>
                    <a:pt x="12360" y="4841"/>
                    <a:pt x="12360" y="4841"/>
                  </a:cubicBezTo>
                  <a:cubicBezTo>
                    <a:pt x="12360" y="2011"/>
                    <a:pt x="12360" y="2011"/>
                    <a:pt x="12360" y="2011"/>
                  </a:cubicBezTo>
                  <a:cubicBezTo>
                    <a:pt x="12772" y="2011"/>
                    <a:pt x="12772" y="2011"/>
                    <a:pt x="12772" y="2011"/>
                  </a:cubicBezTo>
                  <a:cubicBezTo>
                    <a:pt x="13027" y="2011"/>
                    <a:pt x="13203" y="2458"/>
                    <a:pt x="13203" y="3352"/>
                  </a:cubicBezTo>
                  <a:lnTo>
                    <a:pt x="13203" y="3426"/>
                  </a:lnTo>
                  <a:close/>
                  <a:moveTo>
                    <a:pt x="13753" y="3352"/>
                  </a:moveTo>
                  <a:cubicBezTo>
                    <a:pt x="13753" y="3352"/>
                    <a:pt x="13753" y="3352"/>
                    <a:pt x="13753" y="3352"/>
                  </a:cubicBezTo>
                  <a:cubicBezTo>
                    <a:pt x="13753" y="1415"/>
                    <a:pt x="13399" y="149"/>
                    <a:pt x="12811" y="149"/>
                  </a:cubicBezTo>
                  <a:cubicBezTo>
                    <a:pt x="11810" y="149"/>
                    <a:pt x="11810" y="149"/>
                    <a:pt x="11810" y="149"/>
                  </a:cubicBezTo>
                  <a:cubicBezTo>
                    <a:pt x="11810" y="9385"/>
                    <a:pt x="11810" y="9385"/>
                    <a:pt x="11810" y="9385"/>
                  </a:cubicBezTo>
                  <a:cubicBezTo>
                    <a:pt x="12360" y="9385"/>
                    <a:pt x="12360" y="9385"/>
                    <a:pt x="12360" y="9385"/>
                  </a:cubicBezTo>
                  <a:cubicBezTo>
                    <a:pt x="12360" y="6629"/>
                    <a:pt x="12360" y="6629"/>
                    <a:pt x="12360" y="6629"/>
                  </a:cubicBezTo>
                  <a:cubicBezTo>
                    <a:pt x="12752" y="6629"/>
                    <a:pt x="12752" y="6629"/>
                    <a:pt x="12752" y="6629"/>
                  </a:cubicBezTo>
                  <a:cubicBezTo>
                    <a:pt x="13301" y="6629"/>
                    <a:pt x="13753" y="5512"/>
                    <a:pt x="13753" y="3352"/>
                  </a:cubicBezTo>
                  <a:moveTo>
                    <a:pt x="10457" y="4618"/>
                  </a:moveTo>
                  <a:cubicBezTo>
                    <a:pt x="9907" y="4618"/>
                    <a:pt x="9907" y="4618"/>
                    <a:pt x="9907" y="4618"/>
                  </a:cubicBezTo>
                  <a:cubicBezTo>
                    <a:pt x="9907" y="2011"/>
                    <a:pt x="9907" y="2011"/>
                    <a:pt x="9907" y="2011"/>
                  </a:cubicBezTo>
                  <a:cubicBezTo>
                    <a:pt x="10457" y="2011"/>
                    <a:pt x="10457" y="2011"/>
                    <a:pt x="10457" y="2011"/>
                  </a:cubicBezTo>
                  <a:cubicBezTo>
                    <a:pt x="10712" y="2011"/>
                    <a:pt x="10869" y="2458"/>
                    <a:pt x="10869" y="3277"/>
                  </a:cubicBezTo>
                  <a:cubicBezTo>
                    <a:pt x="10869" y="3352"/>
                    <a:pt x="10869" y="3352"/>
                    <a:pt x="10869" y="3352"/>
                  </a:cubicBezTo>
                  <a:cubicBezTo>
                    <a:pt x="10869" y="4097"/>
                    <a:pt x="10712" y="4618"/>
                    <a:pt x="10457" y="4618"/>
                  </a:cubicBezTo>
                  <a:moveTo>
                    <a:pt x="11496" y="9385"/>
                  </a:moveTo>
                  <a:cubicBezTo>
                    <a:pt x="10888" y="6108"/>
                    <a:pt x="10888" y="6108"/>
                    <a:pt x="10888" y="6108"/>
                  </a:cubicBezTo>
                  <a:cubicBezTo>
                    <a:pt x="11202" y="5661"/>
                    <a:pt x="11418" y="4692"/>
                    <a:pt x="11418" y="3203"/>
                  </a:cubicBezTo>
                  <a:cubicBezTo>
                    <a:pt x="11418" y="3203"/>
                    <a:pt x="11418" y="3203"/>
                    <a:pt x="11418" y="3203"/>
                  </a:cubicBezTo>
                  <a:cubicBezTo>
                    <a:pt x="11418" y="2309"/>
                    <a:pt x="11340" y="1564"/>
                    <a:pt x="11202" y="1043"/>
                  </a:cubicBezTo>
                  <a:cubicBezTo>
                    <a:pt x="11045" y="447"/>
                    <a:pt x="10810" y="149"/>
                    <a:pt x="10496" y="149"/>
                  </a:cubicBezTo>
                  <a:cubicBezTo>
                    <a:pt x="9378" y="149"/>
                    <a:pt x="9378" y="149"/>
                    <a:pt x="9378" y="149"/>
                  </a:cubicBezTo>
                  <a:cubicBezTo>
                    <a:pt x="9378" y="9385"/>
                    <a:pt x="9378" y="9385"/>
                    <a:pt x="9378" y="9385"/>
                  </a:cubicBezTo>
                  <a:cubicBezTo>
                    <a:pt x="9907" y="9385"/>
                    <a:pt x="9907" y="9385"/>
                    <a:pt x="9907" y="9385"/>
                  </a:cubicBezTo>
                  <a:cubicBezTo>
                    <a:pt x="9907" y="6480"/>
                    <a:pt x="9907" y="6480"/>
                    <a:pt x="9907" y="6480"/>
                  </a:cubicBezTo>
                  <a:cubicBezTo>
                    <a:pt x="10339" y="6480"/>
                    <a:pt x="10339" y="6480"/>
                    <a:pt x="10339" y="6480"/>
                  </a:cubicBezTo>
                  <a:cubicBezTo>
                    <a:pt x="10869" y="9385"/>
                    <a:pt x="10869" y="9385"/>
                    <a:pt x="10869" y="9385"/>
                  </a:cubicBezTo>
                  <a:lnTo>
                    <a:pt x="11496" y="9385"/>
                  </a:lnTo>
                  <a:close/>
                  <a:moveTo>
                    <a:pt x="9025" y="7597"/>
                  </a:moveTo>
                  <a:cubicBezTo>
                    <a:pt x="7690" y="7597"/>
                    <a:pt x="7690" y="7597"/>
                    <a:pt x="7690" y="7597"/>
                  </a:cubicBezTo>
                  <a:cubicBezTo>
                    <a:pt x="7690" y="5661"/>
                    <a:pt x="7690" y="5661"/>
                    <a:pt x="7690" y="5661"/>
                  </a:cubicBezTo>
                  <a:cubicBezTo>
                    <a:pt x="8848" y="5661"/>
                    <a:pt x="8848" y="5661"/>
                    <a:pt x="8848" y="5661"/>
                  </a:cubicBezTo>
                  <a:cubicBezTo>
                    <a:pt x="8848" y="3873"/>
                    <a:pt x="8848" y="3873"/>
                    <a:pt x="8848" y="3873"/>
                  </a:cubicBezTo>
                  <a:cubicBezTo>
                    <a:pt x="7690" y="3873"/>
                    <a:pt x="7690" y="3873"/>
                    <a:pt x="7690" y="3873"/>
                  </a:cubicBezTo>
                  <a:cubicBezTo>
                    <a:pt x="7690" y="1937"/>
                    <a:pt x="7690" y="1937"/>
                    <a:pt x="7690" y="1937"/>
                  </a:cubicBezTo>
                  <a:cubicBezTo>
                    <a:pt x="9005" y="1937"/>
                    <a:pt x="9005" y="1937"/>
                    <a:pt x="9005" y="1937"/>
                  </a:cubicBezTo>
                  <a:cubicBezTo>
                    <a:pt x="9005" y="149"/>
                    <a:pt x="9005" y="149"/>
                    <a:pt x="9005" y="149"/>
                  </a:cubicBezTo>
                  <a:cubicBezTo>
                    <a:pt x="7161" y="149"/>
                    <a:pt x="7161" y="149"/>
                    <a:pt x="7161" y="149"/>
                  </a:cubicBezTo>
                  <a:cubicBezTo>
                    <a:pt x="7161" y="9385"/>
                    <a:pt x="7161" y="9385"/>
                    <a:pt x="7161" y="9385"/>
                  </a:cubicBezTo>
                  <a:cubicBezTo>
                    <a:pt x="9025" y="9385"/>
                    <a:pt x="9025" y="9385"/>
                    <a:pt x="9025" y="9385"/>
                  </a:cubicBezTo>
                  <a:lnTo>
                    <a:pt x="9025" y="7597"/>
                  </a:lnTo>
                  <a:close/>
                  <a:moveTo>
                    <a:pt x="6043" y="9385"/>
                  </a:moveTo>
                  <a:cubicBezTo>
                    <a:pt x="6043" y="2011"/>
                    <a:pt x="6043" y="2011"/>
                    <a:pt x="6043" y="2011"/>
                  </a:cubicBezTo>
                  <a:cubicBezTo>
                    <a:pt x="6788" y="2011"/>
                    <a:pt x="6788" y="2011"/>
                    <a:pt x="6788" y="2011"/>
                  </a:cubicBezTo>
                  <a:cubicBezTo>
                    <a:pt x="6788" y="149"/>
                    <a:pt x="6788" y="149"/>
                    <a:pt x="6788" y="149"/>
                  </a:cubicBezTo>
                  <a:cubicBezTo>
                    <a:pt x="4767" y="149"/>
                    <a:pt x="4767" y="149"/>
                    <a:pt x="4767" y="149"/>
                  </a:cubicBezTo>
                  <a:cubicBezTo>
                    <a:pt x="4767" y="2011"/>
                    <a:pt x="4767" y="2011"/>
                    <a:pt x="4767" y="2011"/>
                  </a:cubicBezTo>
                  <a:cubicBezTo>
                    <a:pt x="5513" y="2011"/>
                    <a:pt x="5513" y="2011"/>
                    <a:pt x="5513" y="2011"/>
                  </a:cubicBezTo>
                  <a:cubicBezTo>
                    <a:pt x="5513" y="9385"/>
                    <a:pt x="5513" y="9385"/>
                    <a:pt x="5513" y="9385"/>
                  </a:cubicBezTo>
                  <a:lnTo>
                    <a:pt x="6043" y="9385"/>
                  </a:lnTo>
                  <a:close/>
                  <a:moveTo>
                    <a:pt x="2766" y="3501"/>
                  </a:moveTo>
                  <a:cubicBezTo>
                    <a:pt x="3943" y="9385"/>
                    <a:pt x="3943" y="9385"/>
                    <a:pt x="3943" y="9385"/>
                  </a:cubicBezTo>
                  <a:cubicBezTo>
                    <a:pt x="4414" y="9385"/>
                    <a:pt x="4414" y="9385"/>
                    <a:pt x="4414" y="9385"/>
                  </a:cubicBezTo>
                  <a:cubicBezTo>
                    <a:pt x="4414" y="149"/>
                    <a:pt x="4414" y="149"/>
                    <a:pt x="4414" y="149"/>
                  </a:cubicBezTo>
                  <a:cubicBezTo>
                    <a:pt x="3865" y="149"/>
                    <a:pt x="3865" y="149"/>
                    <a:pt x="3865" y="149"/>
                  </a:cubicBezTo>
                  <a:cubicBezTo>
                    <a:pt x="3865" y="5884"/>
                    <a:pt x="3865" y="5884"/>
                    <a:pt x="3865" y="5884"/>
                  </a:cubicBezTo>
                  <a:cubicBezTo>
                    <a:pt x="2727" y="149"/>
                    <a:pt x="2727" y="149"/>
                    <a:pt x="2727" y="149"/>
                  </a:cubicBezTo>
                  <a:cubicBezTo>
                    <a:pt x="2237" y="149"/>
                    <a:pt x="2237" y="149"/>
                    <a:pt x="2237" y="149"/>
                  </a:cubicBezTo>
                  <a:cubicBezTo>
                    <a:pt x="2237" y="9385"/>
                    <a:pt x="2237" y="9385"/>
                    <a:pt x="2237" y="9385"/>
                  </a:cubicBezTo>
                  <a:cubicBezTo>
                    <a:pt x="2766" y="9385"/>
                    <a:pt x="2766" y="9385"/>
                    <a:pt x="2766" y="9385"/>
                  </a:cubicBezTo>
                  <a:lnTo>
                    <a:pt x="2766" y="3501"/>
                  </a:lnTo>
                  <a:close/>
                  <a:moveTo>
                    <a:pt x="1864" y="7597"/>
                  </a:moveTo>
                  <a:cubicBezTo>
                    <a:pt x="530" y="7597"/>
                    <a:pt x="530" y="7597"/>
                    <a:pt x="530" y="7597"/>
                  </a:cubicBezTo>
                  <a:cubicBezTo>
                    <a:pt x="530" y="5661"/>
                    <a:pt x="530" y="5661"/>
                    <a:pt x="530" y="5661"/>
                  </a:cubicBezTo>
                  <a:cubicBezTo>
                    <a:pt x="1687" y="5661"/>
                    <a:pt x="1687" y="5661"/>
                    <a:pt x="1687" y="5661"/>
                  </a:cubicBezTo>
                  <a:cubicBezTo>
                    <a:pt x="1687" y="3873"/>
                    <a:pt x="1687" y="3873"/>
                    <a:pt x="1687" y="3873"/>
                  </a:cubicBezTo>
                  <a:cubicBezTo>
                    <a:pt x="530" y="3873"/>
                    <a:pt x="530" y="3873"/>
                    <a:pt x="530" y="3873"/>
                  </a:cubicBezTo>
                  <a:cubicBezTo>
                    <a:pt x="530" y="1937"/>
                    <a:pt x="530" y="1937"/>
                    <a:pt x="530" y="1937"/>
                  </a:cubicBezTo>
                  <a:cubicBezTo>
                    <a:pt x="1844" y="1937"/>
                    <a:pt x="1844" y="1937"/>
                    <a:pt x="1844" y="1937"/>
                  </a:cubicBezTo>
                  <a:cubicBezTo>
                    <a:pt x="1844" y="149"/>
                    <a:pt x="1844" y="149"/>
                    <a:pt x="1844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9385"/>
                    <a:pt x="0" y="9385"/>
                    <a:pt x="0" y="9385"/>
                  </a:cubicBezTo>
                  <a:cubicBezTo>
                    <a:pt x="1864" y="9385"/>
                    <a:pt x="1864" y="9385"/>
                    <a:pt x="1864" y="9385"/>
                  </a:cubicBezTo>
                  <a:lnTo>
                    <a:pt x="1864" y="7597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dirty="0">
                <a:latin typeface="Arial Regular"/>
              </a:endParaRPr>
            </a:p>
          </p:txBody>
        </p:sp>
        <p:sp>
          <p:nvSpPr>
            <p:cNvPr id="490" name="Freeform 7"/>
            <p:cNvSpPr/>
            <p:nvPr/>
          </p:nvSpPr>
          <p:spPr>
            <a:xfrm>
              <a:off x="0" y="122073"/>
              <a:ext cx="543690" cy="4523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095" y="5445"/>
                  </a:moveTo>
                  <a:cubicBezTo>
                    <a:pt x="20020" y="5445"/>
                    <a:pt x="20020" y="5445"/>
                    <a:pt x="20020" y="5445"/>
                  </a:cubicBezTo>
                  <a:cubicBezTo>
                    <a:pt x="19192" y="5445"/>
                    <a:pt x="18514" y="6353"/>
                    <a:pt x="18514" y="7351"/>
                  </a:cubicBezTo>
                  <a:cubicBezTo>
                    <a:pt x="18514" y="13160"/>
                    <a:pt x="14601" y="17879"/>
                    <a:pt x="9784" y="17879"/>
                  </a:cubicBezTo>
                  <a:cubicBezTo>
                    <a:pt x="6096" y="17879"/>
                    <a:pt x="3086" y="14249"/>
                    <a:pt x="3086" y="9802"/>
                  </a:cubicBezTo>
                  <a:cubicBezTo>
                    <a:pt x="3086" y="6444"/>
                    <a:pt x="5344" y="3721"/>
                    <a:pt x="8128" y="3721"/>
                  </a:cubicBezTo>
                  <a:cubicBezTo>
                    <a:pt x="10236" y="3721"/>
                    <a:pt x="11891" y="5718"/>
                    <a:pt x="11891" y="8168"/>
                  </a:cubicBezTo>
                  <a:cubicBezTo>
                    <a:pt x="11891" y="8440"/>
                    <a:pt x="11816" y="8531"/>
                    <a:pt x="11816" y="8622"/>
                  </a:cubicBezTo>
                  <a:cubicBezTo>
                    <a:pt x="11666" y="8713"/>
                    <a:pt x="11214" y="8713"/>
                    <a:pt x="10762" y="8713"/>
                  </a:cubicBezTo>
                  <a:cubicBezTo>
                    <a:pt x="10537" y="8713"/>
                    <a:pt x="10311" y="8713"/>
                    <a:pt x="10085" y="8713"/>
                  </a:cubicBezTo>
                  <a:cubicBezTo>
                    <a:pt x="9784" y="8713"/>
                    <a:pt x="9483" y="8713"/>
                    <a:pt x="9182" y="8713"/>
                  </a:cubicBezTo>
                  <a:cubicBezTo>
                    <a:pt x="8354" y="8713"/>
                    <a:pt x="7677" y="9529"/>
                    <a:pt x="7677" y="10528"/>
                  </a:cubicBezTo>
                  <a:cubicBezTo>
                    <a:pt x="7677" y="10528"/>
                    <a:pt x="7677" y="10528"/>
                    <a:pt x="7677" y="10528"/>
                  </a:cubicBezTo>
                  <a:cubicBezTo>
                    <a:pt x="7677" y="11526"/>
                    <a:pt x="8354" y="12434"/>
                    <a:pt x="9182" y="12434"/>
                  </a:cubicBezTo>
                  <a:cubicBezTo>
                    <a:pt x="9483" y="12434"/>
                    <a:pt x="9784" y="12434"/>
                    <a:pt x="10010" y="12434"/>
                  </a:cubicBezTo>
                  <a:cubicBezTo>
                    <a:pt x="10311" y="12434"/>
                    <a:pt x="10537" y="12434"/>
                    <a:pt x="10838" y="12434"/>
                  </a:cubicBezTo>
                  <a:cubicBezTo>
                    <a:pt x="12042" y="12434"/>
                    <a:pt x="13171" y="12252"/>
                    <a:pt x="13999" y="11254"/>
                  </a:cubicBezTo>
                  <a:cubicBezTo>
                    <a:pt x="14601" y="10528"/>
                    <a:pt x="14977" y="9529"/>
                    <a:pt x="14977" y="8168"/>
                  </a:cubicBezTo>
                  <a:cubicBezTo>
                    <a:pt x="14977" y="3721"/>
                    <a:pt x="11891" y="0"/>
                    <a:pt x="8128" y="0"/>
                  </a:cubicBezTo>
                  <a:cubicBezTo>
                    <a:pt x="3688" y="0"/>
                    <a:pt x="0" y="4447"/>
                    <a:pt x="0" y="9802"/>
                  </a:cubicBezTo>
                  <a:cubicBezTo>
                    <a:pt x="0" y="16245"/>
                    <a:pt x="4440" y="21600"/>
                    <a:pt x="9784" y="21600"/>
                  </a:cubicBezTo>
                  <a:cubicBezTo>
                    <a:pt x="16256" y="21600"/>
                    <a:pt x="21600" y="15156"/>
                    <a:pt x="21600" y="7351"/>
                  </a:cubicBezTo>
                  <a:cubicBezTo>
                    <a:pt x="21600" y="6353"/>
                    <a:pt x="20923" y="5445"/>
                    <a:pt x="20095" y="5445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dirty="0">
                <a:latin typeface="Arial Regular"/>
              </a:endParaRPr>
            </a:p>
          </p:txBody>
        </p:sp>
        <p:sp>
          <p:nvSpPr>
            <p:cNvPr id="491" name="Freeform 8"/>
            <p:cNvSpPr/>
            <p:nvPr/>
          </p:nvSpPr>
          <p:spPr>
            <a:xfrm>
              <a:off x="441106" y="-1"/>
              <a:ext cx="128230" cy="1292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5247"/>
                  </a:moveTo>
                  <a:cubicBezTo>
                    <a:pt x="8259" y="15247"/>
                    <a:pt x="6353" y="13341"/>
                    <a:pt x="6353" y="10800"/>
                  </a:cubicBezTo>
                  <a:cubicBezTo>
                    <a:pt x="6353" y="8576"/>
                    <a:pt x="8259" y="6671"/>
                    <a:pt x="10800" y="6671"/>
                  </a:cubicBezTo>
                  <a:cubicBezTo>
                    <a:pt x="13024" y="6671"/>
                    <a:pt x="14929" y="8576"/>
                    <a:pt x="14929" y="10800"/>
                  </a:cubicBezTo>
                  <a:cubicBezTo>
                    <a:pt x="14929" y="13341"/>
                    <a:pt x="13024" y="15247"/>
                    <a:pt x="10800" y="15247"/>
                  </a:cubicBezTo>
                  <a:moveTo>
                    <a:pt x="10800" y="0"/>
                  </a:moveTo>
                  <a:cubicBezTo>
                    <a:pt x="10800" y="0"/>
                    <a:pt x="10800" y="0"/>
                    <a:pt x="10800" y="0"/>
                  </a:cubicBezTo>
                  <a:cubicBezTo>
                    <a:pt x="4765" y="0"/>
                    <a:pt x="0" y="4765"/>
                    <a:pt x="0" y="10800"/>
                  </a:cubicBezTo>
                  <a:cubicBezTo>
                    <a:pt x="0" y="16835"/>
                    <a:pt x="4765" y="21600"/>
                    <a:pt x="10800" y="21600"/>
                  </a:cubicBezTo>
                  <a:cubicBezTo>
                    <a:pt x="16835" y="21600"/>
                    <a:pt x="21600" y="16835"/>
                    <a:pt x="21600" y="10800"/>
                  </a:cubicBezTo>
                  <a:cubicBezTo>
                    <a:pt x="21600" y="4765"/>
                    <a:pt x="16835" y="0"/>
                    <a:pt x="10800" y="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dirty="0">
                <a:latin typeface="Arial Regular"/>
              </a:endParaRPr>
            </a:p>
          </p:txBody>
        </p:sp>
      </p:grpSp>
      <p:sp>
        <p:nvSpPr>
          <p:cNvPr id="493" name="TextBox 10"/>
          <p:cNvSpPr txBox="1"/>
          <p:nvPr/>
        </p:nvSpPr>
        <p:spPr>
          <a:xfrm>
            <a:off x="752430" y="3700343"/>
            <a:ext cx="6688275" cy="4001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>
              <a:defRPr sz="1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IE" sz="2000" dirty="0"/>
              <a:t>Deirdre O’Neill, Senior Regional Development Executive </a:t>
            </a:r>
          </a:p>
        </p:txBody>
      </p:sp>
      <p:sp>
        <p:nvSpPr>
          <p:cNvPr id="494" name="TextBox 9"/>
          <p:cNvSpPr txBox="1"/>
          <p:nvPr/>
        </p:nvSpPr>
        <p:spPr>
          <a:xfrm>
            <a:off x="1175672" y="563241"/>
            <a:ext cx="3881347" cy="132343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4000">
                <a:solidFill>
                  <a:srgbClr val="042D4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IE" dirty="0">
                <a:solidFill>
                  <a:schemeClr val="bg1"/>
                </a:solidFill>
              </a:rPr>
              <a:t>Enterprise Week 2019 </a:t>
            </a:r>
            <a:endParaRPr dirty="0">
              <a:solidFill>
                <a:schemeClr val="bg1"/>
              </a:solidFill>
            </a:endParaRPr>
          </a:p>
        </p:txBody>
      </p:sp>
      <p:pic>
        <p:nvPicPr>
          <p:cNvPr id="496" name="Picture 4" descr="Picture 4"/>
          <p:cNvPicPr>
            <a:picLocks noChangeAspect="1"/>
          </p:cNvPicPr>
          <p:nvPr/>
        </p:nvPicPr>
        <p:blipFill>
          <a:blip r:embed="rId3">
            <a:extLst/>
          </a:blip>
          <a:srcRect l="61216"/>
          <a:stretch>
            <a:fillRect/>
          </a:stretch>
        </p:blipFill>
        <p:spPr>
          <a:xfrm>
            <a:off x="-1" y="1466650"/>
            <a:ext cx="558849" cy="1440936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499" name="Group 14"/>
          <p:cNvGrpSpPr/>
          <p:nvPr/>
        </p:nvGrpSpPr>
        <p:grpSpPr>
          <a:xfrm>
            <a:off x="558848" y="1886680"/>
            <a:ext cx="616823" cy="616823"/>
            <a:chOff x="0" y="0"/>
            <a:chExt cx="616821" cy="616821"/>
          </a:xfrm>
        </p:grpSpPr>
        <p:sp>
          <p:nvSpPr>
            <p:cNvPr id="497" name="Oval 12"/>
            <p:cNvSpPr/>
            <p:nvPr/>
          </p:nvSpPr>
          <p:spPr>
            <a:xfrm>
              <a:off x="0" y="0"/>
              <a:ext cx="616822" cy="616822"/>
            </a:xfrm>
            <a:prstGeom prst="ellipse">
              <a:avLst/>
            </a:prstGeom>
            <a:solidFill>
              <a:srgbClr val="F16463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</a:defRPr>
              </a:pPr>
              <a:endParaRPr dirty="0">
                <a:latin typeface="Arial Regular"/>
              </a:endParaRPr>
            </a:p>
          </p:txBody>
        </p:sp>
        <p:sp>
          <p:nvSpPr>
            <p:cNvPr id="498" name="Oval 13"/>
            <p:cNvSpPr/>
            <p:nvPr/>
          </p:nvSpPr>
          <p:spPr>
            <a:xfrm>
              <a:off x="142782" y="142782"/>
              <a:ext cx="331259" cy="331259"/>
            </a:xfrm>
            <a:prstGeom prst="ellipse">
              <a:avLst/>
            </a:prstGeom>
            <a:solidFill>
              <a:srgbClr val="042D43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</a:defRPr>
              </a:pPr>
              <a:endParaRPr dirty="0">
                <a:latin typeface="Arial Regular"/>
              </a:endParaRPr>
            </a:p>
          </p:txBody>
        </p:sp>
      </p:grpSp>
      <p:sp>
        <p:nvSpPr>
          <p:cNvPr id="500" name="Rectangle 15"/>
          <p:cNvSpPr/>
          <p:nvPr/>
        </p:nvSpPr>
        <p:spPr>
          <a:xfrm>
            <a:off x="-1" y="-1"/>
            <a:ext cx="558850" cy="558850"/>
          </a:xfrm>
          <a:prstGeom prst="rect">
            <a:avLst/>
          </a:prstGeom>
          <a:solidFill>
            <a:srgbClr val="2DC0D3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latin typeface="Arial Regular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" name="Content Placeholder 8"/>
          <p:cNvSpPr txBox="1"/>
          <p:nvPr/>
        </p:nvSpPr>
        <p:spPr>
          <a:xfrm>
            <a:off x="784899" y="1460901"/>
            <a:ext cx="5211444" cy="6104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>
              <a:spcBef>
                <a:spcPts val="200"/>
              </a:spcBef>
              <a:defRPr sz="1600">
                <a:solidFill>
                  <a:srgbClr val="164776"/>
                </a:solidFill>
                <a:latin typeface="Arial"/>
                <a:ea typeface="Arial"/>
                <a:cs typeface="Arial"/>
                <a:sym typeface="Arial"/>
              </a:defRPr>
            </a:pPr>
            <a:endParaRPr dirty="0">
              <a:solidFill>
                <a:schemeClr val="tx1"/>
              </a:solidFill>
            </a:endParaRPr>
          </a:p>
          <a:p>
            <a:pPr>
              <a:spcBef>
                <a:spcPts val="200"/>
              </a:spcBef>
              <a:defRPr sz="1600">
                <a:solidFill>
                  <a:srgbClr val="164776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IE" dirty="0">
                <a:solidFill>
                  <a:schemeClr val="tx1"/>
                </a:solidFill>
              </a:rPr>
              <a:t>Paragraph</a:t>
            </a:r>
            <a:endParaRPr dirty="0">
              <a:solidFill>
                <a:schemeClr val="tx1"/>
              </a:solidFill>
            </a:endParaRPr>
          </a:p>
        </p:txBody>
      </p:sp>
      <p:graphicFrame>
        <p:nvGraphicFramePr>
          <p:cNvPr id="4" name="Content Placeholder 8">
            <a:extLst>
              <a:ext uri="{FF2B5EF4-FFF2-40B4-BE49-F238E27FC236}">
                <a16:creationId xmlns:a16="http://schemas.microsoft.com/office/drawing/2014/main" id="{AC14320D-FB83-423F-B8D5-32A58C99BEF8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265113" y="1105236"/>
          <a:ext cx="10018712" cy="16695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Rounded Rectangle 29">
            <a:extLst>
              <a:ext uri="{FF2B5EF4-FFF2-40B4-BE49-F238E27FC236}">
                <a16:creationId xmlns:a16="http://schemas.microsoft.com/office/drawing/2014/main" id="{A6D9461C-216A-4712-B392-5846F3110F57}"/>
              </a:ext>
            </a:extLst>
          </p:cNvPr>
          <p:cNvSpPr/>
          <p:nvPr/>
        </p:nvSpPr>
        <p:spPr>
          <a:xfrm rot="5400000">
            <a:off x="1717178" y="1288681"/>
            <a:ext cx="1108034" cy="4012164"/>
          </a:xfrm>
          <a:prstGeom prst="round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E" sz="1400" b="1" dirty="0">
                <a:solidFill>
                  <a:schemeClr val="tx1"/>
                </a:solidFill>
              </a:rPr>
              <a:t>New Frontiers Programm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E" sz="11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national entrepreneur development programme, delivered by Institutes of Technology and funded by Enterprise Ireland – supports include Mentoring; Office Space and €15k tax free scholarship</a:t>
            </a:r>
          </a:p>
        </p:txBody>
      </p:sp>
      <p:sp>
        <p:nvSpPr>
          <p:cNvPr id="6" name="Rounded Rectangle 29">
            <a:extLst>
              <a:ext uri="{FF2B5EF4-FFF2-40B4-BE49-F238E27FC236}">
                <a16:creationId xmlns:a16="http://schemas.microsoft.com/office/drawing/2014/main" id="{B214D008-AAD7-470E-8747-199D03A12D07}"/>
              </a:ext>
            </a:extLst>
          </p:cNvPr>
          <p:cNvSpPr/>
          <p:nvPr/>
        </p:nvSpPr>
        <p:spPr>
          <a:xfrm rot="5400000">
            <a:off x="2412138" y="2380231"/>
            <a:ext cx="1309727" cy="4414932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CAL ENTERPRISE OFFICE (LEO)</a:t>
            </a:r>
          </a:p>
          <a:p>
            <a:pPr lvl="0" algn="ctr"/>
            <a:r>
              <a:rPr lang="en-IE" sz="11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orking in partnership with Enterprise Ireland are 31 dedicated teams across Ireland to assist entrepreneurs, early stage promoters, start-ups and small business looking to expand.  Supports include Feasibility Grants; Mentors; training programmes and Priming / Business Expansion Grants</a:t>
            </a:r>
            <a:endParaRPr lang="en-US" sz="11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Rounded Rectangle 29">
            <a:extLst>
              <a:ext uri="{FF2B5EF4-FFF2-40B4-BE49-F238E27FC236}">
                <a16:creationId xmlns:a16="http://schemas.microsoft.com/office/drawing/2014/main" id="{94205B18-ACDE-4308-9469-C49800C9EEC4}"/>
              </a:ext>
            </a:extLst>
          </p:cNvPr>
          <p:cNvSpPr/>
          <p:nvPr/>
        </p:nvSpPr>
        <p:spPr>
          <a:xfrm rot="5400000">
            <a:off x="7277483" y="1929819"/>
            <a:ext cx="1309727" cy="5315760"/>
          </a:xfrm>
          <a:prstGeom prst="roundRect">
            <a:avLst/>
          </a:prstGeom>
          <a:pattFill prst="dkVert">
            <a:fgClr>
              <a:schemeClr val="accent5">
                <a:lumMod val="40000"/>
                <a:lumOff val="60000"/>
              </a:schemeClr>
            </a:fgClr>
            <a:bgClr>
              <a:schemeClr val="bg1"/>
            </a:bgClr>
          </a:patt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CAL ENTERPRISE OFFICE (LEO)</a:t>
            </a:r>
          </a:p>
          <a:p>
            <a:pPr algn="ctr"/>
            <a:endParaRPr lang="en-IE" sz="14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 algn="ctr"/>
            <a:r>
              <a:rPr lang="en-IE" sz="16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ss than 10 not seeking equity investment</a:t>
            </a:r>
          </a:p>
          <a:p>
            <a:pPr lvl="0" algn="ctr"/>
            <a:endParaRPr lang="en-IE" sz="1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 algn="ctr"/>
            <a:r>
              <a:rPr lang="en-IE" sz="16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en-US" sz="1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Rounded Rectangle 19">
            <a:extLst>
              <a:ext uri="{FF2B5EF4-FFF2-40B4-BE49-F238E27FC236}">
                <a16:creationId xmlns:a16="http://schemas.microsoft.com/office/drawing/2014/main" id="{E4EF8D2C-AB52-47A1-AC79-8FA0396710C0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6464340" y="2591064"/>
            <a:ext cx="1393779" cy="6858000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00B050"/>
              </a:gs>
              <a:gs pos="14000">
                <a:srgbClr val="00B050"/>
              </a:gs>
              <a:gs pos="46001">
                <a:srgbClr val="FFFF00"/>
              </a:gs>
              <a:gs pos="61000">
                <a:srgbClr val="FFC000"/>
              </a:gs>
              <a:gs pos="100000">
                <a:srgbClr val="0070C0"/>
              </a:gs>
            </a:gsLst>
            <a:lin ang="5400000" scaled="1"/>
          </a:gradFill>
          <a:ln w="25400" algn="ctr">
            <a:solidFill>
              <a:schemeClr val="tx1"/>
            </a:solidFill>
            <a:round/>
            <a:headEnd/>
            <a:tailEnd/>
          </a:ln>
        </p:spPr>
        <p:txBody>
          <a:bodyPr rot="10800000" vert="eaVert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E" b="1" dirty="0"/>
              <a:t>Enterprise Ireland HPSU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E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veloping Irish start-ups with the capability to scale internationally at an accelerated pac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E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E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E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E" sz="1400" b="1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B65733A-1A39-41D6-B955-5007156295D2}"/>
              </a:ext>
            </a:extLst>
          </p:cNvPr>
          <p:cNvSpPr/>
          <p:nvPr/>
        </p:nvSpPr>
        <p:spPr>
          <a:xfrm>
            <a:off x="3732229" y="5501156"/>
            <a:ext cx="2412539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n-US" sz="1400" b="1" dirty="0"/>
          </a:p>
          <a:p>
            <a:pPr algn="ctr"/>
            <a:endParaRPr lang="en-US" sz="1400" b="1" dirty="0"/>
          </a:p>
          <a:p>
            <a:pPr algn="ctr"/>
            <a:r>
              <a:rPr lang="en-US" sz="1400" b="1" dirty="0"/>
              <a:t>Start</a:t>
            </a:r>
            <a:r>
              <a:rPr lang="en-US" sz="1200" dirty="0"/>
              <a:t> </a:t>
            </a:r>
          </a:p>
          <a:p>
            <a:pPr algn="ctr"/>
            <a:r>
              <a:rPr lang="en-US" sz="1200" dirty="0"/>
              <a:t>Mentor; Development Programs;</a:t>
            </a:r>
          </a:p>
          <a:p>
            <a:pPr algn="ctr"/>
            <a:r>
              <a:rPr lang="en-US" sz="1200" dirty="0"/>
              <a:t>€15k </a:t>
            </a:r>
            <a:r>
              <a:rPr lang="en-US" sz="1200" dirty="0" err="1"/>
              <a:t>grant;Market</a:t>
            </a:r>
            <a:r>
              <a:rPr lang="en-US" sz="1200" dirty="0"/>
              <a:t> Research Centre; </a:t>
            </a:r>
            <a:r>
              <a:rPr lang="en-IE" sz="1200" dirty="0"/>
              <a:t>€50k Equity Investment</a:t>
            </a:r>
            <a:endParaRPr lang="en-US" sz="12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E85DCDD-1ADC-431F-83DB-E22AB3C0DC31}"/>
              </a:ext>
            </a:extLst>
          </p:cNvPr>
          <p:cNvSpPr/>
          <p:nvPr/>
        </p:nvSpPr>
        <p:spPr>
          <a:xfrm>
            <a:off x="8163092" y="5487621"/>
            <a:ext cx="2427136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n-US" sz="1400" b="1" dirty="0"/>
          </a:p>
          <a:p>
            <a:pPr algn="ctr"/>
            <a:endParaRPr lang="en-US" sz="1400" b="1" dirty="0"/>
          </a:p>
          <a:p>
            <a:pPr algn="ctr"/>
            <a:r>
              <a:rPr lang="en-US" sz="1400" b="1" dirty="0"/>
              <a:t>Accelerate</a:t>
            </a:r>
            <a:r>
              <a:rPr lang="en-US" sz="1200" dirty="0"/>
              <a:t> </a:t>
            </a:r>
          </a:p>
          <a:p>
            <a:pPr algn="ctr"/>
            <a:r>
              <a:rPr lang="en-US" sz="1200" dirty="0"/>
              <a:t>C€250k Equity Investment; Overseas Office Support; </a:t>
            </a:r>
            <a:r>
              <a:rPr lang="en-IE" sz="1200" dirty="0"/>
              <a:t>G</a:t>
            </a:r>
            <a:r>
              <a:rPr lang="en-US" sz="1200" dirty="0"/>
              <a:t>rants</a:t>
            </a:r>
          </a:p>
          <a:p>
            <a:pPr algn="ctr"/>
            <a:r>
              <a:rPr lang="en-IE" sz="1200" dirty="0"/>
              <a:t>Founders Forum</a:t>
            </a:r>
            <a:endParaRPr lang="en-US" sz="1200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DFA9FF8-AEBA-4ACC-A451-63CEA441475C}"/>
              </a:ext>
            </a:extLst>
          </p:cNvPr>
          <p:cNvSpPr txBox="1">
            <a:spLocks/>
          </p:cNvSpPr>
          <p:nvPr/>
        </p:nvSpPr>
        <p:spPr>
          <a:xfrm>
            <a:off x="503691" y="402034"/>
            <a:ext cx="10693697" cy="6054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3200">
                <a:latin typeface="Arial Bold" panose="020B0704020202020204" pitchFamily="34" charset="0"/>
                <a:ea typeface="+mj-ea"/>
                <a:cs typeface="Arial Bold" panose="020B0704020202020204" pitchFamily="34" charset="0"/>
              </a:defRPr>
            </a:lvl1pPr>
          </a:lstStyle>
          <a:p>
            <a:r>
              <a:rPr lang="en-IE" sz="2400" dirty="0">
                <a:solidFill>
                  <a:prstClr val="black"/>
                </a:solidFill>
              </a:rPr>
              <a:t>Support for Start Ups in Ireland ….. Based on stage of development</a:t>
            </a:r>
          </a:p>
        </p:txBody>
      </p:sp>
    </p:spTree>
    <p:extLst>
      <p:ext uri="{BB962C8B-B14F-4D97-AF65-F5344CB8AC3E}">
        <p14:creationId xmlns:p14="http://schemas.microsoft.com/office/powerpoint/2010/main" val="88310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5">
            <a:extLst>
              <a:ext uri="{FF2B5EF4-FFF2-40B4-BE49-F238E27FC236}">
                <a16:creationId xmlns:a16="http://schemas.microsoft.com/office/drawing/2014/main" id="{36C10220-3A9F-4D7D-9712-B4A9F66C30D3}"/>
              </a:ext>
            </a:extLst>
          </p:cNvPr>
          <p:cNvSpPr txBox="1">
            <a:spLocks/>
          </p:cNvSpPr>
          <p:nvPr/>
        </p:nvSpPr>
        <p:spPr>
          <a:xfrm>
            <a:off x="556532" y="643467"/>
            <a:ext cx="11210925" cy="744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  <a:lvl2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pPr algn="ctr" hangingPunct="1">
              <a:spcBef>
                <a:spcPct val="0"/>
              </a:spcBef>
              <a:spcAft>
                <a:spcPts val="600"/>
              </a:spcAft>
            </a:pPr>
            <a:r>
              <a:rPr lang="en-IE" sz="3200" kern="12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When does a start up come in………………</a:t>
            </a:r>
            <a:endParaRPr lang="en-US" sz="3200" kern="12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ABE887B-4355-4363-A2A3-CE606382AF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8634" y="1925582"/>
            <a:ext cx="8290940" cy="4394199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1049D6A-29AE-47FA-96A3-7DA3C28B2F59}"/>
              </a:ext>
            </a:extLst>
          </p:cNvPr>
          <p:cNvSpPr/>
          <p:nvPr/>
        </p:nvSpPr>
        <p:spPr>
          <a:xfrm>
            <a:off x="898634" y="1623848"/>
            <a:ext cx="3626069" cy="4997669"/>
          </a:xfrm>
          <a:prstGeom prst="roundRect">
            <a:avLst/>
          </a:prstGeom>
          <a:noFill/>
          <a:ln w="57150"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DCF0073-2B65-4856-A96B-7A5F15ED8C9F}"/>
              </a:ext>
            </a:extLst>
          </p:cNvPr>
          <p:cNvSpPr txBox="1"/>
          <p:nvPr/>
        </p:nvSpPr>
        <p:spPr>
          <a:xfrm>
            <a:off x="831243" y="1396588"/>
            <a:ext cx="3454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E" b="1" dirty="0"/>
              <a:t>Prospecting &amp; Stakeholder engagement </a:t>
            </a:r>
          </a:p>
        </p:txBody>
      </p:sp>
    </p:spTree>
    <p:extLst>
      <p:ext uri="{BB962C8B-B14F-4D97-AF65-F5344CB8AC3E}">
        <p14:creationId xmlns:p14="http://schemas.microsoft.com/office/powerpoint/2010/main" val="466747988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C0B400F-021A-40FB-9EB2-1F3E117AA959}"/>
              </a:ext>
            </a:extLst>
          </p:cNvPr>
          <p:cNvSpPr/>
          <p:nvPr/>
        </p:nvSpPr>
        <p:spPr>
          <a:xfrm>
            <a:off x="914399" y="2496437"/>
            <a:ext cx="9775767" cy="28586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20000"/>
              </a:spcBef>
            </a:pPr>
            <a:r>
              <a:rPr lang="en-GB" altLang="en-US" sz="2800" b="1" u="sng" dirty="0">
                <a:solidFill>
                  <a:schemeClr val="accent2"/>
                </a:solidFill>
                <a:cs typeface="Arial" panose="020B0604020202020204" pitchFamily="34" charset="0"/>
              </a:rPr>
              <a:t>New Frontiers:</a:t>
            </a:r>
            <a:r>
              <a:rPr lang="en-GB" altLang="en-US" sz="2800" dirty="0">
                <a:solidFill>
                  <a:schemeClr val="accent2"/>
                </a:solidFill>
                <a:cs typeface="Arial" panose="020B0604020202020204" pitchFamily="34" charset="0"/>
              </a:rPr>
              <a:t> </a:t>
            </a:r>
          </a:p>
          <a:p>
            <a:pPr algn="ctr">
              <a:lnSpc>
                <a:spcPct val="80000"/>
              </a:lnSpc>
              <a:spcBef>
                <a:spcPct val="20000"/>
              </a:spcBef>
            </a:pPr>
            <a:r>
              <a:rPr lang="en-GB" altLang="en-US" sz="2800" dirty="0">
                <a:solidFill>
                  <a:schemeClr val="accent2"/>
                </a:solidFill>
                <a:cs typeface="Arial" panose="020B0604020202020204" pitchFamily="34" charset="0"/>
              </a:rPr>
              <a:t>Ireland’s National entrepreneur development programme, delivered at local level by the Institutes of Technology.</a:t>
            </a:r>
          </a:p>
          <a:p>
            <a:pPr algn="ctr">
              <a:lnSpc>
                <a:spcPct val="80000"/>
              </a:lnSpc>
              <a:spcBef>
                <a:spcPct val="20000"/>
              </a:spcBef>
            </a:pPr>
            <a:endParaRPr lang="en-IE" altLang="en-US" sz="2800" dirty="0">
              <a:solidFill>
                <a:schemeClr val="accent2"/>
              </a:solidFill>
              <a:cs typeface="Arial" panose="020B0604020202020204" pitchFamily="34" charset="0"/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</a:pPr>
            <a:r>
              <a:rPr lang="en-IE" altLang="en-US" sz="2800" b="1" u="sng" dirty="0">
                <a:solidFill>
                  <a:schemeClr val="accent2"/>
                </a:solidFill>
                <a:cs typeface="Arial" panose="020B0604020202020204" pitchFamily="34" charset="0"/>
              </a:rPr>
              <a:t>Objective:</a:t>
            </a:r>
            <a:r>
              <a:rPr lang="en-IE" altLang="en-US" sz="2800" dirty="0">
                <a:solidFill>
                  <a:schemeClr val="accent2"/>
                </a:solidFill>
                <a:cs typeface="Arial" panose="020B0604020202020204" pitchFamily="34" charset="0"/>
              </a:rPr>
              <a:t>  </a:t>
            </a:r>
          </a:p>
          <a:p>
            <a:pPr algn="ctr">
              <a:lnSpc>
                <a:spcPct val="80000"/>
              </a:lnSpc>
              <a:spcBef>
                <a:spcPct val="20000"/>
              </a:spcBef>
            </a:pPr>
            <a:r>
              <a:rPr lang="en-IE" altLang="en-US" sz="2800" dirty="0">
                <a:solidFill>
                  <a:schemeClr val="accent2"/>
                </a:solidFill>
                <a:cs typeface="Arial" panose="020B0604020202020204" pitchFamily="34" charset="0"/>
              </a:rPr>
              <a:t>Accelerate the development of entrepreneurs and the creation of sustainable new businesses across the region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B606C54-DBBF-48C9-83C6-01ED4EA8B94B}"/>
              </a:ext>
            </a:extLst>
          </p:cNvPr>
          <p:cNvSpPr/>
          <p:nvPr/>
        </p:nvSpPr>
        <p:spPr>
          <a:xfrm>
            <a:off x="582259" y="584261"/>
            <a:ext cx="479971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E" altLang="en-US" sz="2800" b="1" dirty="0">
                <a:solidFill>
                  <a:schemeClr val="accent2"/>
                </a:solidFill>
                <a:latin typeface="Arial" panose="020B0604020202020204" pitchFamily="34" charset="0"/>
              </a:rPr>
              <a:t>Entrepreneur Development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058481969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5">
            <a:extLst>
              <a:ext uri="{FF2B5EF4-FFF2-40B4-BE49-F238E27FC236}">
                <a16:creationId xmlns:a16="http://schemas.microsoft.com/office/drawing/2014/main" id="{1491C3E5-0107-4805-A905-D316862D07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0158" y="2035825"/>
            <a:ext cx="8224217" cy="4279763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A95DE10-5E72-4263-B5F5-85A488A4B3D9}"/>
              </a:ext>
            </a:extLst>
          </p:cNvPr>
          <p:cNvSpPr/>
          <p:nvPr/>
        </p:nvSpPr>
        <p:spPr>
          <a:xfrm>
            <a:off x="1127760" y="542412"/>
            <a:ext cx="722376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E" altLang="en-US" sz="2800" b="1" dirty="0">
                <a:solidFill>
                  <a:schemeClr val="accent2"/>
                </a:solidFill>
                <a:latin typeface="Arial" panose="020B0604020202020204" pitchFamily="34" charset="0"/>
              </a:rPr>
              <a:t>New Frontiers  - Entrepreneurship Development Programme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041991288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C09677E-30D8-44FC-B26C-458177119DCE}"/>
              </a:ext>
            </a:extLst>
          </p:cNvPr>
          <p:cNvSpPr/>
          <p:nvPr/>
        </p:nvSpPr>
        <p:spPr>
          <a:xfrm>
            <a:off x="914400" y="1859340"/>
            <a:ext cx="8229600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E" sz="2400" dirty="0">
                <a:solidFill>
                  <a:srgbClr val="0070C0"/>
                </a:solidFill>
              </a:rPr>
              <a:t>€5,000 available to assist a company or companies to explore a business opportunity or problem with a registered knowledge provider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E" sz="2400" dirty="0">
                <a:solidFill>
                  <a:srgbClr val="0070C0"/>
                </a:solidFill>
              </a:rPr>
              <a:t>Max. 3 vouchers (1 a 50-50 co-funded Fast Track voucher)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E" sz="2400" dirty="0">
                <a:solidFill>
                  <a:srgbClr val="0070C0"/>
                </a:solidFill>
              </a:rPr>
              <a:t>Open calls for standard vouchers check websit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E" sz="2400" dirty="0">
                <a:solidFill>
                  <a:srgbClr val="0070C0"/>
                </a:solidFill>
              </a:rPr>
              <a:t>50-50 co-funded Fast Track Applications - may be submitted anyt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E" sz="2400" dirty="0">
                <a:solidFill>
                  <a:srgbClr val="0070C0"/>
                </a:solidFill>
              </a:rPr>
              <a:t>Check website for conditions, Dates and listed colleg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E" sz="2400" dirty="0">
                <a:solidFill>
                  <a:schemeClr val="accent1">
                    <a:lumMod val="75000"/>
                  </a:schemeClr>
                </a:solidFill>
              </a:rPr>
              <a:t>Please note that Innovation Vouchers are </a:t>
            </a:r>
            <a:r>
              <a:rPr lang="en-IE" sz="2400" b="1" dirty="0">
                <a:solidFill>
                  <a:schemeClr val="accent1">
                    <a:lumMod val="75000"/>
                  </a:schemeClr>
                </a:solidFill>
              </a:rPr>
              <a:t>EXCLUSIVE OF VAT.</a:t>
            </a:r>
            <a:r>
              <a:rPr lang="en-IE" sz="2400" dirty="0">
                <a:solidFill>
                  <a:schemeClr val="accent1">
                    <a:lumMod val="75000"/>
                  </a:schemeClr>
                </a:solidFill>
              </a:rPr>
              <a:t> You will be charged VAT by the knowledge provider and this cost MUST be settled separately by the company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803523B-A758-4547-9927-C6ACDBAFB209}"/>
              </a:ext>
            </a:extLst>
          </p:cNvPr>
          <p:cNvSpPr txBox="1">
            <a:spLocks/>
          </p:cNvSpPr>
          <p:nvPr/>
        </p:nvSpPr>
        <p:spPr>
          <a:xfrm>
            <a:off x="102634" y="240621"/>
            <a:ext cx="4702447" cy="521284"/>
          </a:xfrm>
          <a:prstGeom prst="rect">
            <a:avLst/>
          </a:prstGeom>
        </p:spPr>
        <p:txBody>
          <a:bodyPr>
            <a:normAutofit fontScale="75000" lnSpcReduction="20000"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  <a:lvl2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pPr hangingPunct="1"/>
            <a:r>
              <a:rPr lang="en-IE" sz="4800">
                <a:solidFill>
                  <a:schemeClr val="accent2"/>
                </a:solidFill>
              </a:rPr>
              <a:t>Innovation Voucher</a:t>
            </a:r>
            <a:endParaRPr lang="en-US" sz="4800" dirty="0">
              <a:solidFill>
                <a:schemeClr val="accent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63942361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B880C49-AA9D-412E-8844-C7004D1EE1DF}"/>
              </a:ext>
            </a:extLst>
          </p:cNvPr>
          <p:cNvSpPr/>
          <p:nvPr/>
        </p:nvSpPr>
        <p:spPr>
          <a:xfrm>
            <a:off x="1173480" y="2154318"/>
            <a:ext cx="7269480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E" sz="2400" dirty="0">
                <a:solidFill>
                  <a:srgbClr val="0070C0"/>
                </a:solidFill>
              </a:rPr>
              <a:t>Innovation Vouchers can be used for any kind of innovation such as:</a:t>
            </a:r>
          </a:p>
          <a:p>
            <a:endParaRPr lang="en-IE" sz="2400" dirty="0">
              <a:solidFill>
                <a:srgbClr val="0070C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E" sz="2400" dirty="0">
                <a:solidFill>
                  <a:srgbClr val="0070C0"/>
                </a:solidFill>
              </a:rPr>
              <a:t>new product/process development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E" sz="2400" dirty="0">
                <a:solidFill>
                  <a:srgbClr val="0070C0"/>
                </a:solidFill>
              </a:rPr>
              <a:t>new business model development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E" sz="2400" dirty="0">
                <a:solidFill>
                  <a:srgbClr val="0070C0"/>
                </a:solidFill>
              </a:rPr>
              <a:t>new service delivery and customer interface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E" sz="2400" dirty="0">
                <a:solidFill>
                  <a:srgbClr val="0070C0"/>
                </a:solidFill>
              </a:rPr>
              <a:t>new service development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E" sz="2400" dirty="0">
                <a:solidFill>
                  <a:srgbClr val="0070C0"/>
                </a:solidFill>
              </a:rPr>
              <a:t>tailored training in innovation management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E" sz="2400" dirty="0">
                <a:solidFill>
                  <a:srgbClr val="0070C0"/>
                </a:solidFill>
              </a:rPr>
              <a:t>innovation/technology audit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8A36BBB-79CD-432B-8E0C-E5962669AEAA}"/>
              </a:ext>
            </a:extLst>
          </p:cNvPr>
          <p:cNvSpPr/>
          <p:nvPr/>
        </p:nvSpPr>
        <p:spPr>
          <a:xfrm>
            <a:off x="487681" y="537030"/>
            <a:ext cx="48956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E" sz="2800" dirty="0">
                <a:solidFill>
                  <a:schemeClr val="accent2"/>
                </a:solidFill>
              </a:rPr>
              <a:t>Permitted uses for voucher 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925589950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A97C9EC-7677-4A19-B290-8C91AA38EF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4568158"/>
              </p:ext>
            </p:extLst>
          </p:nvPr>
        </p:nvGraphicFramePr>
        <p:xfrm>
          <a:off x="381000" y="2446020"/>
          <a:ext cx="10911840" cy="2705100"/>
        </p:xfrm>
        <a:graphic>
          <a:graphicData uri="http://schemas.openxmlformats.org/drawingml/2006/table">
            <a:tbl>
              <a:tblPr/>
              <a:tblGrid>
                <a:gridCol w="5425440">
                  <a:extLst>
                    <a:ext uri="{9D8B030D-6E8A-4147-A177-3AD203B41FA5}">
                      <a16:colId xmlns:a16="http://schemas.microsoft.com/office/drawing/2014/main" val="2807378853"/>
                    </a:ext>
                  </a:extLst>
                </a:gridCol>
                <a:gridCol w="5486400">
                  <a:extLst>
                    <a:ext uri="{9D8B030D-6E8A-4147-A177-3AD203B41FA5}">
                      <a16:colId xmlns:a16="http://schemas.microsoft.com/office/drawing/2014/main" val="1071419250"/>
                    </a:ext>
                  </a:extLst>
                </a:gridCol>
              </a:tblGrid>
              <a:tr h="676275">
                <a:tc gridSpan="2">
                  <a:txBody>
                    <a:bodyPr/>
                    <a:lstStyle/>
                    <a:p>
                      <a:pPr algn="l"/>
                      <a:r>
                        <a:rPr lang="en-IE" sz="2000" b="1" dirty="0">
                          <a:solidFill>
                            <a:schemeClr val="accent1"/>
                          </a:solidFill>
                        </a:rPr>
                        <a:t>Call Schedule - Open Calls for Standard Innovation Voucher Applications in 2019</a:t>
                      </a:r>
                      <a:endParaRPr lang="en-IE" sz="2000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55065893"/>
                  </a:ext>
                </a:extLst>
              </a:tr>
              <a:tr h="676275">
                <a:tc>
                  <a:txBody>
                    <a:bodyPr/>
                    <a:lstStyle/>
                    <a:p>
                      <a:pPr algn="l"/>
                      <a:r>
                        <a:rPr lang="en-US" sz="2000" dirty="0">
                          <a:solidFill>
                            <a:schemeClr val="accent1"/>
                          </a:solidFill>
                        </a:rPr>
                        <a:t>Opening Dat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>
                          <a:solidFill>
                            <a:schemeClr val="accent1"/>
                          </a:solidFill>
                        </a:rPr>
                        <a:t>Closing Dat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1472900"/>
                  </a:ext>
                </a:extLst>
              </a:tr>
              <a:tr h="676275">
                <a:tc>
                  <a:txBody>
                    <a:bodyPr/>
                    <a:lstStyle/>
                    <a:p>
                      <a:pPr algn="l"/>
                      <a:r>
                        <a:rPr lang="en-US" sz="2000" dirty="0">
                          <a:solidFill>
                            <a:schemeClr val="accent1"/>
                          </a:solidFill>
                        </a:rPr>
                        <a:t>Wednesday 9th January,2019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E" sz="2000">
                          <a:solidFill>
                            <a:schemeClr val="accent1"/>
                          </a:solidFill>
                        </a:rPr>
                        <a:t>Wednesday 23rd January, 2019 at 3pm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3397380"/>
                  </a:ext>
                </a:extLst>
              </a:tr>
              <a:tr h="676275">
                <a:tc>
                  <a:txBody>
                    <a:bodyPr/>
                    <a:lstStyle/>
                    <a:p>
                      <a:pPr algn="l"/>
                      <a:r>
                        <a:rPr lang="en-US" sz="2000" dirty="0">
                          <a:solidFill>
                            <a:schemeClr val="accent1"/>
                          </a:solidFill>
                        </a:rPr>
                        <a:t>Wednesday 1st May, 2019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E" sz="2000" dirty="0">
                          <a:solidFill>
                            <a:schemeClr val="accent1"/>
                          </a:solidFill>
                        </a:rPr>
                        <a:t>Wednesday 15th May, 2019 at 3pm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0978980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22B0E6EB-ECF1-4A65-835F-B7BC4FC411D7}"/>
              </a:ext>
            </a:extLst>
          </p:cNvPr>
          <p:cNvSpPr/>
          <p:nvPr/>
        </p:nvSpPr>
        <p:spPr>
          <a:xfrm>
            <a:off x="1127760" y="1066800"/>
            <a:ext cx="356616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E" sz="2800" dirty="0">
                <a:solidFill>
                  <a:schemeClr val="accent2"/>
                </a:solidFill>
              </a:rPr>
              <a:t>Innovation Vouchers 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4132175217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7EA702A-4CAD-452A-9773-00A0505FE67E}"/>
              </a:ext>
            </a:extLst>
          </p:cNvPr>
          <p:cNvSpPr txBox="1"/>
          <p:nvPr/>
        </p:nvSpPr>
        <p:spPr>
          <a:xfrm>
            <a:off x="468958" y="69591"/>
            <a:ext cx="110135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3200" b="1" dirty="0">
                <a:solidFill>
                  <a:schemeClr val="accent2"/>
                </a:solidFill>
              </a:rPr>
              <a:t>Supporting the Development of</a:t>
            </a:r>
            <a:br>
              <a:rPr lang="en-IE" sz="3200" b="1" dirty="0">
                <a:solidFill>
                  <a:schemeClr val="accent2"/>
                </a:solidFill>
              </a:rPr>
            </a:br>
            <a:r>
              <a:rPr lang="en-IE" sz="3200" b="1" dirty="0">
                <a:solidFill>
                  <a:schemeClr val="accent2"/>
                </a:solidFill>
              </a:rPr>
              <a:t>High Potential Start Up (HPSU) Companies</a:t>
            </a:r>
            <a:endParaRPr lang="en-GB" sz="3200" b="1" baseline="30000" dirty="0">
              <a:solidFill>
                <a:schemeClr val="accent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93E35A7-B189-4669-9CCA-2C8CE5D2CAAF}"/>
              </a:ext>
            </a:extLst>
          </p:cNvPr>
          <p:cNvSpPr/>
          <p:nvPr/>
        </p:nvSpPr>
        <p:spPr>
          <a:xfrm>
            <a:off x="709534" y="1517901"/>
            <a:ext cx="8434466" cy="49859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0070C0"/>
                </a:solidFill>
              </a:rPr>
              <a:t>The company must be :</a:t>
            </a:r>
          </a:p>
          <a:p>
            <a:endParaRPr lang="en-GB" sz="800" dirty="0">
              <a:solidFill>
                <a:srgbClr val="0070C0"/>
              </a:solidFill>
            </a:endParaRPr>
          </a:p>
          <a:p>
            <a:pPr>
              <a:lnSpc>
                <a:spcPct val="150000"/>
              </a:lnSpc>
              <a:buFont typeface="Wingdings" pitchFamily="2" charset="2"/>
              <a:buAutoNum type="arabicPeriod"/>
            </a:pPr>
            <a:r>
              <a:rPr lang="en-GB" sz="2400" dirty="0">
                <a:solidFill>
                  <a:srgbClr val="0070C0"/>
                </a:solidFill>
              </a:rPr>
              <a:t>Recently established – Less than 5 years old</a:t>
            </a:r>
          </a:p>
          <a:p>
            <a:pPr>
              <a:lnSpc>
                <a:spcPct val="150000"/>
              </a:lnSpc>
              <a:buFont typeface="Wingdings" pitchFamily="2" charset="2"/>
              <a:buAutoNum type="arabicPeriod"/>
            </a:pPr>
            <a:r>
              <a:rPr lang="en-GB" sz="2400" dirty="0">
                <a:solidFill>
                  <a:srgbClr val="0070C0"/>
                </a:solidFill>
              </a:rPr>
              <a:t>Innovative (operating in a growth sector)</a:t>
            </a:r>
          </a:p>
          <a:p>
            <a:pPr>
              <a:lnSpc>
                <a:spcPct val="150000"/>
              </a:lnSpc>
              <a:buFont typeface="Wingdings" pitchFamily="2" charset="2"/>
              <a:buAutoNum type="arabicPeriod"/>
            </a:pPr>
            <a:r>
              <a:rPr lang="en-GB" sz="2400" dirty="0">
                <a:solidFill>
                  <a:srgbClr val="0070C0"/>
                </a:solidFill>
              </a:rPr>
              <a:t>Capable of generating at least :</a:t>
            </a:r>
          </a:p>
          <a:p>
            <a:pPr marL="762000" lvl="1" indent="-304800">
              <a:lnSpc>
                <a:spcPct val="150000"/>
              </a:lnSpc>
            </a:pPr>
            <a:r>
              <a:rPr lang="en-GB" sz="2400" dirty="0">
                <a:solidFill>
                  <a:srgbClr val="0070C0"/>
                </a:solidFill>
              </a:rPr>
              <a:t>10 full time jobs (in Ireland) – in 3-4 years</a:t>
            </a:r>
          </a:p>
          <a:p>
            <a:pPr marL="762000" lvl="1" indent="-304800">
              <a:lnSpc>
                <a:spcPct val="150000"/>
              </a:lnSpc>
            </a:pPr>
            <a:r>
              <a:rPr lang="en-GB" sz="2400" dirty="0">
                <a:solidFill>
                  <a:srgbClr val="0070C0"/>
                </a:solidFill>
              </a:rPr>
              <a:t>Annual revenues of €1m – in 3-4 years</a:t>
            </a:r>
          </a:p>
          <a:p>
            <a:pPr>
              <a:lnSpc>
                <a:spcPct val="150000"/>
              </a:lnSpc>
              <a:buFont typeface="Wingdings" pitchFamily="2" charset="2"/>
              <a:buAutoNum type="arabicPeriod"/>
            </a:pPr>
            <a:r>
              <a:rPr lang="en-GB" sz="2400" dirty="0">
                <a:solidFill>
                  <a:srgbClr val="0070C0"/>
                </a:solidFill>
              </a:rPr>
              <a:t>International sales focus</a:t>
            </a:r>
          </a:p>
          <a:p>
            <a:pPr>
              <a:lnSpc>
                <a:spcPct val="150000"/>
              </a:lnSpc>
              <a:buFont typeface="Wingdings" pitchFamily="2" charset="2"/>
              <a:buAutoNum type="arabicPeriod"/>
            </a:pPr>
            <a:r>
              <a:rPr lang="en-GB" sz="2400" dirty="0">
                <a:solidFill>
                  <a:srgbClr val="0070C0"/>
                </a:solidFill>
              </a:rPr>
              <a:t>Headquartered &amp; controlled in Ireland</a:t>
            </a:r>
          </a:p>
          <a:p>
            <a:endParaRPr lang="en-IE" sz="1000" dirty="0">
              <a:solidFill>
                <a:srgbClr val="0070C0"/>
              </a:solidFill>
            </a:endParaRPr>
          </a:p>
          <a:p>
            <a:r>
              <a:rPr lang="en-IE" sz="2400" dirty="0">
                <a:solidFill>
                  <a:srgbClr val="0070C0"/>
                </a:solidFill>
              </a:rPr>
              <a:t>With Strong Management Team</a:t>
            </a:r>
            <a:endParaRPr lang="en-GB" sz="24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8528431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>
            <a:extLst>
              <a:ext uri="{FF2B5EF4-FFF2-40B4-BE49-F238E27FC236}">
                <a16:creationId xmlns:a16="http://schemas.microsoft.com/office/drawing/2014/main" id="{36C10220-3A9F-4D7D-9712-B4A9F66C30D3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9883588" cy="844573"/>
          </a:xfrm>
          <a:prstGeom prst="rect">
            <a:avLst/>
          </a:prstGeom>
        </p:spPr>
        <p:txBody>
          <a:bodyPr/>
          <a:lstStyle>
            <a:lvl1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  <a:lvl2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pPr hangingPunct="1"/>
            <a:r>
              <a:rPr lang="en-IE"/>
              <a:t>HPSU Funding </a:t>
            </a:r>
            <a:endParaRPr lang="en-US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68124C6-98B7-4D2E-9ACB-DB1CD8E8EA6B}"/>
              </a:ext>
            </a:extLst>
          </p:cNvPr>
          <p:cNvSpPr/>
          <p:nvPr/>
        </p:nvSpPr>
        <p:spPr>
          <a:xfrm>
            <a:off x="179295" y="1209698"/>
            <a:ext cx="10390693" cy="4729803"/>
          </a:xfrm>
          <a:prstGeom prst="round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>
              <a:buClr>
                <a:srgbClr val="00A8C7"/>
              </a:buClr>
            </a:pPr>
            <a:r>
              <a:rPr lang="en-IE" altLang="en-US" i="1" dirty="0">
                <a:solidFill>
                  <a:schemeClr val="tx1"/>
                </a:solidFill>
                <a:ea typeface="MS PGothic" panose="020B0600070205080204" pitchFamily="34" charset="-128"/>
              </a:rPr>
              <a:t>Enterprise Ireland works with promoters and 3rd parties to jointly fund a start up </a:t>
            </a:r>
          </a:p>
          <a:p>
            <a:pPr>
              <a:buClr>
                <a:srgbClr val="00A8C7"/>
              </a:buClr>
            </a:pPr>
            <a:r>
              <a:rPr lang="en-IE" altLang="en-US" i="1" dirty="0">
                <a:solidFill>
                  <a:schemeClr val="tx1"/>
                </a:solidFill>
                <a:ea typeface="MS PGothic" panose="020B0600070205080204" pitchFamily="34" charset="-128"/>
              </a:rPr>
              <a:t>business plan against agreed  milestones.</a:t>
            </a:r>
          </a:p>
          <a:p>
            <a:pPr>
              <a:buClr>
                <a:srgbClr val="00A8C7"/>
              </a:buClr>
            </a:pPr>
            <a:endParaRPr lang="en-IE" altLang="en-US" i="1" dirty="0">
              <a:solidFill>
                <a:schemeClr val="tx1"/>
              </a:solidFill>
              <a:ea typeface="MS PGothic" panose="020B0600070205080204" pitchFamily="34" charset="-128"/>
            </a:endParaRPr>
          </a:p>
          <a:p>
            <a:pPr>
              <a:buClr>
                <a:srgbClr val="00A8C7"/>
              </a:buClr>
            </a:pPr>
            <a:r>
              <a:rPr lang="en-IE" altLang="en-US" dirty="0">
                <a:solidFill>
                  <a:srgbClr val="0070C0"/>
                </a:solidFill>
                <a:ea typeface="MS PGothic" panose="020B0600070205080204" pitchFamily="34" charset="-128"/>
              </a:rPr>
              <a:t>Early Stage HPSU:  </a:t>
            </a:r>
            <a:r>
              <a:rPr lang="en-IE" altLang="en-US" dirty="0">
                <a:solidFill>
                  <a:srgbClr val="335786"/>
                </a:solidFill>
                <a:ea typeface="MS PGothic" panose="020B0600070205080204" pitchFamily="34" charset="-128"/>
              </a:rPr>
              <a:t>	  	</a:t>
            </a:r>
            <a:r>
              <a:rPr lang="en-GB" altLang="en-US" dirty="0">
                <a:solidFill>
                  <a:schemeClr val="tx1"/>
                </a:solidFill>
                <a:ea typeface="MS PGothic" panose="020B0600070205080204" pitchFamily="34" charset="-128"/>
              </a:rPr>
              <a:t>€15k Feasibility Grant for HPSU (max 50%)</a:t>
            </a:r>
          </a:p>
          <a:p>
            <a:pPr>
              <a:buClr>
                <a:srgbClr val="00A8C7"/>
              </a:buClr>
            </a:pPr>
            <a:r>
              <a:rPr lang="en-IE" altLang="en-US" dirty="0">
                <a:solidFill>
                  <a:schemeClr val="tx1"/>
                </a:solidFill>
                <a:ea typeface="MS PGothic" panose="020B0600070205080204" pitchFamily="34" charset="-128"/>
              </a:rPr>
              <a:t>			</a:t>
            </a:r>
            <a:endParaRPr lang="en-GB" altLang="en-US" dirty="0">
              <a:solidFill>
                <a:srgbClr val="335786"/>
              </a:solidFill>
              <a:ea typeface="MS PGothic" panose="020B0600070205080204" pitchFamily="34" charset="-128"/>
            </a:endParaRPr>
          </a:p>
          <a:p>
            <a:pPr>
              <a:spcBef>
                <a:spcPct val="0"/>
              </a:spcBef>
            </a:pPr>
            <a:r>
              <a:rPr lang="en-GB" altLang="en-US" dirty="0">
                <a:solidFill>
                  <a:srgbClr val="0070C0"/>
                </a:solidFill>
                <a:ea typeface="MS PGothic" panose="020B0600070205080204" pitchFamily="34" charset="-128"/>
              </a:rPr>
              <a:t>Market Validation/      </a:t>
            </a:r>
            <a:r>
              <a:rPr lang="en-GB" altLang="en-US" dirty="0">
                <a:solidFill>
                  <a:schemeClr val="tx1"/>
                </a:solidFill>
                <a:ea typeface="MS PGothic" panose="020B0600070205080204" pitchFamily="34" charset="-128"/>
              </a:rPr>
              <a:t>	€50k Starter Equity , </a:t>
            </a:r>
            <a:r>
              <a:rPr lang="en-GB" altLang="en-US" i="1" dirty="0">
                <a:solidFill>
                  <a:schemeClr val="tx1"/>
                </a:solidFill>
                <a:ea typeface="MS PGothic" panose="020B0600070205080204" pitchFamily="34" charset="-128"/>
              </a:rPr>
              <a:t>Competitive</a:t>
            </a:r>
            <a:r>
              <a:rPr lang="en-GB" altLang="en-US" dirty="0">
                <a:solidFill>
                  <a:schemeClr val="tx1"/>
                </a:solidFill>
                <a:ea typeface="MS PGothic" panose="020B0600070205080204" pitchFamily="34" charset="-128"/>
              </a:rPr>
              <a:t> Start Fund </a:t>
            </a:r>
          </a:p>
          <a:p>
            <a:pPr>
              <a:spcBef>
                <a:spcPct val="0"/>
              </a:spcBef>
            </a:pPr>
            <a:r>
              <a:rPr lang="en-GB" altLang="en-US" dirty="0">
                <a:solidFill>
                  <a:srgbClr val="0070C0"/>
                </a:solidFill>
                <a:ea typeface="MS PGothic" panose="020B0600070205080204" pitchFamily="34" charset="-128"/>
              </a:rPr>
              <a:t>Prototype Development:  </a:t>
            </a:r>
            <a:r>
              <a:rPr lang="en-GB" altLang="en-US" dirty="0">
                <a:solidFill>
                  <a:schemeClr val="tx1"/>
                </a:solidFill>
                <a:ea typeface="MS PGothic" panose="020B0600070205080204" pitchFamily="34" charset="-128"/>
              </a:rPr>
              <a:t>	with €5k matching funds - 10% Ordinary Shares </a:t>
            </a:r>
          </a:p>
          <a:p>
            <a:pPr>
              <a:spcBef>
                <a:spcPct val="0"/>
              </a:spcBef>
            </a:pPr>
            <a:endParaRPr lang="en-US" altLang="en-US" dirty="0">
              <a:solidFill>
                <a:schemeClr val="tx1"/>
              </a:solidFill>
              <a:ea typeface="MS PGothic" panose="020B0600070205080204" pitchFamily="34" charset="-128"/>
            </a:endParaRPr>
          </a:p>
          <a:p>
            <a:pPr>
              <a:lnSpc>
                <a:spcPct val="50000"/>
              </a:lnSpc>
              <a:buClr>
                <a:srgbClr val="00A8C7"/>
              </a:buClr>
            </a:pPr>
            <a:endParaRPr lang="en-GB" altLang="en-US" dirty="0">
              <a:solidFill>
                <a:srgbClr val="335786"/>
              </a:solidFill>
              <a:ea typeface="MS PGothic" panose="020B0600070205080204" pitchFamily="34" charset="-128"/>
            </a:endParaRPr>
          </a:p>
          <a:p>
            <a:pPr>
              <a:lnSpc>
                <a:spcPct val="80000"/>
              </a:lnSpc>
              <a:buClr>
                <a:srgbClr val="00A8C7"/>
              </a:buClr>
            </a:pPr>
            <a:r>
              <a:rPr lang="en-GB" altLang="en-US" dirty="0">
                <a:solidFill>
                  <a:srgbClr val="0070C0"/>
                </a:solidFill>
                <a:ea typeface="MS PGothic" panose="020B0600070205080204" pitchFamily="34" charset="-128"/>
              </a:rPr>
              <a:t>First Round/ Investor Ready   </a:t>
            </a:r>
            <a:r>
              <a:rPr lang="en-GB" altLang="en-US" dirty="0">
                <a:solidFill>
                  <a:schemeClr val="tx1"/>
                </a:solidFill>
                <a:ea typeface="MS PGothic" panose="020B0600070205080204" pitchFamily="34" charset="-128"/>
              </a:rPr>
              <a:t>€100k - €350k (average €250k) Equity,</a:t>
            </a:r>
          </a:p>
          <a:p>
            <a:pPr>
              <a:lnSpc>
                <a:spcPct val="80000"/>
              </a:lnSpc>
              <a:buClr>
                <a:srgbClr val="00A8C7"/>
              </a:buClr>
            </a:pPr>
            <a:r>
              <a:rPr lang="en-GB" altLang="en-US" dirty="0">
                <a:solidFill>
                  <a:schemeClr val="tx1"/>
                </a:solidFill>
                <a:ea typeface="MS PGothic" panose="020B0600070205080204" pitchFamily="34" charset="-128"/>
              </a:rPr>
              <a:t> 	  		CCRPs for HPSU generally fully matched</a:t>
            </a:r>
          </a:p>
          <a:p>
            <a:pPr>
              <a:lnSpc>
                <a:spcPct val="50000"/>
              </a:lnSpc>
              <a:buClr>
                <a:srgbClr val="00A8C7"/>
              </a:buClr>
            </a:pPr>
            <a:endParaRPr lang="en-IE" altLang="en-US" i="1" dirty="0">
              <a:solidFill>
                <a:srgbClr val="336699"/>
              </a:solidFill>
              <a:ea typeface="MS PGothic" panose="020B0600070205080204" pitchFamily="34" charset="-128"/>
            </a:endParaRPr>
          </a:p>
          <a:p>
            <a:pPr>
              <a:lnSpc>
                <a:spcPct val="50000"/>
              </a:lnSpc>
              <a:buClr>
                <a:srgbClr val="00A8C7"/>
              </a:buClr>
            </a:pPr>
            <a:endParaRPr lang="en-IE" altLang="en-US" i="1" dirty="0">
              <a:solidFill>
                <a:srgbClr val="336699"/>
              </a:solidFill>
              <a:ea typeface="MS PGothic" panose="020B0600070205080204" pitchFamily="34" charset="-128"/>
            </a:endParaRPr>
          </a:p>
          <a:p>
            <a:pPr>
              <a:buClr>
                <a:srgbClr val="00A8C7"/>
              </a:buClr>
            </a:pPr>
            <a:r>
              <a:rPr lang="en-IE" altLang="en-US" dirty="0">
                <a:solidFill>
                  <a:srgbClr val="0070C0"/>
                </a:solidFill>
                <a:ea typeface="MS PGothic" panose="020B0600070205080204" pitchFamily="34" charset="-128"/>
              </a:rPr>
              <a:t>EI Funding will not be greater than combined promoters or </a:t>
            </a:r>
          </a:p>
          <a:p>
            <a:pPr>
              <a:buClr>
                <a:srgbClr val="00A8C7"/>
              </a:buClr>
            </a:pPr>
            <a:r>
              <a:rPr lang="en-IE" altLang="en-US" dirty="0">
                <a:solidFill>
                  <a:srgbClr val="0070C0"/>
                </a:solidFill>
                <a:ea typeface="MS PGothic" panose="020B0600070205080204" pitchFamily="34" charset="-128"/>
              </a:rPr>
              <a:t>3</a:t>
            </a:r>
            <a:r>
              <a:rPr lang="en-IE" altLang="en-US" baseline="30000" dirty="0">
                <a:solidFill>
                  <a:srgbClr val="0070C0"/>
                </a:solidFill>
                <a:ea typeface="MS PGothic" panose="020B0600070205080204" pitchFamily="34" charset="-128"/>
              </a:rPr>
              <a:t>rd</a:t>
            </a:r>
            <a:r>
              <a:rPr lang="en-IE" altLang="en-US" dirty="0">
                <a:solidFill>
                  <a:srgbClr val="0070C0"/>
                </a:solidFill>
                <a:ea typeface="MS PGothic" panose="020B0600070205080204" pitchFamily="34" charset="-128"/>
              </a:rPr>
              <a:t> party  investment.</a:t>
            </a:r>
          </a:p>
          <a:p>
            <a:pPr>
              <a:buClr>
                <a:srgbClr val="00A8C7"/>
              </a:buClr>
            </a:pPr>
            <a:r>
              <a:rPr lang="en-IE" altLang="en-US" dirty="0">
                <a:solidFill>
                  <a:srgbClr val="0070C0"/>
                </a:solidFill>
                <a:ea typeface="MS PGothic" panose="020B0600070205080204" pitchFamily="34" charset="-128"/>
              </a:rPr>
              <a:t>EI ordinary shareholding will not exceed 10% of the total company </a:t>
            </a:r>
          </a:p>
          <a:p>
            <a:pPr>
              <a:buClr>
                <a:srgbClr val="00A8C7"/>
              </a:buClr>
            </a:pPr>
            <a:r>
              <a:rPr lang="en-IE" altLang="en-US" dirty="0">
                <a:solidFill>
                  <a:srgbClr val="0070C0"/>
                </a:solidFill>
                <a:ea typeface="MS PGothic" panose="020B0600070205080204" pitchFamily="34" charset="-128"/>
              </a:rPr>
              <a:t>ordinary shares.</a:t>
            </a:r>
          </a:p>
        </p:txBody>
      </p:sp>
    </p:spTree>
    <p:extLst>
      <p:ext uri="{BB962C8B-B14F-4D97-AF65-F5344CB8AC3E}">
        <p14:creationId xmlns:p14="http://schemas.microsoft.com/office/powerpoint/2010/main" val="3951738973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80EE70F-AAA2-42F2-A96F-D5D3AB6D05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6120425"/>
              </p:ext>
            </p:extLst>
          </p:nvPr>
        </p:nvGraphicFramePr>
        <p:xfrm>
          <a:off x="388883" y="1797270"/>
          <a:ext cx="10972800" cy="4130565"/>
        </p:xfrm>
        <a:graphic>
          <a:graphicData uri="http://schemas.openxmlformats.org/drawingml/2006/table">
            <a:tbl>
              <a:tblPr/>
              <a:tblGrid>
                <a:gridCol w="2743200">
                  <a:extLst>
                    <a:ext uri="{9D8B030D-6E8A-4147-A177-3AD203B41FA5}">
                      <a16:colId xmlns:a16="http://schemas.microsoft.com/office/drawing/2014/main" val="1821739969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1113322910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1813457515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3038994895"/>
                    </a:ext>
                  </a:extLst>
                </a:gridCol>
              </a:tblGrid>
              <a:tr h="826113">
                <a:tc>
                  <a:txBody>
                    <a:bodyPr/>
                    <a:lstStyle/>
                    <a:p>
                      <a:pPr algn="l"/>
                      <a:r>
                        <a:rPr lang="en-US" sz="2400">
                          <a:solidFill>
                            <a:schemeClr val="accent2"/>
                          </a:solidFill>
                        </a:rPr>
                        <a:t>Call No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solidFill>
                            <a:schemeClr val="accent2"/>
                          </a:solidFill>
                        </a:rPr>
                        <a:t>Call Nam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>
                          <a:solidFill>
                            <a:schemeClr val="accent2"/>
                          </a:solidFill>
                        </a:rPr>
                        <a:t>Call Open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>
                          <a:solidFill>
                            <a:schemeClr val="accent2"/>
                          </a:solidFill>
                        </a:rPr>
                        <a:t>Call Clos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5379830"/>
                  </a:ext>
                </a:extLst>
              </a:tr>
              <a:tr h="826113">
                <a:tc>
                  <a:txBody>
                    <a:bodyPr/>
                    <a:lstStyle/>
                    <a:p>
                      <a:pPr algn="l"/>
                      <a:r>
                        <a:rPr lang="en-US" sz="2400">
                          <a:solidFill>
                            <a:schemeClr val="accent2"/>
                          </a:solidFill>
                        </a:rPr>
                        <a:t>No. 59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b="1">
                          <a:solidFill>
                            <a:schemeClr val="accent2"/>
                          </a:solidFill>
                          <a:hlinkClick r:id="rId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ll Sectors</a:t>
                      </a:r>
                      <a:endParaRPr lang="en-US" sz="240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>
                          <a:solidFill>
                            <a:schemeClr val="accent2"/>
                          </a:solidFill>
                        </a:rPr>
                        <a:t>29th Jan. 2019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>
                          <a:solidFill>
                            <a:schemeClr val="accent2"/>
                          </a:solidFill>
                        </a:rPr>
                        <a:t>12th Feb. 2019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8229568"/>
                  </a:ext>
                </a:extLst>
              </a:tr>
              <a:tr h="826113">
                <a:tc>
                  <a:txBody>
                    <a:bodyPr/>
                    <a:lstStyle/>
                    <a:p>
                      <a:pPr algn="l"/>
                      <a:r>
                        <a:rPr lang="en-US" sz="2400">
                          <a:solidFill>
                            <a:schemeClr val="accent2"/>
                          </a:solidFill>
                        </a:rPr>
                        <a:t>No. 6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>
                          <a:solidFill>
                            <a:schemeClr val="accent2"/>
                          </a:solidFill>
                        </a:rPr>
                        <a:t>CSF Call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>
                          <a:solidFill>
                            <a:schemeClr val="accent2"/>
                          </a:solidFill>
                        </a:rPr>
                        <a:t>16th April 2019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>
                          <a:solidFill>
                            <a:schemeClr val="accent2"/>
                          </a:solidFill>
                        </a:rPr>
                        <a:t>30th April 2019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612383"/>
                  </a:ext>
                </a:extLst>
              </a:tr>
              <a:tr h="826113">
                <a:tc>
                  <a:txBody>
                    <a:bodyPr/>
                    <a:lstStyle/>
                    <a:p>
                      <a:pPr algn="l"/>
                      <a:r>
                        <a:rPr lang="en-US" sz="2400">
                          <a:solidFill>
                            <a:schemeClr val="accent2"/>
                          </a:solidFill>
                        </a:rPr>
                        <a:t>No. 61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solidFill>
                            <a:schemeClr val="accent2"/>
                          </a:solidFill>
                        </a:rPr>
                        <a:t>CSF Call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>
                          <a:solidFill>
                            <a:schemeClr val="accent2"/>
                          </a:solidFill>
                        </a:rPr>
                        <a:t>02nd July 2019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>
                          <a:solidFill>
                            <a:schemeClr val="accent2"/>
                          </a:solidFill>
                        </a:rPr>
                        <a:t>16th July 2019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050336"/>
                  </a:ext>
                </a:extLst>
              </a:tr>
              <a:tr h="826113"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solidFill>
                            <a:schemeClr val="accent2"/>
                          </a:solidFill>
                        </a:rPr>
                        <a:t>No. 62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>
                          <a:solidFill>
                            <a:schemeClr val="accent2"/>
                          </a:solidFill>
                        </a:rPr>
                        <a:t>CSF Call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>
                          <a:solidFill>
                            <a:schemeClr val="accent2"/>
                          </a:solidFill>
                        </a:rPr>
                        <a:t>01st October 2019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solidFill>
                            <a:schemeClr val="accent2"/>
                          </a:solidFill>
                        </a:rPr>
                        <a:t>15th October 2019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1383339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552B9CAF-A7D3-4A56-97AE-6284B7984B33}"/>
              </a:ext>
            </a:extLst>
          </p:cNvPr>
          <p:cNvSpPr/>
          <p:nvPr/>
        </p:nvSpPr>
        <p:spPr>
          <a:xfrm>
            <a:off x="793944" y="631778"/>
            <a:ext cx="534473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E" sz="2800" dirty="0">
                <a:solidFill>
                  <a:schemeClr val="accent1"/>
                </a:solidFill>
              </a:rPr>
              <a:t>Competitive  Start Funds Calls 2019</a:t>
            </a:r>
            <a:endParaRPr lang="en-US" sz="28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9776167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C7607F-7D6B-464C-8D21-D51CE6C0CB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/>
              <a:t>Enterprise Ireland 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2AC681E-0DC8-4884-831D-AEAABF9E1CD9}"/>
              </a:ext>
            </a:extLst>
          </p:cNvPr>
          <p:cNvSpPr/>
          <p:nvPr/>
        </p:nvSpPr>
        <p:spPr>
          <a:xfrm>
            <a:off x="609599" y="2326866"/>
            <a:ext cx="9000565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286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5,000 Irish owned businesses</a:t>
            </a:r>
          </a:p>
          <a:p>
            <a:pPr marL="6286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Start, innovate &amp; scale through exports</a:t>
            </a:r>
          </a:p>
          <a:p>
            <a:pPr marL="6286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All sectors of manufacturing &amp; internationally traded services</a:t>
            </a:r>
          </a:p>
          <a:p>
            <a:pPr marL="6286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All stages of company life-cycle from micro-enterprise (through Local Enterprise Offices) to large multi-national companies</a:t>
            </a:r>
          </a:p>
          <a:p>
            <a:pPr marL="6286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Range of supports to match ambition at every stage</a:t>
            </a:r>
          </a:p>
          <a:p>
            <a:pPr marL="6286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Mandate to drive </a:t>
            </a:r>
            <a:r>
              <a:rPr lang="en-US" sz="2400" dirty="0" err="1">
                <a:solidFill>
                  <a:schemeClr val="tx1"/>
                </a:solidFill>
              </a:rPr>
              <a:t>commercialisation</a:t>
            </a:r>
            <a:r>
              <a:rPr lang="en-US" sz="2400" dirty="0">
                <a:solidFill>
                  <a:schemeClr val="tx1"/>
                </a:solidFill>
              </a:rPr>
              <a:t> of state-funded research</a:t>
            </a:r>
          </a:p>
          <a:p>
            <a:pPr marL="6286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FDI in food and Education in Ireland </a:t>
            </a:r>
          </a:p>
          <a:p>
            <a:pPr marL="6286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10 offices in Ireland, 33 international offices </a:t>
            </a:r>
          </a:p>
          <a:p>
            <a:pPr marL="6286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Connecting Irish companies to global buyers in diversified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13369763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79" name="Picture 3" descr="Picture 3"/>
          <p:cNvPicPr>
            <a:picLocks noChangeAspect="1"/>
          </p:cNvPicPr>
          <p:nvPr/>
        </p:nvPicPr>
        <p:blipFill>
          <a:blip r:embed="rId3">
            <a:extLst/>
          </a:blip>
          <a:srcRect l="22352" r="16427"/>
          <a:stretch>
            <a:fillRect/>
          </a:stretch>
        </p:blipFill>
        <p:spPr>
          <a:xfrm>
            <a:off x="0" y="0"/>
            <a:ext cx="6096002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BA83302-3558-4870-8F60-EBC966A436C7}"/>
              </a:ext>
            </a:extLst>
          </p:cNvPr>
          <p:cNvSpPr/>
          <p:nvPr/>
        </p:nvSpPr>
        <p:spPr>
          <a:xfrm>
            <a:off x="6293224" y="4475441"/>
            <a:ext cx="6096000" cy="209288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en-US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https://www.enterprise-ireland.com/</a:t>
            </a:r>
            <a:endParaRPr lang="en-US" altLang="en-US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altLang="en-US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en-US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act:</a:t>
            </a:r>
          </a:p>
          <a:p>
            <a:r>
              <a:rPr lang="en-IE" dirty="0"/>
              <a:t>Deirdre O’Neill</a:t>
            </a:r>
          </a:p>
          <a:p>
            <a:r>
              <a:rPr lang="en-IE" dirty="0"/>
              <a:t>Senior Region Development Executive</a:t>
            </a:r>
          </a:p>
          <a:p>
            <a:r>
              <a:rPr lang="en-IE" sz="2000" dirty="0"/>
              <a:t>Dublin Region</a:t>
            </a:r>
          </a:p>
          <a:p>
            <a:r>
              <a:rPr lang="en-IE" sz="2000" dirty="0"/>
              <a:t>T:  727 2145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/>
          <p:cNvSpPr/>
          <p:nvPr/>
        </p:nvSpPr>
        <p:spPr>
          <a:xfrm>
            <a:off x="8621988" y="4012367"/>
            <a:ext cx="2799733" cy="978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1955800">
              <a:lnSpc>
                <a:spcPct val="80000"/>
              </a:lnSpc>
              <a:spcBef>
                <a:spcPct val="0"/>
              </a:spcBef>
              <a:defRPr/>
            </a:pPr>
            <a:r>
              <a:rPr lang="en-US" sz="40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€27bn</a:t>
            </a:r>
            <a:r>
              <a:rPr lang="en-US" sz="36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.a.</a:t>
            </a:r>
            <a:endParaRPr lang="en-US" sz="40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defTabSz="1955800">
              <a:lnSpc>
                <a:spcPct val="80000"/>
              </a:lnSpc>
              <a:spcBef>
                <a:spcPct val="0"/>
              </a:spcBef>
              <a:defRPr/>
            </a:pPr>
            <a:r>
              <a:rPr lang="en-US" sz="3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€4bn</a:t>
            </a:r>
            <a:endParaRPr lang="en-US" sz="16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88F04D-10A5-4B63-8863-7D77E5C58B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" y="1"/>
            <a:ext cx="11731298" cy="843578"/>
          </a:xfrm>
        </p:spPr>
        <p:txBody>
          <a:bodyPr>
            <a:normAutofit fontScale="90000"/>
          </a:bodyPr>
          <a:lstStyle/>
          <a:p>
            <a:r>
              <a:rPr lang="en-IE" dirty="0"/>
              <a:t>Delivering Global Ambition </a:t>
            </a:r>
            <a:r>
              <a:rPr lang="en-IE" dirty="0">
                <a:solidFill>
                  <a:schemeClr val="bg2"/>
                </a:solidFill>
              </a:rPr>
              <a:t>– Our Strategy to Deliver </a:t>
            </a:r>
            <a:br>
              <a:rPr lang="en-IE" dirty="0">
                <a:solidFill>
                  <a:schemeClr val="bg2"/>
                </a:solidFill>
              </a:rPr>
            </a:br>
            <a:r>
              <a:rPr lang="en-IE" sz="3100" b="1" dirty="0">
                <a:solidFill>
                  <a:schemeClr val="bg2"/>
                </a:solidFill>
              </a:rPr>
              <a:t>2017-2020</a:t>
            </a:r>
          </a:p>
        </p:txBody>
      </p:sp>
      <p:sp>
        <p:nvSpPr>
          <p:cNvPr id="35" name="Rectangle 34"/>
          <p:cNvSpPr/>
          <p:nvPr/>
        </p:nvSpPr>
        <p:spPr>
          <a:xfrm>
            <a:off x="241300" y="3960412"/>
            <a:ext cx="253596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1955800">
              <a:lnSpc>
                <a:spcPct val="80000"/>
              </a:lnSpc>
              <a:spcBef>
                <a:spcPct val="0"/>
              </a:spcBef>
              <a:defRPr/>
            </a:pPr>
            <a:r>
              <a:rPr lang="en-US" sz="3600" b="1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€26bn </a:t>
            </a:r>
            <a:r>
              <a:rPr lang="en-US" sz="2000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.a.</a:t>
            </a:r>
            <a:endParaRPr lang="en-US" sz="4000" dirty="0">
              <a:solidFill>
                <a:srgbClr val="44546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defTabSz="1955800">
              <a:lnSpc>
                <a:spcPct val="80000"/>
              </a:lnSpc>
              <a:spcBef>
                <a:spcPct val="0"/>
              </a:spcBef>
              <a:defRPr/>
            </a:pPr>
            <a:r>
              <a:rPr lang="en-US" sz="3200" b="1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€5bn </a:t>
            </a:r>
            <a:br>
              <a:rPr lang="en-US" sz="3200" b="1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7% </a:t>
            </a:r>
            <a:r>
              <a:rPr lang="en-US" sz="1600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side UK</a:t>
            </a:r>
          </a:p>
        </p:txBody>
      </p:sp>
      <p:sp>
        <p:nvSpPr>
          <p:cNvPr id="36" name="Rectangle 35"/>
          <p:cNvSpPr/>
          <p:nvPr/>
        </p:nvSpPr>
        <p:spPr>
          <a:xfrm>
            <a:off x="2777263" y="3960412"/>
            <a:ext cx="2641054" cy="1126462"/>
          </a:xfrm>
          <a:prstGeom prst="rect">
            <a:avLst/>
          </a:prstGeom>
        </p:spPr>
        <p:txBody>
          <a:bodyPr wrap="square" lIns="90000">
            <a:spAutoFit/>
          </a:bodyPr>
          <a:lstStyle/>
          <a:p>
            <a:pPr marL="0" lvl="1" defTabSz="1955800">
              <a:lnSpc>
                <a:spcPct val="80000"/>
              </a:lnSpc>
              <a:spcBef>
                <a:spcPct val="0"/>
              </a:spcBef>
              <a:defRPr/>
            </a:pPr>
            <a:r>
              <a:rPr lang="en-US" sz="36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60,000</a:t>
            </a:r>
          </a:p>
          <a:p>
            <a:pPr marL="0" lvl="1" defTabSz="1955800">
              <a:lnSpc>
                <a:spcPct val="80000"/>
              </a:lnSpc>
              <a:spcBef>
                <a:spcPct val="0"/>
              </a:spcBef>
              <a:defRPr/>
            </a:pPr>
            <a:r>
              <a:rPr lang="en-US" sz="16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jobs created</a:t>
            </a:r>
          </a:p>
          <a:p>
            <a:pPr marL="0" lvl="1" defTabSz="1955800">
              <a:lnSpc>
                <a:spcPct val="80000"/>
              </a:lnSpc>
              <a:spcBef>
                <a:spcPct val="0"/>
              </a:spcBef>
              <a:defRPr/>
            </a:pPr>
            <a:r>
              <a:rPr lang="en-US" sz="16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in 200,000</a:t>
            </a:r>
          </a:p>
          <a:p>
            <a:pPr marL="0" lvl="1" defTabSz="1955800">
              <a:lnSpc>
                <a:spcPct val="80000"/>
              </a:lnSpc>
              <a:spcBef>
                <a:spcPct val="0"/>
              </a:spcBef>
              <a:defRPr/>
            </a:pPr>
            <a:r>
              <a:rPr lang="en-US" sz="16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isting jobs</a:t>
            </a:r>
          </a:p>
        </p:txBody>
      </p:sp>
      <p:sp>
        <p:nvSpPr>
          <p:cNvPr id="37" name="Rectangle 36"/>
          <p:cNvSpPr/>
          <p:nvPr/>
        </p:nvSpPr>
        <p:spPr>
          <a:xfrm>
            <a:off x="5610218" y="4012367"/>
            <a:ext cx="3011770" cy="13726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1955800">
              <a:lnSpc>
                <a:spcPct val="80000"/>
              </a:lnSpc>
              <a:spcBef>
                <a:spcPct val="0"/>
              </a:spcBef>
              <a:defRPr/>
            </a:pPr>
            <a:r>
              <a:rPr lang="en-US" sz="3600" b="1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€1.25bn </a:t>
            </a:r>
          </a:p>
          <a:p>
            <a:pPr marL="0" lvl="1" defTabSz="1955800">
              <a:lnSpc>
                <a:spcPct val="80000"/>
              </a:lnSpc>
              <a:spcBef>
                <a:spcPct val="0"/>
              </a:spcBef>
              <a:defRPr/>
            </a:pPr>
            <a:r>
              <a:rPr lang="en-US" sz="2000" b="1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.a</a:t>
            </a:r>
            <a:r>
              <a:rPr lang="en-US" sz="2000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lvl="1" defTabSz="1955800">
              <a:lnSpc>
                <a:spcPct val="80000"/>
              </a:lnSpc>
              <a:spcBef>
                <a:spcPct val="0"/>
              </a:spcBef>
              <a:defRPr/>
            </a:pPr>
            <a:r>
              <a:rPr lang="en-US" sz="3200" b="1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50% </a:t>
            </a:r>
            <a:r>
              <a:rPr lang="en-US" sz="1600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R&amp;D spend</a:t>
            </a:r>
          </a:p>
        </p:txBody>
      </p:sp>
      <p:sp>
        <p:nvSpPr>
          <p:cNvPr id="40" name="Pentagon 39"/>
          <p:cNvSpPr/>
          <p:nvPr/>
        </p:nvSpPr>
        <p:spPr>
          <a:xfrm>
            <a:off x="0" y="2869588"/>
            <a:ext cx="3199733" cy="990000"/>
          </a:xfrm>
          <a:prstGeom prst="homePlate">
            <a:avLst/>
          </a:prstGeom>
          <a:solidFill>
            <a:srgbClr val="00AEEF"/>
          </a:solidFill>
          <a:ln>
            <a:noFill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rtlCol="0" anchor="ctr"/>
          <a:lstStyle/>
          <a:p>
            <a:r>
              <a:rPr lang="en-GB" sz="2000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Exports</a:t>
            </a:r>
          </a:p>
        </p:txBody>
      </p:sp>
      <p:sp>
        <p:nvSpPr>
          <p:cNvPr id="39" name="Chevron 38"/>
          <p:cNvSpPr/>
          <p:nvPr/>
        </p:nvSpPr>
        <p:spPr>
          <a:xfrm>
            <a:off x="2685834" y="2869588"/>
            <a:ext cx="3376948" cy="990000"/>
          </a:xfrm>
          <a:prstGeom prst="chevron">
            <a:avLst/>
          </a:prstGeom>
          <a:solidFill>
            <a:srgbClr val="00AEEF"/>
          </a:solidFill>
          <a:ln>
            <a:noFill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tlCol="0" anchor="ctr"/>
          <a:lstStyle/>
          <a:p>
            <a:r>
              <a:rPr lang="en-GB" sz="2000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Jobs</a:t>
            </a:r>
          </a:p>
        </p:txBody>
      </p:sp>
      <p:sp>
        <p:nvSpPr>
          <p:cNvPr id="38" name="Chevron 37"/>
          <p:cNvSpPr/>
          <p:nvPr/>
        </p:nvSpPr>
        <p:spPr>
          <a:xfrm>
            <a:off x="5555017" y="2869588"/>
            <a:ext cx="3376948" cy="990000"/>
          </a:xfrm>
          <a:prstGeom prst="chevron">
            <a:avLst/>
          </a:prstGeom>
          <a:solidFill>
            <a:srgbClr val="00AEEF"/>
          </a:solidFill>
          <a:ln>
            <a:noFill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tlCol="0" anchor="ctr"/>
          <a:lstStyle/>
          <a:p>
            <a:r>
              <a:rPr lang="en-GB" sz="2000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New R&amp;D</a:t>
            </a:r>
          </a:p>
        </p:txBody>
      </p:sp>
      <p:grpSp>
        <p:nvGrpSpPr>
          <p:cNvPr id="17" name="Group 4"/>
          <p:cNvGrpSpPr>
            <a:grpSpLocks noChangeAspect="1"/>
          </p:cNvGrpSpPr>
          <p:nvPr/>
        </p:nvGrpSpPr>
        <p:grpSpPr bwMode="auto">
          <a:xfrm>
            <a:off x="3585088" y="1450977"/>
            <a:ext cx="1258887" cy="1100137"/>
            <a:chOff x="3609" y="-966"/>
            <a:chExt cx="793" cy="693"/>
          </a:xfrm>
        </p:grpSpPr>
        <p:sp>
          <p:nvSpPr>
            <p:cNvPr id="19" name="Rectangle 5"/>
            <p:cNvSpPr>
              <a:spLocks noChangeArrowheads="1"/>
            </p:cNvSpPr>
            <p:nvPr/>
          </p:nvSpPr>
          <p:spPr bwMode="auto">
            <a:xfrm>
              <a:off x="4274" y="-455"/>
              <a:ext cx="19" cy="182"/>
            </a:xfrm>
            <a:prstGeom prst="rect">
              <a:avLst/>
            </a:prstGeom>
            <a:solidFill>
              <a:srgbClr val="004F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20" name="Rectangle 6"/>
            <p:cNvSpPr>
              <a:spLocks noChangeArrowheads="1"/>
            </p:cNvSpPr>
            <p:nvPr/>
          </p:nvSpPr>
          <p:spPr bwMode="auto">
            <a:xfrm>
              <a:off x="3996" y="-455"/>
              <a:ext cx="19" cy="182"/>
            </a:xfrm>
            <a:prstGeom prst="rect">
              <a:avLst/>
            </a:prstGeom>
            <a:solidFill>
              <a:srgbClr val="004F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21" name="Rectangle 7"/>
            <p:cNvSpPr>
              <a:spLocks noChangeArrowheads="1"/>
            </p:cNvSpPr>
            <p:nvPr/>
          </p:nvSpPr>
          <p:spPr bwMode="auto">
            <a:xfrm>
              <a:off x="3718" y="-455"/>
              <a:ext cx="18" cy="182"/>
            </a:xfrm>
            <a:prstGeom prst="rect">
              <a:avLst/>
            </a:prstGeom>
            <a:solidFill>
              <a:srgbClr val="004F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22" name="Freeform 8"/>
            <p:cNvSpPr>
              <a:spLocks/>
            </p:cNvSpPr>
            <p:nvPr/>
          </p:nvSpPr>
          <p:spPr bwMode="auto">
            <a:xfrm>
              <a:off x="4165" y="-697"/>
              <a:ext cx="237" cy="424"/>
            </a:xfrm>
            <a:custGeom>
              <a:avLst/>
              <a:gdLst>
                <a:gd name="T0" fmla="*/ 43 w 52"/>
                <a:gd name="T1" fmla="*/ 93 h 93"/>
                <a:gd name="T2" fmla="*/ 39 w 52"/>
                <a:gd name="T3" fmla="*/ 93 h 93"/>
                <a:gd name="T4" fmla="*/ 39 w 52"/>
                <a:gd name="T5" fmla="*/ 55 h 93"/>
                <a:gd name="T6" fmla="*/ 41 w 52"/>
                <a:gd name="T7" fmla="*/ 55 h 93"/>
                <a:gd name="T8" fmla="*/ 48 w 52"/>
                <a:gd name="T9" fmla="*/ 47 h 93"/>
                <a:gd name="T10" fmla="*/ 48 w 52"/>
                <a:gd name="T11" fmla="*/ 11 h 93"/>
                <a:gd name="T12" fmla="*/ 46 w 52"/>
                <a:gd name="T13" fmla="*/ 8 h 93"/>
                <a:gd name="T14" fmla="*/ 26 w 52"/>
                <a:gd name="T15" fmla="*/ 4 h 93"/>
                <a:gd name="T16" fmla="*/ 6 w 52"/>
                <a:gd name="T17" fmla="*/ 8 h 93"/>
                <a:gd name="T18" fmla="*/ 4 w 52"/>
                <a:gd name="T19" fmla="*/ 11 h 93"/>
                <a:gd name="T20" fmla="*/ 4 w 52"/>
                <a:gd name="T21" fmla="*/ 47 h 93"/>
                <a:gd name="T22" fmla="*/ 11 w 52"/>
                <a:gd name="T23" fmla="*/ 55 h 93"/>
                <a:gd name="T24" fmla="*/ 13 w 52"/>
                <a:gd name="T25" fmla="*/ 55 h 93"/>
                <a:gd name="T26" fmla="*/ 13 w 52"/>
                <a:gd name="T27" fmla="*/ 93 h 93"/>
                <a:gd name="T28" fmla="*/ 9 w 52"/>
                <a:gd name="T29" fmla="*/ 93 h 93"/>
                <a:gd name="T30" fmla="*/ 9 w 52"/>
                <a:gd name="T31" fmla="*/ 58 h 93"/>
                <a:gd name="T32" fmla="*/ 0 w 52"/>
                <a:gd name="T33" fmla="*/ 47 h 93"/>
                <a:gd name="T34" fmla="*/ 0 w 52"/>
                <a:gd name="T35" fmla="*/ 11 h 93"/>
                <a:gd name="T36" fmla="*/ 5 w 52"/>
                <a:gd name="T37" fmla="*/ 4 h 93"/>
                <a:gd name="T38" fmla="*/ 26 w 52"/>
                <a:gd name="T39" fmla="*/ 0 h 93"/>
                <a:gd name="T40" fmla="*/ 47 w 52"/>
                <a:gd name="T41" fmla="*/ 4 h 93"/>
                <a:gd name="T42" fmla="*/ 52 w 52"/>
                <a:gd name="T43" fmla="*/ 11 h 93"/>
                <a:gd name="T44" fmla="*/ 52 w 52"/>
                <a:gd name="T45" fmla="*/ 47 h 93"/>
                <a:gd name="T46" fmla="*/ 43 w 52"/>
                <a:gd name="T47" fmla="*/ 58 h 93"/>
                <a:gd name="T48" fmla="*/ 43 w 52"/>
                <a:gd name="T49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2" h="93">
                  <a:moveTo>
                    <a:pt x="43" y="93"/>
                  </a:moveTo>
                  <a:cubicBezTo>
                    <a:pt x="39" y="93"/>
                    <a:pt x="39" y="93"/>
                    <a:pt x="39" y="93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41" y="55"/>
                    <a:pt x="41" y="55"/>
                    <a:pt x="41" y="55"/>
                  </a:cubicBezTo>
                  <a:cubicBezTo>
                    <a:pt x="45" y="55"/>
                    <a:pt x="48" y="51"/>
                    <a:pt x="48" y="47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8" y="10"/>
                    <a:pt x="47" y="8"/>
                    <a:pt x="46" y="8"/>
                  </a:cubicBezTo>
                  <a:cubicBezTo>
                    <a:pt x="42" y="6"/>
                    <a:pt x="35" y="4"/>
                    <a:pt x="26" y="4"/>
                  </a:cubicBezTo>
                  <a:cubicBezTo>
                    <a:pt x="17" y="4"/>
                    <a:pt x="10" y="6"/>
                    <a:pt x="6" y="8"/>
                  </a:cubicBezTo>
                  <a:cubicBezTo>
                    <a:pt x="5" y="8"/>
                    <a:pt x="4" y="10"/>
                    <a:pt x="4" y="11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4" y="51"/>
                    <a:pt x="7" y="55"/>
                    <a:pt x="11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4" y="58"/>
                    <a:pt x="0" y="53"/>
                    <a:pt x="0" y="47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8"/>
                    <a:pt x="2" y="5"/>
                    <a:pt x="5" y="4"/>
                  </a:cubicBezTo>
                  <a:cubicBezTo>
                    <a:pt x="9" y="2"/>
                    <a:pt x="17" y="0"/>
                    <a:pt x="26" y="0"/>
                  </a:cubicBezTo>
                  <a:cubicBezTo>
                    <a:pt x="36" y="0"/>
                    <a:pt x="43" y="2"/>
                    <a:pt x="47" y="4"/>
                  </a:cubicBezTo>
                  <a:cubicBezTo>
                    <a:pt x="50" y="5"/>
                    <a:pt x="52" y="8"/>
                    <a:pt x="52" y="11"/>
                  </a:cubicBezTo>
                  <a:cubicBezTo>
                    <a:pt x="52" y="47"/>
                    <a:pt x="52" y="47"/>
                    <a:pt x="52" y="47"/>
                  </a:cubicBezTo>
                  <a:cubicBezTo>
                    <a:pt x="52" y="53"/>
                    <a:pt x="48" y="58"/>
                    <a:pt x="43" y="58"/>
                  </a:cubicBezTo>
                  <a:lnTo>
                    <a:pt x="43" y="93"/>
                  </a:lnTo>
                  <a:close/>
                </a:path>
              </a:pathLst>
            </a:custGeom>
            <a:solidFill>
              <a:srgbClr val="004F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23" name="Freeform 9"/>
            <p:cNvSpPr>
              <a:spLocks noEditPoints="1"/>
            </p:cNvSpPr>
            <p:nvPr/>
          </p:nvSpPr>
          <p:spPr bwMode="auto">
            <a:xfrm>
              <a:off x="4220" y="-852"/>
              <a:ext cx="127" cy="141"/>
            </a:xfrm>
            <a:custGeom>
              <a:avLst/>
              <a:gdLst>
                <a:gd name="T0" fmla="*/ 14 w 28"/>
                <a:gd name="T1" fmla="*/ 31 h 31"/>
                <a:gd name="T2" fmla="*/ 0 w 28"/>
                <a:gd name="T3" fmla="*/ 14 h 31"/>
                <a:gd name="T4" fmla="*/ 14 w 28"/>
                <a:gd name="T5" fmla="*/ 0 h 31"/>
                <a:gd name="T6" fmla="*/ 28 w 28"/>
                <a:gd name="T7" fmla="*/ 14 h 31"/>
                <a:gd name="T8" fmla="*/ 14 w 28"/>
                <a:gd name="T9" fmla="*/ 31 h 31"/>
                <a:gd name="T10" fmla="*/ 14 w 28"/>
                <a:gd name="T11" fmla="*/ 4 h 31"/>
                <a:gd name="T12" fmla="*/ 4 w 28"/>
                <a:gd name="T13" fmla="*/ 14 h 31"/>
                <a:gd name="T14" fmla="*/ 14 w 28"/>
                <a:gd name="T15" fmla="*/ 27 h 31"/>
                <a:gd name="T16" fmla="*/ 24 w 28"/>
                <a:gd name="T17" fmla="*/ 14 h 31"/>
                <a:gd name="T18" fmla="*/ 14 w 28"/>
                <a:gd name="T19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31">
                  <a:moveTo>
                    <a:pt x="14" y="31"/>
                  </a:moveTo>
                  <a:cubicBezTo>
                    <a:pt x="6" y="31"/>
                    <a:pt x="0" y="23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ubicBezTo>
                    <a:pt x="28" y="23"/>
                    <a:pt x="22" y="31"/>
                    <a:pt x="14" y="31"/>
                  </a:cubicBezTo>
                  <a:close/>
                  <a:moveTo>
                    <a:pt x="14" y="4"/>
                  </a:moveTo>
                  <a:cubicBezTo>
                    <a:pt x="9" y="4"/>
                    <a:pt x="4" y="8"/>
                    <a:pt x="4" y="14"/>
                  </a:cubicBezTo>
                  <a:cubicBezTo>
                    <a:pt x="4" y="21"/>
                    <a:pt x="8" y="27"/>
                    <a:pt x="14" y="27"/>
                  </a:cubicBezTo>
                  <a:cubicBezTo>
                    <a:pt x="20" y="27"/>
                    <a:pt x="24" y="21"/>
                    <a:pt x="24" y="14"/>
                  </a:cubicBezTo>
                  <a:cubicBezTo>
                    <a:pt x="24" y="8"/>
                    <a:pt x="19" y="4"/>
                    <a:pt x="14" y="4"/>
                  </a:cubicBezTo>
                  <a:close/>
                </a:path>
              </a:pathLst>
            </a:custGeom>
            <a:solidFill>
              <a:srgbClr val="004F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29" name="Freeform 10"/>
            <p:cNvSpPr>
              <a:spLocks/>
            </p:cNvSpPr>
            <p:nvPr/>
          </p:nvSpPr>
          <p:spPr bwMode="auto">
            <a:xfrm>
              <a:off x="3887" y="-697"/>
              <a:ext cx="237" cy="424"/>
            </a:xfrm>
            <a:custGeom>
              <a:avLst/>
              <a:gdLst>
                <a:gd name="T0" fmla="*/ 43 w 52"/>
                <a:gd name="T1" fmla="*/ 93 h 93"/>
                <a:gd name="T2" fmla="*/ 39 w 52"/>
                <a:gd name="T3" fmla="*/ 93 h 93"/>
                <a:gd name="T4" fmla="*/ 39 w 52"/>
                <a:gd name="T5" fmla="*/ 55 h 93"/>
                <a:gd name="T6" fmla="*/ 41 w 52"/>
                <a:gd name="T7" fmla="*/ 55 h 93"/>
                <a:gd name="T8" fmla="*/ 48 w 52"/>
                <a:gd name="T9" fmla="*/ 47 h 93"/>
                <a:gd name="T10" fmla="*/ 48 w 52"/>
                <a:gd name="T11" fmla="*/ 11 h 93"/>
                <a:gd name="T12" fmla="*/ 46 w 52"/>
                <a:gd name="T13" fmla="*/ 8 h 93"/>
                <a:gd name="T14" fmla="*/ 26 w 52"/>
                <a:gd name="T15" fmla="*/ 4 h 93"/>
                <a:gd name="T16" fmla="*/ 6 w 52"/>
                <a:gd name="T17" fmla="*/ 8 h 93"/>
                <a:gd name="T18" fmla="*/ 4 w 52"/>
                <a:gd name="T19" fmla="*/ 11 h 93"/>
                <a:gd name="T20" fmla="*/ 4 w 52"/>
                <a:gd name="T21" fmla="*/ 47 h 93"/>
                <a:gd name="T22" fmla="*/ 11 w 52"/>
                <a:gd name="T23" fmla="*/ 55 h 93"/>
                <a:gd name="T24" fmla="*/ 13 w 52"/>
                <a:gd name="T25" fmla="*/ 55 h 93"/>
                <a:gd name="T26" fmla="*/ 13 w 52"/>
                <a:gd name="T27" fmla="*/ 93 h 93"/>
                <a:gd name="T28" fmla="*/ 9 w 52"/>
                <a:gd name="T29" fmla="*/ 93 h 93"/>
                <a:gd name="T30" fmla="*/ 9 w 52"/>
                <a:gd name="T31" fmla="*/ 58 h 93"/>
                <a:gd name="T32" fmla="*/ 0 w 52"/>
                <a:gd name="T33" fmla="*/ 47 h 93"/>
                <a:gd name="T34" fmla="*/ 0 w 52"/>
                <a:gd name="T35" fmla="*/ 11 h 93"/>
                <a:gd name="T36" fmla="*/ 5 w 52"/>
                <a:gd name="T37" fmla="*/ 4 h 93"/>
                <a:gd name="T38" fmla="*/ 26 w 52"/>
                <a:gd name="T39" fmla="*/ 0 h 93"/>
                <a:gd name="T40" fmla="*/ 47 w 52"/>
                <a:gd name="T41" fmla="*/ 4 h 93"/>
                <a:gd name="T42" fmla="*/ 52 w 52"/>
                <a:gd name="T43" fmla="*/ 11 h 93"/>
                <a:gd name="T44" fmla="*/ 52 w 52"/>
                <a:gd name="T45" fmla="*/ 47 h 93"/>
                <a:gd name="T46" fmla="*/ 43 w 52"/>
                <a:gd name="T47" fmla="*/ 58 h 93"/>
                <a:gd name="T48" fmla="*/ 43 w 52"/>
                <a:gd name="T49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2" h="93">
                  <a:moveTo>
                    <a:pt x="43" y="93"/>
                  </a:moveTo>
                  <a:cubicBezTo>
                    <a:pt x="39" y="93"/>
                    <a:pt x="39" y="93"/>
                    <a:pt x="39" y="93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41" y="55"/>
                    <a:pt x="41" y="55"/>
                    <a:pt x="41" y="55"/>
                  </a:cubicBezTo>
                  <a:cubicBezTo>
                    <a:pt x="45" y="55"/>
                    <a:pt x="48" y="51"/>
                    <a:pt x="48" y="47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8" y="10"/>
                    <a:pt x="47" y="8"/>
                    <a:pt x="46" y="8"/>
                  </a:cubicBezTo>
                  <a:cubicBezTo>
                    <a:pt x="42" y="6"/>
                    <a:pt x="35" y="4"/>
                    <a:pt x="26" y="4"/>
                  </a:cubicBezTo>
                  <a:cubicBezTo>
                    <a:pt x="17" y="4"/>
                    <a:pt x="10" y="6"/>
                    <a:pt x="6" y="8"/>
                  </a:cubicBezTo>
                  <a:cubicBezTo>
                    <a:pt x="5" y="8"/>
                    <a:pt x="4" y="10"/>
                    <a:pt x="4" y="11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4" y="51"/>
                    <a:pt x="7" y="55"/>
                    <a:pt x="11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4" y="58"/>
                    <a:pt x="0" y="53"/>
                    <a:pt x="0" y="47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8"/>
                    <a:pt x="2" y="5"/>
                    <a:pt x="5" y="4"/>
                  </a:cubicBezTo>
                  <a:cubicBezTo>
                    <a:pt x="9" y="2"/>
                    <a:pt x="17" y="0"/>
                    <a:pt x="26" y="0"/>
                  </a:cubicBezTo>
                  <a:cubicBezTo>
                    <a:pt x="36" y="0"/>
                    <a:pt x="43" y="2"/>
                    <a:pt x="47" y="4"/>
                  </a:cubicBezTo>
                  <a:cubicBezTo>
                    <a:pt x="50" y="5"/>
                    <a:pt x="52" y="8"/>
                    <a:pt x="52" y="11"/>
                  </a:cubicBezTo>
                  <a:cubicBezTo>
                    <a:pt x="52" y="47"/>
                    <a:pt x="52" y="47"/>
                    <a:pt x="52" y="47"/>
                  </a:cubicBezTo>
                  <a:cubicBezTo>
                    <a:pt x="52" y="53"/>
                    <a:pt x="48" y="58"/>
                    <a:pt x="43" y="58"/>
                  </a:cubicBezTo>
                  <a:lnTo>
                    <a:pt x="43" y="93"/>
                  </a:lnTo>
                  <a:close/>
                </a:path>
              </a:pathLst>
            </a:custGeom>
            <a:solidFill>
              <a:srgbClr val="004F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32" name="Freeform 11"/>
            <p:cNvSpPr>
              <a:spLocks noEditPoints="1"/>
            </p:cNvSpPr>
            <p:nvPr/>
          </p:nvSpPr>
          <p:spPr bwMode="auto">
            <a:xfrm>
              <a:off x="3942" y="-852"/>
              <a:ext cx="127" cy="141"/>
            </a:xfrm>
            <a:custGeom>
              <a:avLst/>
              <a:gdLst>
                <a:gd name="T0" fmla="*/ 14 w 28"/>
                <a:gd name="T1" fmla="*/ 31 h 31"/>
                <a:gd name="T2" fmla="*/ 0 w 28"/>
                <a:gd name="T3" fmla="*/ 14 h 31"/>
                <a:gd name="T4" fmla="*/ 14 w 28"/>
                <a:gd name="T5" fmla="*/ 0 h 31"/>
                <a:gd name="T6" fmla="*/ 28 w 28"/>
                <a:gd name="T7" fmla="*/ 14 h 31"/>
                <a:gd name="T8" fmla="*/ 14 w 28"/>
                <a:gd name="T9" fmla="*/ 31 h 31"/>
                <a:gd name="T10" fmla="*/ 14 w 28"/>
                <a:gd name="T11" fmla="*/ 4 h 31"/>
                <a:gd name="T12" fmla="*/ 4 w 28"/>
                <a:gd name="T13" fmla="*/ 14 h 31"/>
                <a:gd name="T14" fmla="*/ 14 w 28"/>
                <a:gd name="T15" fmla="*/ 27 h 31"/>
                <a:gd name="T16" fmla="*/ 24 w 28"/>
                <a:gd name="T17" fmla="*/ 14 h 31"/>
                <a:gd name="T18" fmla="*/ 14 w 28"/>
                <a:gd name="T19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31">
                  <a:moveTo>
                    <a:pt x="14" y="31"/>
                  </a:moveTo>
                  <a:cubicBezTo>
                    <a:pt x="6" y="31"/>
                    <a:pt x="0" y="23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ubicBezTo>
                    <a:pt x="28" y="23"/>
                    <a:pt x="22" y="31"/>
                    <a:pt x="14" y="31"/>
                  </a:cubicBezTo>
                  <a:close/>
                  <a:moveTo>
                    <a:pt x="14" y="4"/>
                  </a:moveTo>
                  <a:cubicBezTo>
                    <a:pt x="9" y="4"/>
                    <a:pt x="4" y="8"/>
                    <a:pt x="4" y="14"/>
                  </a:cubicBezTo>
                  <a:cubicBezTo>
                    <a:pt x="4" y="21"/>
                    <a:pt x="8" y="27"/>
                    <a:pt x="14" y="27"/>
                  </a:cubicBezTo>
                  <a:cubicBezTo>
                    <a:pt x="20" y="27"/>
                    <a:pt x="24" y="21"/>
                    <a:pt x="24" y="14"/>
                  </a:cubicBezTo>
                  <a:cubicBezTo>
                    <a:pt x="24" y="8"/>
                    <a:pt x="19" y="4"/>
                    <a:pt x="14" y="4"/>
                  </a:cubicBezTo>
                  <a:close/>
                </a:path>
              </a:pathLst>
            </a:custGeom>
            <a:solidFill>
              <a:srgbClr val="004F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33" name="Freeform 12"/>
            <p:cNvSpPr>
              <a:spLocks/>
            </p:cNvSpPr>
            <p:nvPr/>
          </p:nvSpPr>
          <p:spPr bwMode="auto">
            <a:xfrm>
              <a:off x="3609" y="-697"/>
              <a:ext cx="237" cy="424"/>
            </a:xfrm>
            <a:custGeom>
              <a:avLst/>
              <a:gdLst>
                <a:gd name="T0" fmla="*/ 43 w 52"/>
                <a:gd name="T1" fmla="*/ 93 h 93"/>
                <a:gd name="T2" fmla="*/ 39 w 52"/>
                <a:gd name="T3" fmla="*/ 93 h 93"/>
                <a:gd name="T4" fmla="*/ 39 w 52"/>
                <a:gd name="T5" fmla="*/ 55 h 93"/>
                <a:gd name="T6" fmla="*/ 41 w 52"/>
                <a:gd name="T7" fmla="*/ 55 h 93"/>
                <a:gd name="T8" fmla="*/ 48 w 52"/>
                <a:gd name="T9" fmla="*/ 47 h 93"/>
                <a:gd name="T10" fmla="*/ 48 w 52"/>
                <a:gd name="T11" fmla="*/ 11 h 93"/>
                <a:gd name="T12" fmla="*/ 46 w 52"/>
                <a:gd name="T13" fmla="*/ 8 h 93"/>
                <a:gd name="T14" fmla="*/ 26 w 52"/>
                <a:gd name="T15" fmla="*/ 4 h 93"/>
                <a:gd name="T16" fmla="*/ 6 w 52"/>
                <a:gd name="T17" fmla="*/ 8 h 93"/>
                <a:gd name="T18" fmla="*/ 4 w 52"/>
                <a:gd name="T19" fmla="*/ 11 h 93"/>
                <a:gd name="T20" fmla="*/ 4 w 52"/>
                <a:gd name="T21" fmla="*/ 47 h 93"/>
                <a:gd name="T22" fmla="*/ 11 w 52"/>
                <a:gd name="T23" fmla="*/ 55 h 93"/>
                <a:gd name="T24" fmla="*/ 13 w 52"/>
                <a:gd name="T25" fmla="*/ 55 h 93"/>
                <a:gd name="T26" fmla="*/ 13 w 52"/>
                <a:gd name="T27" fmla="*/ 93 h 93"/>
                <a:gd name="T28" fmla="*/ 9 w 52"/>
                <a:gd name="T29" fmla="*/ 93 h 93"/>
                <a:gd name="T30" fmla="*/ 9 w 52"/>
                <a:gd name="T31" fmla="*/ 58 h 93"/>
                <a:gd name="T32" fmla="*/ 0 w 52"/>
                <a:gd name="T33" fmla="*/ 47 h 93"/>
                <a:gd name="T34" fmla="*/ 0 w 52"/>
                <a:gd name="T35" fmla="*/ 11 h 93"/>
                <a:gd name="T36" fmla="*/ 5 w 52"/>
                <a:gd name="T37" fmla="*/ 4 h 93"/>
                <a:gd name="T38" fmla="*/ 26 w 52"/>
                <a:gd name="T39" fmla="*/ 0 h 93"/>
                <a:gd name="T40" fmla="*/ 47 w 52"/>
                <a:gd name="T41" fmla="*/ 4 h 93"/>
                <a:gd name="T42" fmla="*/ 52 w 52"/>
                <a:gd name="T43" fmla="*/ 11 h 93"/>
                <a:gd name="T44" fmla="*/ 52 w 52"/>
                <a:gd name="T45" fmla="*/ 47 h 93"/>
                <a:gd name="T46" fmla="*/ 43 w 52"/>
                <a:gd name="T47" fmla="*/ 58 h 93"/>
                <a:gd name="T48" fmla="*/ 43 w 52"/>
                <a:gd name="T49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2" h="93">
                  <a:moveTo>
                    <a:pt x="43" y="93"/>
                  </a:moveTo>
                  <a:cubicBezTo>
                    <a:pt x="39" y="93"/>
                    <a:pt x="39" y="93"/>
                    <a:pt x="39" y="93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41" y="55"/>
                    <a:pt x="41" y="55"/>
                    <a:pt x="41" y="55"/>
                  </a:cubicBezTo>
                  <a:cubicBezTo>
                    <a:pt x="45" y="55"/>
                    <a:pt x="48" y="51"/>
                    <a:pt x="48" y="47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8" y="10"/>
                    <a:pt x="47" y="8"/>
                    <a:pt x="46" y="8"/>
                  </a:cubicBezTo>
                  <a:cubicBezTo>
                    <a:pt x="42" y="6"/>
                    <a:pt x="35" y="4"/>
                    <a:pt x="26" y="4"/>
                  </a:cubicBezTo>
                  <a:cubicBezTo>
                    <a:pt x="17" y="4"/>
                    <a:pt x="10" y="6"/>
                    <a:pt x="6" y="8"/>
                  </a:cubicBezTo>
                  <a:cubicBezTo>
                    <a:pt x="5" y="8"/>
                    <a:pt x="4" y="10"/>
                    <a:pt x="4" y="11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4" y="51"/>
                    <a:pt x="7" y="55"/>
                    <a:pt x="11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4" y="58"/>
                    <a:pt x="0" y="53"/>
                    <a:pt x="0" y="47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8"/>
                    <a:pt x="2" y="5"/>
                    <a:pt x="5" y="4"/>
                  </a:cubicBezTo>
                  <a:cubicBezTo>
                    <a:pt x="9" y="2"/>
                    <a:pt x="16" y="0"/>
                    <a:pt x="26" y="0"/>
                  </a:cubicBezTo>
                  <a:cubicBezTo>
                    <a:pt x="36" y="0"/>
                    <a:pt x="43" y="2"/>
                    <a:pt x="47" y="4"/>
                  </a:cubicBezTo>
                  <a:cubicBezTo>
                    <a:pt x="50" y="5"/>
                    <a:pt x="52" y="8"/>
                    <a:pt x="52" y="11"/>
                  </a:cubicBezTo>
                  <a:cubicBezTo>
                    <a:pt x="52" y="47"/>
                    <a:pt x="52" y="47"/>
                    <a:pt x="52" y="47"/>
                  </a:cubicBezTo>
                  <a:cubicBezTo>
                    <a:pt x="52" y="53"/>
                    <a:pt x="48" y="58"/>
                    <a:pt x="43" y="58"/>
                  </a:cubicBezTo>
                  <a:lnTo>
                    <a:pt x="43" y="93"/>
                  </a:lnTo>
                  <a:close/>
                </a:path>
              </a:pathLst>
            </a:custGeom>
            <a:solidFill>
              <a:srgbClr val="004F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48" name="Freeform 13"/>
            <p:cNvSpPr>
              <a:spLocks noEditPoints="1"/>
            </p:cNvSpPr>
            <p:nvPr/>
          </p:nvSpPr>
          <p:spPr bwMode="auto">
            <a:xfrm>
              <a:off x="3664" y="-966"/>
              <a:ext cx="542" cy="255"/>
            </a:xfrm>
            <a:custGeom>
              <a:avLst/>
              <a:gdLst>
                <a:gd name="T0" fmla="*/ 14 w 119"/>
                <a:gd name="T1" fmla="*/ 56 h 56"/>
                <a:gd name="T2" fmla="*/ 0 w 119"/>
                <a:gd name="T3" fmla="*/ 39 h 56"/>
                <a:gd name="T4" fmla="*/ 14 w 119"/>
                <a:gd name="T5" fmla="*/ 25 h 56"/>
                <a:gd name="T6" fmla="*/ 28 w 119"/>
                <a:gd name="T7" fmla="*/ 39 h 56"/>
                <a:gd name="T8" fmla="*/ 14 w 119"/>
                <a:gd name="T9" fmla="*/ 56 h 56"/>
                <a:gd name="T10" fmla="*/ 14 w 119"/>
                <a:gd name="T11" fmla="*/ 29 h 56"/>
                <a:gd name="T12" fmla="*/ 4 w 119"/>
                <a:gd name="T13" fmla="*/ 39 h 56"/>
                <a:gd name="T14" fmla="*/ 14 w 119"/>
                <a:gd name="T15" fmla="*/ 52 h 56"/>
                <a:gd name="T16" fmla="*/ 24 w 119"/>
                <a:gd name="T17" fmla="*/ 39 h 56"/>
                <a:gd name="T18" fmla="*/ 14 w 119"/>
                <a:gd name="T19" fmla="*/ 29 h 56"/>
                <a:gd name="T20" fmla="*/ 105 w 119"/>
                <a:gd name="T21" fmla="*/ 32 h 56"/>
                <a:gd name="T22" fmla="*/ 91 w 119"/>
                <a:gd name="T23" fmla="*/ 14 h 56"/>
                <a:gd name="T24" fmla="*/ 105 w 119"/>
                <a:gd name="T25" fmla="*/ 0 h 56"/>
                <a:gd name="T26" fmla="*/ 119 w 119"/>
                <a:gd name="T27" fmla="*/ 14 h 56"/>
                <a:gd name="T28" fmla="*/ 105 w 119"/>
                <a:gd name="T29" fmla="*/ 32 h 56"/>
                <a:gd name="T30" fmla="*/ 105 w 119"/>
                <a:gd name="T31" fmla="*/ 4 h 56"/>
                <a:gd name="T32" fmla="*/ 95 w 119"/>
                <a:gd name="T33" fmla="*/ 14 h 56"/>
                <a:gd name="T34" fmla="*/ 105 w 119"/>
                <a:gd name="T35" fmla="*/ 28 h 56"/>
                <a:gd name="T36" fmla="*/ 115 w 119"/>
                <a:gd name="T37" fmla="*/ 14 h 56"/>
                <a:gd name="T38" fmla="*/ 105 w 119"/>
                <a:gd name="T39" fmla="*/ 4 h 56"/>
                <a:gd name="T40" fmla="*/ 45 w 119"/>
                <a:gd name="T41" fmla="*/ 32 h 56"/>
                <a:gd name="T42" fmla="*/ 30 w 119"/>
                <a:gd name="T43" fmla="*/ 14 h 56"/>
                <a:gd name="T44" fmla="*/ 45 w 119"/>
                <a:gd name="T45" fmla="*/ 0 h 56"/>
                <a:gd name="T46" fmla="*/ 59 w 119"/>
                <a:gd name="T47" fmla="*/ 14 h 56"/>
                <a:gd name="T48" fmla="*/ 45 w 119"/>
                <a:gd name="T49" fmla="*/ 32 h 56"/>
                <a:gd name="T50" fmla="*/ 45 w 119"/>
                <a:gd name="T51" fmla="*/ 4 h 56"/>
                <a:gd name="T52" fmla="*/ 34 w 119"/>
                <a:gd name="T53" fmla="*/ 14 h 56"/>
                <a:gd name="T54" fmla="*/ 45 w 119"/>
                <a:gd name="T55" fmla="*/ 28 h 56"/>
                <a:gd name="T56" fmla="*/ 55 w 119"/>
                <a:gd name="T57" fmla="*/ 14 h 56"/>
                <a:gd name="T58" fmla="*/ 45 w 119"/>
                <a:gd name="T59" fmla="*/ 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19" h="56">
                  <a:moveTo>
                    <a:pt x="14" y="56"/>
                  </a:moveTo>
                  <a:cubicBezTo>
                    <a:pt x="6" y="56"/>
                    <a:pt x="0" y="48"/>
                    <a:pt x="0" y="39"/>
                  </a:cubicBezTo>
                  <a:cubicBezTo>
                    <a:pt x="0" y="31"/>
                    <a:pt x="6" y="25"/>
                    <a:pt x="14" y="25"/>
                  </a:cubicBezTo>
                  <a:cubicBezTo>
                    <a:pt x="22" y="25"/>
                    <a:pt x="28" y="31"/>
                    <a:pt x="28" y="39"/>
                  </a:cubicBezTo>
                  <a:cubicBezTo>
                    <a:pt x="28" y="48"/>
                    <a:pt x="22" y="56"/>
                    <a:pt x="14" y="56"/>
                  </a:cubicBezTo>
                  <a:close/>
                  <a:moveTo>
                    <a:pt x="14" y="29"/>
                  </a:moveTo>
                  <a:cubicBezTo>
                    <a:pt x="9" y="29"/>
                    <a:pt x="4" y="33"/>
                    <a:pt x="4" y="39"/>
                  </a:cubicBezTo>
                  <a:cubicBezTo>
                    <a:pt x="4" y="46"/>
                    <a:pt x="8" y="52"/>
                    <a:pt x="14" y="52"/>
                  </a:cubicBezTo>
                  <a:cubicBezTo>
                    <a:pt x="20" y="52"/>
                    <a:pt x="24" y="46"/>
                    <a:pt x="24" y="39"/>
                  </a:cubicBezTo>
                  <a:cubicBezTo>
                    <a:pt x="24" y="33"/>
                    <a:pt x="20" y="29"/>
                    <a:pt x="14" y="29"/>
                  </a:cubicBezTo>
                  <a:close/>
                  <a:moveTo>
                    <a:pt x="105" y="32"/>
                  </a:moveTo>
                  <a:cubicBezTo>
                    <a:pt x="97" y="32"/>
                    <a:pt x="91" y="24"/>
                    <a:pt x="91" y="14"/>
                  </a:cubicBezTo>
                  <a:cubicBezTo>
                    <a:pt x="91" y="7"/>
                    <a:pt x="97" y="0"/>
                    <a:pt x="105" y="0"/>
                  </a:cubicBezTo>
                  <a:cubicBezTo>
                    <a:pt x="113" y="0"/>
                    <a:pt x="119" y="7"/>
                    <a:pt x="119" y="14"/>
                  </a:cubicBezTo>
                  <a:cubicBezTo>
                    <a:pt x="119" y="24"/>
                    <a:pt x="113" y="32"/>
                    <a:pt x="105" y="32"/>
                  </a:cubicBezTo>
                  <a:close/>
                  <a:moveTo>
                    <a:pt x="105" y="4"/>
                  </a:moveTo>
                  <a:cubicBezTo>
                    <a:pt x="100" y="4"/>
                    <a:pt x="95" y="9"/>
                    <a:pt x="95" y="14"/>
                  </a:cubicBezTo>
                  <a:cubicBezTo>
                    <a:pt x="95" y="22"/>
                    <a:pt x="99" y="28"/>
                    <a:pt x="105" y="28"/>
                  </a:cubicBezTo>
                  <a:cubicBezTo>
                    <a:pt x="111" y="28"/>
                    <a:pt x="115" y="22"/>
                    <a:pt x="115" y="14"/>
                  </a:cubicBezTo>
                  <a:cubicBezTo>
                    <a:pt x="115" y="9"/>
                    <a:pt x="111" y="4"/>
                    <a:pt x="105" y="4"/>
                  </a:cubicBezTo>
                  <a:close/>
                  <a:moveTo>
                    <a:pt x="45" y="32"/>
                  </a:moveTo>
                  <a:cubicBezTo>
                    <a:pt x="36" y="32"/>
                    <a:pt x="30" y="24"/>
                    <a:pt x="30" y="14"/>
                  </a:cubicBezTo>
                  <a:cubicBezTo>
                    <a:pt x="30" y="7"/>
                    <a:pt x="37" y="0"/>
                    <a:pt x="45" y="0"/>
                  </a:cubicBezTo>
                  <a:cubicBezTo>
                    <a:pt x="52" y="0"/>
                    <a:pt x="59" y="7"/>
                    <a:pt x="59" y="14"/>
                  </a:cubicBezTo>
                  <a:cubicBezTo>
                    <a:pt x="59" y="24"/>
                    <a:pt x="53" y="32"/>
                    <a:pt x="45" y="32"/>
                  </a:cubicBezTo>
                  <a:close/>
                  <a:moveTo>
                    <a:pt x="45" y="4"/>
                  </a:moveTo>
                  <a:cubicBezTo>
                    <a:pt x="39" y="4"/>
                    <a:pt x="34" y="9"/>
                    <a:pt x="34" y="14"/>
                  </a:cubicBezTo>
                  <a:cubicBezTo>
                    <a:pt x="34" y="22"/>
                    <a:pt x="39" y="28"/>
                    <a:pt x="45" y="28"/>
                  </a:cubicBezTo>
                  <a:cubicBezTo>
                    <a:pt x="50" y="28"/>
                    <a:pt x="55" y="22"/>
                    <a:pt x="55" y="14"/>
                  </a:cubicBezTo>
                  <a:cubicBezTo>
                    <a:pt x="55" y="9"/>
                    <a:pt x="50" y="4"/>
                    <a:pt x="45" y="4"/>
                  </a:cubicBezTo>
                  <a:close/>
                </a:path>
              </a:pathLst>
            </a:custGeom>
            <a:solidFill>
              <a:srgbClr val="004F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</p:grpSp>
      <p:grpSp>
        <p:nvGrpSpPr>
          <p:cNvPr id="59" name="Group 29"/>
          <p:cNvGrpSpPr>
            <a:grpSpLocks noChangeAspect="1"/>
          </p:cNvGrpSpPr>
          <p:nvPr/>
        </p:nvGrpSpPr>
        <p:grpSpPr bwMode="auto">
          <a:xfrm>
            <a:off x="630238" y="1492251"/>
            <a:ext cx="1238250" cy="1238250"/>
            <a:chOff x="397" y="940"/>
            <a:chExt cx="780" cy="780"/>
          </a:xfrm>
        </p:grpSpPr>
        <p:sp>
          <p:nvSpPr>
            <p:cNvPr id="61" name="Freeform 30"/>
            <p:cNvSpPr>
              <a:spLocks noEditPoints="1"/>
            </p:cNvSpPr>
            <p:nvPr/>
          </p:nvSpPr>
          <p:spPr bwMode="auto">
            <a:xfrm>
              <a:off x="662" y="1185"/>
              <a:ext cx="250" cy="290"/>
            </a:xfrm>
            <a:custGeom>
              <a:avLst/>
              <a:gdLst>
                <a:gd name="T0" fmla="*/ 13 w 319"/>
                <a:gd name="T1" fmla="*/ 281 h 369"/>
                <a:gd name="T2" fmla="*/ 146 w 319"/>
                <a:gd name="T3" fmla="*/ 360 h 369"/>
                <a:gd name="T4" fmla="*/ 150 w 319"/>
                <a:gd name="T5" fmla="*/ 362 h 369"/>
                <a:gd name="T6" fmla="*/ 163 w 319"/>
                <a:gd name="T7" fmla="*/ 369 h 369"/>
                <a:gd name="T8" fmla="*/ 178 w 319"/>
                <a:gd name="T9" fmla="*/ 357 h 369"/>
                <a:gd name="T10" fmla="*/ 313 w 319"/>
                <a:gd name="T11" fmla="*/ 281 h 369"/>
                <a:gd name="T12" fmla="*/ 319 w 319"/>
                <a:gd name="T13" fmla="*/ 263 h 369"/>
                <a:gd name="T14" fmla="*/ 319 w 319"/>
                <a:gd name="T15" fmla="*/ 100 h 369"/>
                <a:gd name="T16" fmla="*/ 313 w 319"/>
                <a:gd name="T17" fmla="*/ 88 h 369"/>
                <a:gd name="T18" fmla="*/ 306 w 319"/>
                <a:gd name="T19" fmla="*/ 84 h 369"/>
                <a:gd name="T20" fmla="*/ 169 w 319"/>
                <a:gd name="T21" fmla="*/ 7 h 369"/>
                <a:gd name="T22" fmla="*/ 150 w 319"/>
                <a:gd name="T23" fmla="*/ 7 h 369"/>
                <a:gd name="T24" fmla="*/ 20 w 319"/>
                <a:gd name="T25" fmla="*/ 84 h 369"/>
                <a:gd name="T26" fmla="*/ 13 w 319"/>
                <a:gd name="T27" fmla="*/ 88 h 369"/>
                <a:gd name="T28" fmla="*/ 0 w 319"/>
                <a:gd name="T29" fmla="*/ 106 h 369"/>
                <a:gd name="T30" fmla="*/ 0 w 319"/>
                <a:gd name="T31" fmla="*/ 269 h 369"/>
                <a:gd name="T32" fmla="*/ 13 w 319"/>
                <a:gd name="T33" fmla="*/ 281 h 369"/>
                <a:gd name="T34" fmla="*/ 281 w 319"/>
                <a:gd name="T35" fmla="*/ 256 h 369"/>
                <a:gd name="T36" fmla="*/ 181 w 319"/>
                <a:gd name="T37" fmla="*/ 313 h 369"/>
                <a:gd name="T38" fmla="*/ 181 w 319"/>
                <a:gd name="T39" fmla="*/ 194 h 369"/>
                <a:gd name="T40" fmla="*/ 281 w 319"/>
                <a:gd name="T41" fmla="*/ 138 h 369"/>
                <a:gd name="T42" fmla="*/ 281 w 319"/>
                <a:gd name="T43" fmla="*/ 256 h 369"/>
                <a:gd name="T44" fmla="*/ 163 w 319"/>
                <a:gd name="T45" fmla="*/ 44 h 369"/>
                <a:gd name="T46" fmla="*/ 263 w 319"/>
                <a:gd name="T47" fmla="*/ 100 h 369"/>
                <a:gd name="T48" fmla="*/ 157 w 319"/>
                <a:gd name="T49" fmla="*/ 162 h 369"/>
                <a:gd name="T50" fmla="*/ 63 w 319"/>
                <a:gd name="T51" fmla="*/ 106 h 369"/>
                <a:gd name="T52" fmla="*/ 163 w 319"/>
                <a:gd name="T53" fmla="*/ 44 h 369"/>
                <a:gd name="T54" fmla="*/ 138 w 319"/>
                <a:gd name="T55" fmla="*/ 194 h 369"/>
                <a:gd name="T56" fmla="*/ 138 w 319"/>
                <a:gd name="T57" fmla="*/ 313 h 369"/>
                <a:gd name="T58" fmla="*/ 44 w 319"/>
                <a:gd name="T59" fmla="*/ 256 h 369"/>
                <a:gd name="T60" fmla="*/ 38 w 319"/>
                <a:gd name="T61" fmla="*/ 138 h 369"/>
                <a:gd name="T62" fmla="*/ 138 w 319"/>
                <a:gd name="T63" fmla="*/ 194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19" h="369">
                  <a:moveTo>
                    <a:pt x="13" y="281"/>
                  </a:moveTo>
                  <a:cubicBezTo>
                    <a:pt x="13" y="281"/>
                    <a:pt x="13" y="281"/>
                    <a:pt x="146" y="360"/>
                  </a:cubicBezTo>
                  <a:cubicBezTo>
                    <a:pt x="147" y="361"/>
                    <a:pt x="148" y="362"/>
                    <a:pt x="150" y="362"/>
                  </a:cubicBezTo>
                  <a:cubicBezTo>
                    <a:pt x="156" y="362"/>
                    <a:pt x="156" y="369"/>
                    <a:pt x="163" y="369"/>
                  </a:cubicBezTo>
                  <a:cubicBezTo>
                    <a:pt x="170" y="369"/>
                    <a:pt x="175" y="364"/>
                    <a:pt x="178" y="357"/>
                  </a:cubicBezTo>
                  <a:cubicBezTo>
                    <a:pt x="192" y="349"/>
                    <a:pt x="227" y="330"/>
                    <a:pt x="313" y="281"/>
                  </a:cubicBezTo>
                  <a:cubicBezTo>
                    <a:pt x="319" y="281"/>
                    <a:pt x="319" y="275"/>
                    <a:pt x="319" y="263"/>
                  </a:cubicBezTo>
                  <a:cubicBezTo>
                    <a:pt x="319" y="263"/>
                    <a:pt x="319" y="263"/>
                    <a:pt x="319" y="100"/>
                  </a:cubicBezTo>
                  <a:cubicBezTo>
                    <a:pt x="319" y="94"/>
                    <a:pt x="319" y="88"/>
                    <a:pt x="313" y="88"/>
                  </a:cubicBezTo>
                  <a:cubicBezTo>
                    <a:pt x="311" y="86"/>
                    <a:pt x="308" y="85"/>
                    <a:pt x="306" y="84"/>
                  </a:cubicBezTo>
                  <a:cubicBezTo>
                    <a:pt x="294" y="77"/>
                    <a:pt x="262" y="59"/>
                    <a:pt x="169" y="7"/>
                  </a:cubicBezTo>
                  <a:cubicBezTo>
                    <a:pt x="163" y="0"/>
                    <a:pt x="156" y="0"/>
                    <a:pt x="150" y="7"/>
                  </a:cubicBezTo>
                  <a:cubicBezTo>
                    <a:pt x="150" y="7"/>
                    <a:pt x="150" y="7"/>
                    <a:pt x="20" y="84"/>
                  </a:cubicBezTo>
                  <a:cubicBezTo>
                    <a:pt x="17" y="84"/>
                    <a:pt x="15" y="85"/>
                    <a:pt x="13" y="88"/>
                  </a:cubicBezTo>
                  <a:cubicBezTo>
                    <a:pt x="6" y="88"/>
                    <a:pt x="0" y="100"/>
                    <a:pt x="0" y="106"/>
                  </a:cubicBezTo>
                  <a:cubicBezTo>
                    <a:pt x="0" y="106"/>
                    <a:pt x="0" y="106"/>
                    <a:pt x="0" y="269"/>
                  </a:cubicBezTo>
                  <a:cubicBezTo>
                    <a:pt x="0" y="275"/>
                    <a:pt x="6" y="281"/>
                    <a:pt x="13" y="281"/>
                  </a:cubicBezTo>
                  <a:close/>
                  <a:moveTo>
                    <a:pt x="281" y="256"/>
                  </a:moveTo>
                  <a:cubicBezTo>
                    <a:pt x="281" y="256"/>
                    <a:pt x="281" y="256"/>
                    <a:pt x="181" y="313"/>
                  </a:cubicBezTo>
                  <a:cubicBezTo>
                    <a:pt x="181" y="313"/>
                    <a:pt x="181" y="313"/>
                    <a:pt x="181" y="194"/>
                  </a:cubicBezTo>
                  <a:cubicBezTo>
                    <a:pt x="281" y="138"/>
                    <a:pt x="281" y="138"/>
                    <a:pt x="281" y="138"/>
                  </a:cubicBezTo>
                  <a:cubicBezTo>
                    <a:pt x="281" y="138"/>
                    <a:pt x="281" y="138"/>
                    <a:pt x="281" y="256"/>
                  </a:cubicBezTo>
                  <a:close/>
                  <a:moveTo>
                    <a:pt x="163" y="44"/>
                  </a:moveTo>
                  <a:cubicBezTo>
                    <a:pt x="163" y="44"/>
                    <a:pt x="163" y="44"/>
                    <a:pt x="263" y="100"/>
                  </a:cubicBezTo>
                  <a:cubicBezTo>
                    <a:pt x="263" y="100"/>
                    <a:pt x="262" y="100"/>
                    <a:pt x="157" y="162"/>
                  </a:cubicBezTo>
                  <a:cubicBezTo>
                    <a:pt x="145" y="155"/>
                    <a:pt x="118" y="139"/>
                    <a:pt x="63" y="106"/>
                  </a:cubicBezTo>
                  <a:lnTo>
                    <a:pt x="163" y="44"/>
                  </a:lnTo>
                  <a:close/>
                  <a:moveTo>
                    <a:pt x="138" y="194"/>
                  </a:moveTo>
                  <a:cubicBezTo>
                    <a:pt x="138" y="194"/>
                    <a:pt x="138" y="194"/>
                    <a:pt x="138" y="313"/>
                  </a:cubicBezTo>
                  <a:cubicBezTo>
                    <a:pt x="138" y="313"/>
                    <a:pt x="138" y="313"/>
                    <a:pt x="44" y="256"/>
                  </a:cubicBezTo>
                  <a:cubicBezTo>
                    <a:pt x="38" y="138"/>
                    <a:pt x="38" y="138"/>
                    <a:pt x="38" y="138"/>
                  </a:cubicBezTo>
                  <a:cubicBezTo>
                    <a:pt x="38" y="138"/>
                    <a:pt x="38" y="138"/>
                    <a:pt x="138" y="194"/>
                  </a:cubicBezTo>
                  <a:close/>
                </a:path>
              </a:pathLst>
            </a:custGeom>
            <a:solidFill>
              <a:srgbClr val="119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62" name="Freeform 31"/>
            <p:cNvSpPr>
              <a:spLocks/>
            </p:cNvSpPr>
            <p:nvPr/>
          </p:nvSpPr>
          <p:spPr bwMode="auto">
            <a:xfrm>
              <a:off x="662" y="1137"/>
              <a:ext cx="39" cy="44"/>
            </a:xfrm>
            <a:custGeom>
              <a:avLst/>
              <a:gdLst>
                <a:gd name="T0" fmla="*/ 50 w 50"/>
                <a:gd name="T1" fmla="*/ 37 h 56"/>
                <a:gd name="T2" fmla="*/ 38 w 50"/>
                <a:gd name="T3" fmla="*/ 0 h 56"/>
                <a:gd name="T4" fmla="*/ 0 w 50"/>
                <a:gd name="T5" fmla="*/ 25 h 56"/>
                <a:gd name="T6" fmla="*/ 19 w 50"/>
                <a:gd name="T7" fmla="*/ 56 h 56"/>
                <a:gd name="T8" fmla="*/ 50 w 50"/>
                <a:gd name="T9" fmla="*/ 37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6">
                  <a:moveTo>
                    <a:pt x="50" y="37"/>
                  </a:moveTo>
                  <a:cubicBezTo>
                    <a:pt x="50" y="37"/>
                    <a:pt x="50" y="37"/>
                    <a:pt x="38" y="0"/>
                  </a:cubicBezTo>
                  <a:cubicBezTo>
                    <a:pt x="19" y="6"/>
                    <a:pt x="6" y="12"/>
                    <a:pt x="0" y="25"/>
                  </a:cubicBezTo>
                  <a:cubicBezTo>
                    <a:pt x="0" y="25"/>
                    <a:pt x="0" y="25"/>
                    <a:pt x="19" y="56"/>
                  </a:cubicBezTo>
                  <a:cubicBezTo>
                    <a:pt x="31" y="50"/>
                    <a:pt x="44" y="44"/>
                    <a:pt x="50" y="37"/>
                  </a:cubicBezTo>
                  <a:close/>
                </a:path>
              </a:pathLst>
            </a:custGeom>
            <a:solidFill>
              <a:srgbClr val="119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63" name="Freeform 32"/>
            <p:cNvSpPr>
              <a:spLocks/>
            </p:cNvSpPr>
            <p:nvPr/>
          </p:nvSpPr>
          <p:spPr bwMode="auto">
            <a:xfrm>
              <a:off x="721" y="1117"/>
              <a:ext cx="39" cy="39"/>
            </a:xfrm>
            <a:custGeom>
              <a:avLst/>
              <a:gdLst>
                <a:gd name="T0" fmla="*/ 50 w 50"/>
                <a:gd name="T1" fmla="*/ 37 h 50"/>
                <a:gd name="T2" fmla="*/ 44 w 50"/>
                <a:gd name="T3" fmla="*/ 0 h 50"/>
                <a:gd name="T4" fmla="*/ 0 w 50"/>
                <a:gd name="T5" fmla="*/ 6 h 50"/>
                <a:gd name="T6" fmla="*/ 13 w 50"/>
                <a:gd name="T7" fmla="*/ 50 h 50"/>
                <a:gd name="T8" fmla="*/ 50 w 50"/>
                <a:gd name="T9" fmla="*/ 3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0">
                  <a:moveTo>
                    <a:pt x="50" y="37"/>
                  </a:moveTo>
                  <a:cubicBezTo>
                    <a:pt x="50" y="37"/>
                    <a:pt x="50" y="37"/>
                    <a:pt x="44" y="0"/>
                  </a:cubicBezTo>
                  <a:cubicBezTo>
                    <a:pt x="25" y="0"/>
                    <a:pt x="13" y="6"/>
                    <a:pt x="0" y="6"/>
                  </a:cubicBezTo>
                  <a:cubicBezTo>
                    <a:pt x="0" y="6"/>
                    <a:pt x="0" y="6"/>
                    <a:pt x="13" y="50"/>
                  </a:cubicBezTo>
                  <a:cubicBezTo>
                    <a:pt x="25" y="44"/>
                    <a:pt x="38" y="37"/>
                    <a:pt x="50" y="37"/>
                  </a:cubicBezTo>
                  <a:close/>
                </a:path>
              </a:pathLst>
            </a:custGeom>
            <a:solidFill>
              <a:srgbClr val="119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64" name="Freeform 33"/>
            <p:cNvSpPr>
              <a:spLocks/>
            </p:cNvSpPr>
            <p:nvPr/>
          </p:nvSpPr>
          <p:spPr bwMode="auto">
            <a:xfrm>
              <a:off x="755" y="1514"/>
              <a:ext cx="35" cy="34"/>
            </a:xfrm>
            <a:custGeom>
              <a:avLst/>
              <a:gdLst>
                <a:gd name="T0" fmla="*/ 0 w 44"/>
                <a:gd name="T1" fmla="*/ 37 h 43"/>
                <a:gd name="T2" fmla="*/ 44 w 44"/>
                <a:gd name="T3" fmla="*/ 43 h 43"/>
                <a:gd name="T4" fmla="*/ 44 w 44"/>
                <a:gd name="T5" fmla="*/ 0 h 43"/>
                <a:gd name="T6" fmla="*/ 6 w 44"/>
                <a:gd name="T7" fmla="*/ 0 h 43"/>
                <a:gd name="T8" fmla="*/ 0 w 44"/>
                <a:gd name="T9" fmla="*/ 3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3">
                  <a:moveTo>
                    <a:pt x="0" y="37"/>
                  </a:moveTo>
                  <a:cubicBezTo>
                    <a:pt x="12" y="43"/>
                    <a:pt x="25" y="43"/>
                    <a:pt x="44" y="43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31" y="0"/>
                    <a:pt x="19" y="0"/>
                    <a:pt x="6" y="0"/>
                  </a:cubicBezTo>
                  <a:cubicBezTo>
                    <a:pt x="6" y="0"/>
                    <a:pt x="6" y="0"/>
                    <a:pt x="0" y="37"/>
                  </a:cubicBezTo>
                  <a:close/>
                </a:path>
              </a:pathLst>
            </a:custGeom>
            <a:solidFill>
              <a:srgbClr val="119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65" name="Freeform 34"/>
            <p:cNvSpPr>
              <a:spLocks/>
            </p:cNvSpPr>
            <p:nvPr/>
          </p:nvSpPr>
          <p:spPr bwMode="auto">
            <a:xfrm>
              <a:off x="790" y="1112"/>
              <a:ext cx="34" cy="34"/>
            </a:xfrm>
            <a:custGeom>
              <a:avLst/>
              <a:gdLst>
                <a:gd name="T0" fmla="*/ 0 w 43"/>
                <a:gd name="T1" fmla="*/ 43 h 43"/>
                <a:gd name="T2" fmla="*/ 37 w 43"/>
                <a:gd name="T3" fmla="*/ 43 h 43"/>
                <a:gd name="T4" fmla="*/ 43 w 43"/>
                <a:gd name="T5" fmla="*/ 6 h 43"/>
                <a:gd name="T6" fmla="*/ 0 w 43"/>
                <a:gd name="T7" fmla="*/ 0 h 43"/>
                <a:gd name="T8" fmla="*/ 0 w 43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3">
                  <a:moveTo>
                    <a:pt x="0" y="43"/>
                  </a:moveTo>
                  <a:cubicBezTo>
                    <a:pt x="12" y="43"/>
                    <a:pt x="25" y="43"/>
                    <a:pt x="37" y="43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25" y="0"/>
                    <a:pt x="12" y="0"/>
                    <a:pt x="0" y="0"/>
                  </a:cubicBezTo>
                  <a:cubicBezTo>
                    <a:pt x="0" y="0"/>
                    <a:pt x="0" y="0"/>
                    <a:pt x="0" y="43"/>
                  </a:cubicBezTo>
                  <a:close/>
                </a:path>
              </a:pathLst>
            </a:custGeom>
            <a:solidFill>
              <a:srgbClr val="119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66" name="Freeform 35"/>
            <p:cNvSpPr>
              <a:spLocks/>
            </p:cNvSpPr>
            <p:nvPr/>
          </p:nvSpPr>
          <p:spPr bwMode="auto">
            <a:xfrm>
              <a:off x="966" y="1264"/>
              <a:ext cx="34" cy="39"/>
            </a:xfrm>
            <a:custGeom>
              <a:avLst/>
              <a:gdLst>
                <a:gd name="T0" fmla="*/ 44 w 44"/>
                <a:gd name="T1" fmla="*/ 44 h 50"/>
                <a:gd name="T2" fmla="*/ 38 w 44"/>
                <a:gd name="T3" fmla="*/ 0 h 50"/>
                <a:gd name="T4" fmla="*/ 0 w 44"/>
                <a:gd name="T5" fmla="*/ 13 h 50"/>
                <a:gd name="T6" fmla="*/ 7 w 44"/>
                <a:gd name="T7" fmla="*/ 50 h 50"/>
                <a:gd name="T8" fmla="*/ 44 w 44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50">
                  <a:moveTo>
                    <a:pt x="44" y="44"/>
                  </a:moveTo>
                  <a:cubicBezTo>
                    <a:pt x="44" y="25"/>
                    <a:pt x="38" y="13"/>
                    <a:pt x="38" y="0"/>
                  </a:cubicBezTo>
                  <a:cubicBezTo>
                    <a:pt x="38" y="0"/>
                    <a:pt x="38" y="0"/>
                    <a:pt x="0" y="13"/>
                  </a:cubicBezTo>
                  <a:cubicBezTo>
                    <a:pt x="0" y="25"/>
                    <a:pt x="7" y="38"/>
                    <a:pt x="7" y="50"/>
                  </a:cubicBezTo>
                  <a:lnTo>
                    <a:pt x="44" y="44"/>
                  </a:lnTo>
                  <a:close/>
                </a:path>
              </a:pathLst>
            </a:custGeom>
            <a:solidFill>
              <a:srgbClr val="119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67" name="Freeform 36"/>
            <p:cNvSpPr>
              <a:spLocks/>
            </p:cNvSpPr>
            <p:nvPr/>
          </p:nvSpPr>
          <p:spPr bwMode="auto">
            <a:xfrm>
              <a:off x="952" y="1386"/>
              <a:ext cx="44" cy="45"/>
            </a:xfrm>
            <a:custGeom>
              <a:avLst/>
              <a:gdLst>
                <a:gd name="T0" fmla="*/ 0 w 56"/>
                <a:gd name="T1" fmla="*/ 38 h 57"/>
                <a:gd name="T2" fmla="*/ 37 w 56"/>
                <a:gd name="T3" fmla="*/ 57 h 57"/>
                <a:gd name="T4" fmla="*/ 56 w 56"/>
                <a:gd name="T5" fmla="*/ 13 h 57"/>
                <a:gd name="T6" fmla="*/ 18 w 56"/>
                <a:gd name="T7" fmla="*/ 0 h 57"/>
                <a:gd name="T8" fmla="*/ 0 w 56"/>
                <a:gd name="T9" fmla="*/ 3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57">
                  <a:moveTo>
                    <a:pt x="0" y="38"/>
                  </a:moveTo>
                  <a:cubicBezTo>
                    <a:pt x="0" y="38"/>
                    <a:pt x="0" y="38"/>
                    <a:pt x="37" y="57"/>
                  </a:cubicBezTo>
                  <a:cubicBezTo>
                    <a:pt x="43" y="44"/>
                    <a:pt x="50" y="25"/>
                    <a:pt x="56" y="13"/>
                  </a:cubicBezTo>
                  <a:cubicBezTo>
                    <a:pt x="56" y="13"/>
                    <a:pt x="56" y="13"/>
                    <a:pt x="18" y="0"/>
                  </a:cubicBezTo>
                  <a:cubicBezTo>
                    <a:pt x="12" y="13"/>
                    <a:pt x="6" y="25"/>
                    <a:pt x="0" y="38"/>
                  </a:cubicBezTo>
                  <a:close/>
                </a:path>
              </a:pathLst>
            </a:custGeom>
            <a:solidFill>
              <a:srgbClr val="119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68" name="Freeform 37"/>
            <p:cNvSpPr>
              <a:spLocks/>
            </p:cNvSpPr>
            <p:nvPr/>
          </p:nvSpPr>
          <p:spPr bwMode="auto">
            <a:xfrm>
              <a:off x="971" y="1327"/>
              <a:ext cx="34" cy="35"/>
            </a:xfrm>
            <a:custGeom>
              <a:avLst/>
              <a:gdLst>
                <a:gd name="T0" fmla="*/ 43 w 43"/>
                <a:gd name="T1" fmla="*/ 7 h 44"/>
                <a:gd name="T2" fmla="*/ 43 w 43"/>
                <a:gd name="T3" fmla="*/ 0 h 44"/>
                <a:gd name="T4" fmla="*/ 6 w 43"/>
                <a:gd name="T5" fmla="*/ 7 h 44"/>
                <a:gd name="T6" fmla="*/ 0 w 43"/>
                <a:gd name="T7" fmla="*/ 38 h 44"/>
                <a:gd name="T8" fmla="*/ 37 w 43"/>
                <a:gd name="T9" fmla="*/ 44 h 44"/>
                <a:gd name="T10" fmla="*/ 43 w 43"/>
                <a:gd name="T11" fmla="*/ 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44">
                  <a:moveTo>
                    <a:pt x="43" y="7"/>
                  </a:moveTo>
                  <a:cubicBezTo>
                    <a:pt x="43" y="7"/>
                    <a:pt x="43" y="7"/>
                    <a:pt x="43" y="0"/>
                  </a:cubicBezTo>
                  <a:cubicBezTo>
                    <a:pt x="43" y="0"/>
                    <a:pt x="43" y="0"/>
                    <a:pt x="6" y="7"/>
                  </a:cubicBezTo>
                  <a:cubicBezTo>
                    <a:pt x="6" y="19"/>
                    <a:pt x="0" y="32"/>
                    <a:pt x="0" y="38"/>
                  </a:cubicBezTo>
                  <a:cubicBezTo>
                    <a:pt x="0" y="38"/>
                    <a:pt x="0" y="38"/>
                    <a:pt x="37" y="44"/>
                  </a:cubicBezTo>
                  <a:cubicBezTo>
                    <a:pt x="43" y="32"/>
                    <a:pt x="43" y="19"/>
                    <a:pt x="43" y="7"/>
                  </a:cubicBezTo>
                  <a:close/>
                </a:path>
              </a:pathLst>
            </a:custGeom>
            <a:solidFill>
              <a:srgbClr val="119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69" name="Freeform 38"/>
            <p:cNvSpPr>
              <a:spLocks/>
            </p:cNvSpPr>
            <p:nvPr/>
          </p:nvSpPr>
          <p:spPr bwMode="auto">
            <a:xfrm>
              <a:off x="843" y="1122"/>
              <a:ext cx="45" cy="44"/>
            </a:xfrm>
            <a:custGeom>
              <a:avLst/>
              <a:gdLst>
                <a:gd name="T0" fmla="*/ 0 w 57"/>
                <a:gd name="T1" fmla="*/ 44 h 56"/>
                <a:gd name="T2" fmla="*/ 38 w 57"/>
                <a:gd name="T3" fmla="*/ 56 h 56"/>
                <a:gd name="T4" fmla="*/ 57 w 57"/>
                <a:gd name="T5" fmla="*/ 19 h 56"/>
                <a:gd name="T6" fmla="*/ 13 w 57"/>
                <a:gd name="T7" fmla="*/ 0 h 56"/>
                <a:gd name="T8" fmla="*/ 0 w 57"/>
                <a:gd name="T9" fmla="*/ 4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56">
                  <a:moveTo>
                    <a:pt x="0" y="44"/>
                  </a:moveTo>
                  <a:cubicBezTo>
                    <a:pt x="13" y="44"/>
                    <a:pt x="25" y="50"/>
                    <a:pt x="38" y="56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44" y="13"/>
                    <a:pt x="25" y="6"/>
                    <a:pt x="13" y="0"/>
                  </a:cubicBezTo>
                  <a:cubicBezTo>
                    <a:pt x="13" y="0"/>
                    <a:pt x="13" y="0"/>
                    <a:pt x="0" y="44"/>
                  </a:cubicBezTo>
                  <a:close/>
                </a:path>
              </a:pathLst>
            </a:custGeom>
            <a:solidFill>
              <a:srgbClr val="119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70" name="Freeform 39"/>
            <p:cNvSpPr>
              <a:spLocks/>
            </p:cNvSpPr>
            <p:nvPr/>
          </p:nvSpPr>
          <p:spPr bwMode="auto">
            <a:xfrm>
              <a:off x="937" y="1200"/>
              <a:ext cx="44" cy="44"/>
            </a:xfrm>
            <a:custGeom>
              <a:avLst/>
              <a:gdLst>
                <a:gd name="T0" fmla="*/ 19 w 56"/>
                <a:gd name="T1" fmla="*/ 56 h 56"/>
                <a:gd name="T2" fmla="*/ 56 w 56"/>
                <a:gd name="T3" fmla="*/ 37 h 56"/>
                <a:gd name="T4" fmla="*/ 31 w 56"/>
                <a:gd name="T5" fmla="*/ 0 h 56"/>
                <a:gd name="T6" fmla="*/ 0 w 56"/>
                <a:gd name="T7" fmla="*/ 25 h 56"/>
                <a:gd name="T8" fmla="*/ 19 w 56"/>
                <a:gd name="T9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56">
                  <a:moveTo>
                    <a:pt x="19" y="56"/>
                  </a:moveTo>
                  <a:cubicBezTo>
                    <a:pt x="56" y="37"/>
                    <a:pt x="56" y="37"/>
                    <a:pt x="56" y="37"/>
                  </a:cubicBezTo>
                  <a:cubicBezTo>
                    <a:pt x="50" y="25"/>
                    <a:pt x="44" y="12"/>
                    <a:pt x="31" y="0"/>
                  </a:cubicBezTo>
                  <a:cubicBezTo>
                    <a:pt x="31" y="0"/>
                    <a:pt x="31" y="0"/>
                    <a:pt x="0" y="25"/>
                  </a:cubicBezTo>
                  <a:cubicBezTo>
                    <a:pt x="6" y="37"/>
                    <a:pt x="12" y="50"/>
                    <a:pt x="19" y="56"/>
                  </a:cubicBezTo>
                  <a:close/>
                </a:path>
              </a:pathLst>
            </a:custGeom>
            <a:solidFill>
              <a:srgbClr val="119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71" name="Freeform 40"/>
            <p:cNvSpPr>
              <a:spLocks/>
            </p:cNvSpPr>
            <p:nvPr/>
          </p:nvSpPr>
          <p:spPr bwMode="auto">
            <a:xfrm>
              <a:off x="613" y="1176"/>
              <a:ext cx="44" cy="44"/>
            </a:xfrm>
            <a:custGeom>
              <a:avLst/>
              <a:gdLst>
                <a:gd name="T0" fmla="*/ 31 w 56"/>
                <a:gd name="T1" fmla="*/ 56 h 56"/>
                <a:gd name="T2" fmla="*/ 56 w 56"/>
                <a:gd name="T3" fmla="*/ 31 h 56"/>
                <a:gd name="T4" fmla="*/ 25 w 56"/>
                <a:gd name="T5" fmla="*/ 0 h 56"/>
                <a:gd name="T6" fmla="*/ 0 w 56"/>
                <a:gd name="T7" fmla="*/ 37 h 56"/>
                <a:gd name="T8" fmla="*/ 31 w 56"/>
                <a:gd name="T9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56">
                  <a:moveTo>
                    <a:pt x="31" y="56"/>
                  </a:moveTo>
                  <a:cubicBezTo>
                    <a:pt x="37" y="50"/>
                    <a:pt x="44" y="37"/>
                    <a:pt x="56" y="31"/>
                  </a:cubicBezTo>
                  <a:cubicBezTo>
                    <a:pt x="56" y="31"/>
                    <a:pt x="56" y="31"/>
                    <a:pt x="25" y="0"/>
                  </a:cubicBezTo>
                  <a:cubicBezTo>
                    <a:pt x="19" y="12"/>
                    <a:pt x="6" y="25"/>
                    <a:pt x="0" y="37"/>
                  </a:cubicBezTo>
                  <a:cubicBezTo>
                    <a:pt x="0" y="37"/>
                    <a:pt x="0" y="37"/>
                    <a:pt x="31" y="56"/>
                  </a:cubicBezTo>
                  <a:close/>
                </a:path>
              </a:pathLst>
            </a:custGeom>
            <a:solidFill>
              <a:srgbClr val="119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72" name="Freeform 41"/>
            <p:cNvSpPr>
              <a:spLocks/>
            </p:cNvSpPr>
            <p:nvPr/>
          </p:nvSpPr>
          <p:spPr bwMode="auto">
            <a:xfrm>
              <a:off x="898" y="1156"/>
              <a:ext cx="44" cy="44"/>
            </a:xfrm>
            <a:custGeom>
              <a:avLst/>
              <a:gdLst>
                <a:gd name="T0" fmla="*/ 25 w 56"/>
                <a:gd name="T1" fmla="*/ 56 h 56"/>
                <a:gd name="T2" fmla="*/ 56 w 56"/>
                <a:gd name="T3" fmla="*/ 25 h 56"/>
                <a:gd name="T4" fmla="*/ 25 w 56"/>
                <a:gd name="T5" fmla="*/ 0 h 56"/>
                <a:gd name="T6" fmla="*/ 0 w 56"/>
                <a:gd name="T7" fmla="*/ 31 h 56"/>
                <a:gd name="T8" fmla="*/ 25 w 56"/>
                <a:gd name="T9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56">
                  <a:moveTo>
                    <a:pt x="25" y="56"/>
                  </a:moveTo>
                  <a:cubicBezTo>
                    <a:pt x="56" y="25"/>
                    <a:pt x="56" y="25"/>
                    <a:pt x="56" y="25"/>
                  </a:cubicBezTo>
                  <a:cubicBezTo>
                    <a:pt x="44" y="19"/>
                    <a:pt x="31" y="6"/>
                    <a:pt x="25" y="0"/>
                  </a:cubicBezTo>
                  <a:cubicBezTo>
                    <a:pt x="25" y="0"/>
                    <a:pt x="25" y="0"/>
                    <a:pt x="0" y="31"/>
                  </a:cubicBezTo>
                  <a:cubicBezTo>
                    <a:pt x="6" y="37"/>
                    <a:pt x="19" y="44"/>
                    <a:pt x="25" y="56"/>
                  </a:cubicBezTo>
                  <a:close/>
                </a:path>
              </a:pathLst>
            </a:custGeom>
            <a:solidFill>
              <a:srgbClr val="119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73" name="Freeform 42"/>
            <p:cNvSpPr>
              <a:spLocks/>
            </p:cNvSpPr>
            <p:nvPr/>
          </p:nvSpPr>
          <p:spPr bwMode="auto">
            <a:xfrm>
              <a:off x="917" y="1441"/>
              <a:ext cx="44" cy="44"/>
            </a:xfrm>
            <a:custGeom>
              <a:avLst/>
              <a:gdLst>
                <a:gd name="T0" fmla="*/ 25 w 56"/>
                <a:gd name="T1" fmla="*/ 0 h 56"/>
                <a:gd name="T2" fmla="*/ 0 w 56"/>
                <a:gd name="T3" fmla="*/ 25 h 56"/>
                <a:gd name="T4" fmla="*/ 31 w 56"/>
                <a:gd name="T5" fmla="*/ 56 h 56"/>
                <a:gd name="T6" fmla="*/ 56 w 56"/>
                <a:gd name="T7" fmla="*/ 25 h 56"/>
                <a:gd name="T8" fmla="*/ 25 w 56"/>
                <a:gd name="T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56">
                  <a:moveTo>
                    <a:pt x="25" y="0"/>
                  </a:moveTo>
                  <a:cubicBezTo>
                    <a:pt x="19" y="6"/>
                    <a:pt x="12" y="19"/>
                    <a:pt x="0" y="25"/>
                  </a:cubicBezTo>
                  <a:cubicBezTo>
                    <a:pt x="0" y="25"/>
                    <a:pt x="0" y="25"/>
                    <a:pt x="31" y="56"/>
                  </a:cubicBezTo>
                  <a:cubicBezTo>
                    <a:pt x="44" y="44"/>
                    <a:pt x="50" y="31"/>
                    <a:pt x="56" y="25"/>
                  </a:cubicBezTo>
                  <a:cubicBezTo>
                    <a:pt x="56" y="25"/>
                    <a:pt x="56" y="25"/>
                    <a:pt x="25" y="0"/>
                  </a:cubicBezTo>
                  <a:close/>
                </a:path>
              </a:pathLst>
            </a:custGeom>
            <a:solidFill>
              <a:srgbClr val="119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74" name="Freeform 43"/>
            <p:cNvSpPr>
              <a:spLocks/>
            </p:cNvSpPr>
            <p:nvPr/>
          </p:nvSpPr>
          <p:spPr bwMode="auto">
            <a:xfrm>
              <a:off x="633" y="1460"/>
              <a:ext cx="44" cy="44"/>
            </a:xfrm>
            <a:custGeom>
              <a:avLst/>
              <a:gdLst>
                <a:gd name="T0" fmla="*/ 31 w 56"/>
                <a:gd name="T1" fmla="*/ 0 h 56"/>
                <a:gd name="T2" fmla="*/ 0 w 56"/>
                <a:gd name="T3" fmla="*/ 31 h 56"/>
                <a:gd name="T4" fmla="*/ 37 w 56"/>
                <a:gd name="T5" fmla="*/ 56 h 56"/>
                <a:gd name="T6" fmla="*/ 56 w 56"/>
                <a:gd name="T7" fmla="*/ 25 h 56"/>
                <a:gd name="T8" fmla="*/ 31 w 56"/>
                <a:gd name="T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56">
                  <a:moveTo>
                    <a:pt x="31" y="0"/>
                  </a:moveTo>
                  <a:cubicBezTo>
                    <a:pt x="31" y="0"/>
                    <a:pt x="31" y="0"/>
                    <a:pt x="0" y="31"/>
                  </a:cubicBezTo>
                  <a:cubicBezTo>
                    <a:pt x="12" y="44"/>
                    <a:pt x="25" y="50"/>
                    <a:pt x="37" y="56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0" y="19"/>
                    <a:pt x="37" y="12"/>
                    <a:pt x="31" y="0"/>
                  </a:cubicBezTo>
                  <a:close/>
                </a:path>
              </a:pathLst>
            </a:custGeom>
            <a:solidFill>
              <a:srgbClr val="119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75" name="Freeform 44"/>
            <p:cNvSpPr>
              <a:spLocks/>
            </p:cNvSpPr>
            <p:nvPr/>
          </p:nvSpPr>
          <p:spPr bwMode="auto">
            <a:xfrm>
              <a:off x="819" y="1509"/>
              <a:ext cx="35" cy="34"/>
            </a:xfrm>
            <a:custGeom>
              <a:avLst/>
              <a:gdLst>
                <a:gd name="T0" fmla="*/ 0 w 44"/>
                <a:gd name="T1" fmla="*/ 7 h 44"/>
                <a:gd name="T2" fmla="*/ 6 w 44"/>
                <a:gd name="T3" fmla="*/ 44 h 44"/>
                <a:gd name="T4" fmla="*/ 44 w 44"/>
                <a:gd name="T5" fmla="*/ 38 h 44"/>
                <a:gd name="T6" fmla="*/ 31 w 44"/>
                <a:gd name="T7" fmla="*/ 0 h 44"/>
                <a:gd name="T8" fmla="*/ 0 w 44"/>
                <a:gd name="T9" fmla="*/ 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4">
                  <a:moveTo>
                    <a:pt x="0" y="7"/>
                  </a:moveTo>
                  <a:cubicBezTo>
                    <a:pt x="0" y="7"/>
                    <a:pt x="0" y="7"/>
                    <a:pt x="6" y="44"/>
                  </a:cubicBezTo>
                  <a:cubicBezTo>
                    <a:pt x="19" y="44"/>
                    <a:pt x="31" y="38"/>
                    <a:pt x="44" y="38"/>
                  </a:cubicBezTo>
                  <a:cubicBezTo>
                    <a:pt x="44" y="38"/>
                    <a:pt x="44" y="38"/>
                    <a:pt x="31" y="0"/>
                  </a:cubicBezTo>
                  <a:cubicBezTo>
                    <a:pt x="25" y="0"/>
                    <a:pt x="13" y="7"/>
                    <a:pt x="0" y="7"/>
                  </a:cubicBezTo>
                  <a:close/>
                </a:path>
              </a:pathLst>
            </a:custGeom>
            <a:solidFill>
              <a:srgbClr val="119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76" name="Freeform 45"/>
            <p:cNvSpPr>
              <a:spLocks/>
            </p:cNvSpPr>
            <p:nvPr/>
          </p:nvSpPr>
          <p:spPr bwMode="auto">
            <a:xfrm>
              <a:off x="873" y="1480"/>
              <a:ext cx="44" cy="44"/>
            </a:xfrm>
            <a:custGeom>
              <a:avLst/>
              <a:gdLst>
                <a:gd name="T0" fmla="*/ 0 w 56"/>
                <a:gd name="T1" fmla="*/ 19 h 56"/>
                <a:gd name="T2" fmla="*/ 19 w 56"/>
                <a:gd name="T3" fmla="*/ 56 h 56"/>
                <a:gd name="T4" fmla="*/ 56 w 56"/>
                <a:gd name="T5" fmla="*/ 31 h 56"/>
                <a:gd name="T6" fmla="*/ 31 w 56"/>
                <a:gd name="T7" fmla="*/ 0 h 56"/>
                <a:gd name="T8" fmla="*/ 0 w 56"/>
                <a:gd name="T9" fmla="*/ 1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56">
                  <a:moveTo>
                    <a:pt x="0" y="19"/>
                  </a:moveTo>
                  <a:cubicBezTo>
                    <a:pt x="0" y="19"/>
                    <a:pt x="0" y="19"/>
                    <a:pt x="19" y="56"/>
                  </a:cubicBezTo>
                  <a:cubicBezTo>
                    <a:pt x="31" y="50"/>
                    <a:pt x="44" y="44"/>
                    <a:pt x="56" y="31"/>
                  </a:cubicBezTo>
                  <a:cubicBezTo>
                    <a:pt x="56" y="31"/>
                    <a:pt x="56" y="31"/>
                    <a:pt x="31" y="0"/>
                  </a:cubicBezTo>
                  <a:cubicBezTo>
                    <a:pt x="19" y="6"/>
                    <a:pt x="12" y="12"/>
                    <a:pt x="0" y="19"/>
                  </a:cubicBezTo>
                  <a:close/>
                </a:path>
              </a:pathLst>
            </a:custGeom>
            <a:solidFill>
              <a:srgbClr val="119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77" name="Freeform 46"/>
            <p:cNvSpPr>
              <a:spLocks/>
            </p:cNvSpPr>
            <p:nvPr/>
          </p:nvSpPr>
          <p:spPr bwMode="auto">
            <a:xfrm>
              <a:off x="692" y="1495"/>
              <a:ext cx="39" cy="44"/>
            </a:xfrm>
            <a:custGeom>
              <a:avLst/>
              <a:gdLst>
                <a:gd name="T0" fmla="*/ 50 w 50"/>
                <a:gd name="T1" fmla="*/ 18 h 56"/>
                <a:gd name="T2" fmla="*/ 18 w 50"/>
                <a:gd name="T3" fmla="*/ 0 h 56"/>
                <a:gd name="T4" fmla="*/ 0 w 50"/>
                <a:gd name="T5" fmla="*/ 37 h 56"/>
                <a:gd name="T6" fmla="*/ 37 w 50"/>
                <a:gd name="T7" fmla="*/ 56 h 56"/>
                <a:gd name="T8" fmla="*/ 50 w 50"/>
                <a:gd name="T9" fmla="*/ 1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6">
                  <a:moveTo>
                    <a:pt x="50" y="18"/>
                  </a:moveTo>
                  <a:cubicBezTo>
                    <a:pt x="37" y="12"/>
                    <a:pt x="25" y="6"/>
                    <a:pt x="18" y="0"/>
                  </a:cubicBezTo>
                  <a:cubicBezTo>
                    <a:pt x="18" y="0"/>
                    <a:pt x="18" y="0"/>
                    <a:pt x="0" y="37"/>
                  </a:cubicBezTo>
                  <a:cubicBezTo>
                    <a:pt x="12" y="43"/>
                    <a:pt x="25" y="50"/>
                    <a:pt x="37" y="56"/>
                  </a:cubicBezTo>
                  <a:lnTo>
                    <a:pt x="50" y="18"/>
                  </a:lnTo>
                  <a:close/>
                </a:path>
              </a:pathLst>
            </a:custGeom>
            <a:solidFill>
              <a:srgbClr val="119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78" name="Freeform 47"/>
            <p:cNvSpPr>
              <a:spLocks/>
            </p:cNvSpPr>
            <p:nvPr/>
          </p:nvSpPr>
          <p:spPr bwMode="auto">
            <a:xfrm>
              <a:off x="594" y="1416"/>
              <a:ext cx="44" cy="44"/>
            </a:xfrm>
            <a:custGeom>
              <a:avLst/>
              <a:gdLst>
                <a:gd name="T0" fmla="*/ 37 w 56"/>
                <a:gd name="T1" fmla="*/ 0 h 56"/>
                <a:gd name="T2" fmla="*/ 0 w 56"/>
                <a:gd name="T3" fmla="*/ 19 h 56"/>
                <a:gd name="T4" fmla="*/ 25 w 56"/>
                <a:gd name="T5" fmla="*/ 56 h 56"/>
                <a:gd name="T6" fmla="*/ 56 w 56"/>
                <a:gd name="T7" fmla="*/ 31 h 56"/>
                <a:gd name="T8" fmla="*/ 37 w 56"/>
                <a:gd name="T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56">
                  <a:moveTo>
                    <a:pt x="37" y="0"/>
                  </a:moveTo>
                  <a:cubicBezTo>
                    <a:pt x="37" y="0"/>
                    <a:pt x="37" y="0"/>
                    <a:pt x="0" y="19"/>
                  </a:cubicBezTo>
                  <a:cubicBezTo>
                    <a:pt x="6" y="31"/>
                    <a:pt x="19" y="44"/>
                    <a:pt x="25" y="56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0" y="19"/>
                    <a:pt x="44" y="12"/>
                    <a:pt x="37" y="0"/>
                  </a:cubicBezTo>
                  <a:close/>
                </a:path>
              </a:pathLst>
            </a:custGeom>
            <a:solidFill>
              <a:srgbClr val="119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79" name="Freeform 48"/>
            <p:cNvSpPr>
              <a:spLocks/>
            </p:cNvSpPr>
            <p:nvPr/>
          </p:nvSpPr>
          <p:spPr bwMode="auto">
            <a:xfrm>
              <a:off x="569" y="1298"/>
              <a:ext cx="34" cy="35"/>
            </a:xfrm>
            <a:custGeom>
              <a:avLst/>
              <a:gdLst>
                <a:gd name="T0" fmla="*/ 43 w 43"/>
                <a:gd name="T1" fmla="*/ 6 h 44"/>
                <a:gd name="T2" fmla="*/ 6 w 43"/>
                <a:gd name="T3" fmla="*/ 0 h 44"/>
                <a:gd name="T4" fmla="*/ 0 w 43"/>
                <a:gd name="T5" fmla="*/ 44 h 44"/>
                <a:gd name="T6" fmla="*/ 43 w 43"/>
                <a:gd name="T7" fmla="*/ 44 h 44"/>
                <a:gd name="T8" fmla="*/ 43 w 43"/>
                <a:gd name="T9" fmla="*/ 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4">
                  <a:moveTo>
                    <a:pt x="43" y="6"/>
                  </a:moveTo>
                  <a:cubicBezTo>
                    <a:pt x="43" y="6"/>
                    <a:pt x="43" y="6"/>
                    <a:pt x="6" y="0"/>
                  </a:cubicBezTo>
                  <a:cubicBezTo>
                    <a:pt x="6" y="12"/>
                    <a:pt x="0" y="25"/>
                    <a:pt x="0" y="44"/>
                  </a:cubicBezTo>
                  <a:cubicBezTo>
                    <a:pt x="43" y="44"/>
                    <a:pt x="43" y="44"/>
                    <a:pt x="43" y="44"/>
                  </a:cubicBezTo>
                  <a:cubicBezTo>
                    <a:pt x="43" y="31"/>
                    <a:pt x="43" y="19"/>
                    <a:pt x="43" y="6"/>
                  </a:cubicBezTo>
                  <a:close/>
                </a:path>
              </a:pathLst>
            </a:custGeom>
            <a:solidFill>
              <a:srgbClr val="119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80" name="Freeform 49"/>
            <p:cNvSpPr>
              <a:spLocks/>
            </p:cNvSpPr>
            <p:nvPr/>
          </p:nvSpPr>
          <p:spPr bwMode="auto">
            <a:xfrm>
              <a:off x="574" y="1362"/>
              <a:ext cx="39" cy="35"/>
            </a:xfrm>
            <a:custGeom>
              <a:avLst/>
              <a:gdLst>
                <a:gd name="T0" fmla="*/ 50 w 50"/>
                <a:gd name="T1" fmla="*/ 31 h 44"/>
                <a:gd name="T2" fmla="*/ 37 w 50"/>
                <a:gd name="T3" fmla="*/ 0 h 44"/>
                <a:gd name="T4" fmla="*/ 0 w 50"/>
                <a:gd name="T5" fmla="*/ 6 h 44"/>
                <a:gd name="T6" fmla="*/ 12 w 50"/>
                <a:gd name="T7" fmla="*/ 44 h 44"/>
                <a:gd name="T8" fmla="*/ 50 w 50"/>
                <a:gd name="T9" fmla="*/ 3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44">
                  <a:moveTo>
                    <a:pt x="50" y="31"/>
                  </a:moveTo>
                  <a:cubicBezTo>
                    <a:pt x="44" y="19"/>
                    <a:pt x="44" y="6"/>
                    <a:pt x="37" y="0"/>
                  </a:cubicBezTo>
                  <a:cubicBezTo>
                    <a:pt x="37" y="0"/>
                    <a:pt x="37" y="0"/>
                    <a:pt x="0" y="6"/>
                  </a:cubicBezTo>
                  <a:cubicBezTo>
                    <a:pt x="0" y="19"/>
                    <a:pt x="6" y="31"/>
                    <a:pt x="12" y="44"/>
                  </a:cubicBezTo>
                  <a:lnTo>
                    <a:pt x="50" y="31"/>
                  </a:lnTo>
                  <a:close/>
                </a:path>
              </a:pathLst>
            </a:custGeom>
            <a:solidFill>
              <a:srgbClr val="119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81" name="Freeform 50"/>
            <p:cNvSpPr>
              <a:spLocks/>
            </p:cNvSpPr>
            <p:nvPr/>
          </p:nvSpPr>
          <p:spPr bwMode="auto">
            <a:xfrm>
              <a:off x="583" y="1235"/>
              <a:ext cx="40" cy="39"/>
            </a:xfrm>
            <a:custGeom>
              <a:avLst/>
              <a:gdLst>
                <a:gd name="T0" fmla="*/ 50 w 50"/>
                <a:gd name="T1" fmla="*/ 12 h 50"/>
                <a:gd name="T2" fmla="*/ 13 w 50"/>
                <a:gd name="T3" fmla="*/ 0 h 50"/>
                <a:gd name="T4" fmla="*/ 0 w 50"/>
                <a:gd name="T5" fmla="*/ 37 h 50"/>
                <a:gd name="T6" fmla="*/ 38 w 50"/>
                <a:gd name="T7" fmla="*/ 50 h 50"/>
                <a:gd name="T8" fmla="*/ 50 w 50"/>
                <a:gd name="T9" fmla="*/ 1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0">
                  <a:moveTo>
                    <a:pt x="50" y="12"/>
                  </a:moveTo>
                  <a:cubicBezTo>
                    <a:pt x="50" y="12"/>
                    <a:pt x="50" y="12"/>
                    <a:pt x="13" y="0"/>
                  </a:cubicBezTo>
                  <a:cubicBezTo>
                    <a:pt x="7" y="12"/>
                    <a:pt x="0" y="25"/>
                    <a:pt x="0" y="37"/>
                  </a:cubicBezTo>
                  <a:cubicBezTo>
                    <a:pt x="0" y="37"/>
                    <a:pt x="0" y="37"/>
                    <a:pt x="38" y="50"/>
                  </a:cubicBezTo>
                  <a:cubicBezTo>
                    <a:pt x="38" y="37"/>
                    <a:pt x="44" y="25"/>
                    <a:pt x="50" y="12"/>
                  </a:cubicBezTo>
                  <a:close/>
                </a:path>
              </a:pathLst>
            </a:custGeom>
            <a:solidFill>
              <a:srgbClr val="119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82" name="Freeform 51"/>
            <p:cNvSpPr>
              <a:spLocks/>
            </p:cNvSpPr>
            <p:nvPr/>
          </p:nvSpPr>
          <p:spPr bwMode="auto">
            <a:xfrm>
              <a:off x="726" y="940"/>
              <a:ext cx="137" cy="133"/>
            </a:xfrm>
            <a:custGeom>
              <a:avLst/>
              <a:gdLst>
                <a:gd name="T0" fmla="*/ 49 w 137"/>
                <a:gd name="T1" fmla="*/ 64 h 133"/>
                <a:gd name="T2" fmla="*/ 49 w 137"/>
                <a:gd name="T3" fmla="*/ 133 h 133"/>
                <a:gd name="T4" fmla="*/ 84 w 137"/>
                <a:gd name="T5" fmla="*/ 133 h 133"/>
                <a:gd name="T6" fmla="*/ 84 w 137"/>
                <a:gd name="T7" fmla="*/ 61 h 133"/>
                <a:gd name="T8" fmla="*/ 113 w 137"/>
                <a:gd name="T9" fmla="*/ 94 h 133"/>
                <a:gd name="T10" fmla="*/ 137 w 137"/>
                <a:gd name="T11" fmla="*/ 69 h 133"/>
                <a:gd name="T12" fmla="*/ 69 w 137"/>
                <a:gd name="T13" fmla="*/ 0 h 133"/>
                <a:gd name="T14" fmla="*/ 0 w 137"/>
                <a:gd name="T15" fmla="*/ 69 h 133"/>
                <a:gd name="T16" fmla="*/ 19 w 137"/>
                <a:gd name="T17" fmla="*/ 94 h 133"/>
                <a:gd name="T18" fmla="*/ 49 w 137"/>
                <a:gd name="T19" fmla="*/ 64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7" h="133">
                  <a:moveTo>
                    <a:pt x="49" y="64"/>
                  </a:moveTo>
                  <a:lnTo>
                    <a:pt x="49" y="133"/>
                  </a:lnTo>
                  <a:lnTo>
                    <a:pt x="84" y="133"/>
                  </a:lnTo>
                  <a:lnTo>
                    <a:pt x="84" y="61"/>
                  </a:lnTo>
                  <a:lnTo>
                    <a:pt x="113" y="94"/>
                  </a:lnTo>
                  <a:lnTo>
                    <a:pt x="137" y="69"/>
                  </a:lnTo>
                  <a:lnTo>
                    <a:pt x="69" y="0"/>
                  </a:lnTo>
                  <a:lnTo>
                    <a:pt x="0" y="69"/>
                  </a:lnTo>
                  <a:lnTo>
                    <a:pt x="19" y="94"/>
                  </a:lnTo>
                  <a:lnTo>
                    <a:pt x="49" y="64"/>
                  </a:lnTo>
                  <a:close/>
                </a:path>
              </a:pathLst>
            </a:custGeom>
            <a:solidFill>
              <a:srgbClr val="119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83" name="Freeform 52"/>
            <p:cNvSpPr>
              <a:spLocks/>
            </p:cNvSpPr>
            <p:nvPr/>
          </p:nvSpPr>
          <p:spPr bwMode="auto">
            <a:xfrm>
              <a:off x="515" y="1053"/>
              <a:ext cx="103" cy="103"/>
            </a:xfrm>
            <a:custGeom>
              <a:avLst/>
              <a:gdLst>
                <a:gd name="T0" fmla="*/ 35 w 103"/>
                <a:gd name="T1" fmla="*/ 54 h 103"/>
                <a:gd name="T2" fmla="*/ 83 w 103"/>
                <a:gd name="T3" fmla="*/ 103 h 103"/>
                <a:gd name="T4" fmla="*/ 103 w 103"/>
                <a:gd name="T5" fmla="*/ 79 h 103"/>
                <a:gd name="T6" fmla="*/ 54 w 103"/>
                <a:gd name="T7" fmla="*/ 29 h 103"/>
                <a:gd name="T8" fmla="*/ 98 w 103"/>
                <a:gd name="T9" fmla="*/ 29 h 103"/>
                <a:gd name="T10" fmla="*/ 98 w 103"/>
                <a:gd name="T11" fmla="*/ 0 h 103"/>
                <a:gd name="T12" fmla="*/ 0 w 103"/>
                <a:gd name="T13" fmla="*/ 0 h 103"/>
                <a:gd name="T14" fmla="*/ 0 w 103"/>
                <a:gd name="T15" fmla="*/ 99 h 103"/>
                <a:gd name="T16" fmla="*/ 35 w 103"/>
                <a:gd name="T17" fmla="*/ 99 h 103"/>
                <a:gd name="T18" fmla="*/ 35 w 103"/>
                <a:gd name="T19" fmla="*/ 5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103">
                  <a:moveTo>
                    <a:pt x="35" y="54"/>
                  </a:moveTo>
                  <a:lnTo>
                    <a:pt x="83" y="103"/>
                  </a:lnTo>
                  <a:lnTo>
                    <a:pt x="103" y="79"/>
                  </a:lnTo>
                  <a:lnTo>
                    <a:pt x="54" y="29"/>
                  </a:lnTo>
                  <a:lnTo>
                    <a:pt x="98" y="29"/>
                  </a:lnTo>
                  <a:lnTo>
                    <a:pt x="98" y="0"/>
                  </a:lnTo>
                  <a:lnTo>
                    <a:pt x="0" y="0"/>
                  </a:lnTo>
                  <a:lnTo>
                    <a:pt x="0" y="99"/>
                  </a:lnTo>
                  <a:lnTo>
                    <a:pt x="35" y="99"/>
                  </a:lnTo>
                  <a:lnTo>
                    <a:pt x="35" y="54"/>
                  </a:lnTo>
                  <a:close/>
                </a:path>
              </a:pathLst>
            </a:custGeom>
            <a:solidFill>
              <a:srgbClr val="119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84" name="Freeform 53"/>
            <p:cNvSpPr>
              <a:spLocks/>
            </p:cNvSpPr>
            <p:nvPr/>
          </p:nvSpPr>
          <p:spPr bwMode="auto">
            <a:xfrm>
              <a:off x="397" y="1259"/>
              <a:ext cx="133" cy="138"/>
            </a:xfrm>
            <a:custGeom>
              <a:avLst/>
              <a:gdLst>
                <a:gd name="T0" fmla="*/ 133 w 133"/>
                <a:gd name="T1" fmla="*/ 83 h 138"/>
                <a:gd name="T2" fmla="*/ 133 w 133"/>
                <a:gd name="T3" fmla="*/ 49 h 138"/>
                <a:gd name="T4" fmla="*/ 64 w 133"/>
                <a:gd name="T5" fmla="*/ 49 h 138"/>
                <a:gd name="T6" fmla="*/ 94 w 133"/>
                <a:gd name="T7" fmla="*/ 20 h 138"/>
                <a:gd name="T8" fmla="*/ 69 w 133"/>
                <a:gd name="T9" fmla="*/ 0 h 138"/>
                <a:gd name="T10" fmla="*/ 0 w 133"/>
                <a:gd name="T11" fmla="*/ 68 h 138"/>
                <a:gd name="T12" fmla="*/ 69 w 133"/>
                <a:gd name="T13" fmla="*/ 138 h 138"/>
                <a:gd name="T14" fmla="*/ 94 w 133"/>
                <a:gd name="T15" fmla="*/ 113 h 138"/>
                <a:gd name="T16" fmla="*/ 61 w 133"/>
                <a:gd name="T17" fmla="*/ 83 h 138"/>
                <a:gd name="T18" fmla="*/ 133 w 133"/>
                <a:gd name="T19" fmla="*/ 83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3" h="138">
                  <a:moveTo>
                    <a:pt x="133" y="83"/>
                  </a:moveTo>
                  <a:lnTo>
                    <a:pt x="133" y="49"/>
                  </a:lnTo>
                  <a:lnTo>
                    <a:pt x="64" y="49"/>
                  </a:lnTo>
                  <a:lnTo>
                    <a:pt x="94" y="20"/>
                  </a:lnTo>
                  <a:lnTo>
                    <a:pt x="69" y="0"/>
                  </a:lnTo>
                  <a:lnTo>
                    <a:pt x="0" y="68"/>
                  </a:lnTo>
                  <a:lnTo>
                    <a:pt x="69" y="138"/>
                  </a:lnTo>
                  <a:lnTo>
                    <a:pt x="94" y="113"/>
                  </a:lnTo>
                  <a:lnTo>
                    <a:pt x="61" y="83"/>
                  </a:lnTo>
                  <a:lnTo>
                    <a:pt x="133" y="83"/>
                  </a:lnTo>
                  <a:close/>
                </a:path>
              </a:pathLst>
            </a:custGeom>
            <a:solidFill>
              <a:srgbClr val="119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85" name="Freeform 54"/>
            <p:cNvSpPr>
              <a:spLocks/>
            </p:cNvSpPr>
            <p:nvPr/>
          </p:nvSpPr>
          <p:spPr bwMode="auto">
            <a:xfrm>
              <a:off x="510" y="1499"/>
              <a:ext cx="103" cy="103"/>
            </a:xfrm>
            <a:custGeom>
              <a:avLst/>
              <a:gdLst>
                <a:gd name="T0" fmla="*/ 84 w 103"/>
                <a:gd name="T1" fmla="*/ 0 h 103"/>
                <a:gd name="T2" fmla="*/ 29 w 103"/>
                <a:gd name="T3" fmla="*/ 51 h 103"/>
                <a:gd name="T4" fmla="*/ 29 w 103"/>
                <a:gd name="T5" fmla="*/ 5 h 103"/>
                <a:gd name="T6" fmla="*/ 0 w 103"/>
                <a:gd name="T7" fmla="*/ 5 h 103"/>
                <a:gd name="T8" fmla="*/ 0 w 103"/>
                <a:gd name="T9" fmla="*/ 103 h 103"/>
                <a:gd name="T10" fmla="*/ 99 w 103"/>
                <a:gd name="T11" fmla="*/ 103 h 103"/>
                <a:gd name="T12" fmla="*/ 99 w 103"/>
                <a:gd name="T13" fmla="*/ 74 h 103"/>
                <a:gd name="T14" fmla="*/ 49 w 103"/>
                <a:gd name="T15" fmla="*/ 74 h 103"/>
                <a:gd name="T16" fmla="*/ 103 w 103"/>
                <a:gd name="T17" fmla="*/ 20 h 103"/>
                <a:gd name="T18" fmla="*/ 84 w 103"/>
                <a:gd name="T1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103">
                  <a:moveTo>
                    <a:pt x="84" y="0"/>
                  </a:moveTo>
                  <a:lnTo>
                    <a:pt x="29" y="51"/>
                  </a:lnTo>
                  <a:lnTo>
                    <a:pt x="29" y="5"/>
                  </a:lnTo>
                  <a:lnTo>
                    <a:pt x="0" y="5"/>
                  </a:lnTo>
                  <a:lnTo>
                    <a:pt x="0" y="103"/>
                  </a:lnTo>
                  <a:lnTo>
                    <a:pt x="99" y="103"/>
                  </a:lnTo>
                  <a:lnTo>
                    <a:pt x="99" y="74"/>
                  </a:lnTo>
                  <a:lnTo>
                    <a:pt x="49" y="74"/>
                  </a:lnTo>
                  <a:lnTo>
                    <a:pt x="103" y="20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119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86" name="Freeform 55"/>
            <p:cNvSpPr>
              <a:spLocks/>
            </p:cNvSpPr>
            <p:nvPr/>
          </p:nvSpPr>
          <p:spPr bwMode="auto">
            <a:xfrm>
              <a:off x="956" y="1504"/>
              <a:ext cx="103" cy="103"/>
            </a:xfrm>
            <a:custGeom>
              <a:avLst/>
              <a:gdLst>
                <a:gd name="T0" fmla="*/ 74 w 103"/>
                <a:gd name="T1" fmla="*/ 50 h 103"/>
                <a:gd name="T2" fmla="*/ 20 w 103"/>
                <a:gd name="T3" fmla="*/ 0 h 103"/>
                <a:gd name="T4" fmla="*/ 0 w 103"/>
                <a:gd name="T5" fmla="*/ 25 h 103"/>
                <a:gd name="T6" fmla="*/ 49 w 103"/>
                <a:gd name="T7" fmla="*/ 74 h 103"/>
                <a:gd name="T8" fmla="*/ 5 w 103"/>
                <a:gd name="T9" fmla="*/ 74 h 103"/>
                <a:gd name="T10" fmla="*/ 5 w 103"/>
                <a:gd name="T11" fmla="*/ 103 h 103"/>
                <a:gd name="T12" fmla="*/ 103 w 103"/>
                <a:gd name="T13" fmla="*/ 103 h 103"/>
                <a:gd name="T14" fmla="*/ 103 w 103"/>
                <a:gd name="T15" fmla="*/ 5 h 103"/>
                <a:gd name="T16" fmla="*/ 74 w 103"/>
                <a:gd name="T17" fmla="*/ 5 h 103"/>
                <a:gd name="T18" fmla="*/ 74 w 103"/>
                <a:gd name="T19" fmla="*/ 5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103">
                  <a:moveTo>
                    <a:pt x="74" y="50"/>
                  </a:moveTo>
                  <a:lnTo>
                    <a:pt x="20" y="0"/>
                  </a:lnTo>
                  <a:lnTo>
                    <a:pt x="0" y="25"/>
                  </a:lnTo>
                  <a:lnTo>
                    <a:pt x="49" y="74"/>
                  </a:lnTo>
                  <a:lnTo>
                    <a:pt x="5" y="74"/>
                  </a:lnTo>
                  <a:lnTo>
                    <a:pt x="5" y="103"/>
                  </a:lnTo>
                  <a:lnTo>
                    <a:pt x="103" y="103"/>
                  </a:lnTo>
                  <a:lnTo>
                    <a:pt x="103" y="5"/>
                  </a:lnTo>
                  <a:lnTo>
                    <a:pt x="74" y="5"/>
                  </a:lnTo>
                  <a:lnTo>
                    <a:pt x="74" y="50"/>
                  </a:lnTo>
                  <a:close/>
                </a:path>
              </a:pathLst>
            </a:custGeom>
            <a:solidFill>
              <a:srgbClr val="119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87" name="Freeform 56"/>
            <p:cNvSpPr>
              <a:spLocks/>
            </p:cNvSpPr>
            <p:nvPr/>
          </p:nvSpPr>
          <p:spPr bwMode="auto">
            <a:xfrm>
              <a:off x="1044" y="1264"/>
              <a:ext cx="133" cy="142"/>
            </a:xfrm>
            <a:custGeom>
              <a:avLst/>
              <a:gdLst>
                <a:gd name="T0" fmla="*/ 65 w 133"/>
                <a:gd name="T1" fmla="*/ 0 h 142"/>
                <a:gd name="T2" fmla="*/ 40 w 133"/>
                <a:gd name="T3" fmla="*/ 24 h 142"/>
                <a:gd name="T4" fmla="*/ 73 w 133"/>
                <a:gd name="T5" fmla="*/ 54 h 142"/>
                <a:gd name="T6" fmla="*/ 0 w 133"/>
                <a:gd name="T7" fmla="*/ 54 h 142"/>
                <a:gd name="T8" fmla="*/ 0 w 133"/>
                <a:gd name="T9" fmla="*/ 89 h 142"/>
                <a:gd name="T10" fmla="*/ 70 w 133"/>
                <a:gd name="T11" fmla="*/ 89 h 142"/>
                <a:gd name="T12" fmla="*/ 40 w 133"/>
                <a:gd name="T13" fmla="*/ 118 h 142"/>
                <a:gd name="T14" fmla="*/ 65 w 133"/>
                <a:gd name="T15" fmla="*/ 142 h 142"/>
                <a:gd name="T16" fmla="*/ 133 w 133"/>
                <a:gd name="T17" fmla="*/ 69 h 142"/>
                <a:gd name="T18" fmla="*/ 65 w 133"/>
                <a:gd name="T1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3" h="142">
                  <a:moveTo>
                    <a:pt x="65" y="0"/>
                  </a:moveTo>
                  <a:lnTo>
                    <a:pt x="40" y="24"/>
                  </a:lnTo>
                  <a:lnTo>
                    <a:pt x="73" y="54"/>
                  </a:lnTo>
                  <a:lnTo>
                    <a:pt x="0" y="54"/>
                  </a:lnTo>
                  <a:lnTo>
                    <a:pt x="0" y="89"/>
                  </a:lnTo>
                  <a:lnTo>
                    <a:pt x="70" y="89"/>
                  </a:lnTo>
                  <a:lnTo>
                    <a:pt x="40" y="118"/>
                  </a:lnTo>
                  <a:lnTo>
                    <a:pt x="65" y="142"/>
                  </a:lnTo>
                  <a:lnTo>
                    <a:pt x="133" y="69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119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88" name="Freeform 57"/>
            <p:cNvSpPr>
              <a:spLocks/>
            </p:cNvSpPr>
            <p:nvPr/>
          </p:nvSpPr>
          <p:spPr bwMode="auto">
            <a:xfrm>
              <a:off x="716" y="1587"/>
              <a:ext cx="138" cy="133"/>
            </a:xfrm>
            <a:custGeom>
              <a:avLst/>
              <a:gdLst>
                <a:gd name="T0" fmla="*/ 83 w 138"/>
                <a:gd name="T1" fmla="*/ 73 h 133"/>
                <a:gd name="T2" fmla="*/ 83 w 138"/>
                <a:gd name="T3" fmla="*/ 0 h 133"/>
                <a:gd name="T4" fmla="*/ 54 w 138"/>
                <a:gd name="T5" fmla="*/ 0 h 133"/>
                <a:gd name="T6" fmla="*/ 54 w 138"/>
                <a:gd name="T7" fmla="*/ 74 h 133"/>
                <a:gd name="T8" fmla="*/ 20 w 138"/>
                <a:gd name="T9" fmla="*/ 40 h 133"/>
                <a:gd name="T10" fmla="*/ 0 w 138"/>
                <a:gd name="T11" fmla="*/ 65 h 133"/>
                <a:gd name="T12" fmla="*/ 68 w 138"/>
                <a:gd name="T13" fmla="*/ 133 h 133"/>
                <a:gd name="T14" fmla="*/ 138 w 138"/>
                <a:gd name="T15" fmla="*/ 65 h 133"/>
                <a:gd name="T16" fmla="*/ 113 w 138"/>
                <a:gd name="T17" fmla="*/ 40 h 133"/>
                <a:gd name="T18" fmla="*/ 83 w 138"/>
                <a:gd name="T19" fmla="*/ 7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8" h="133">
                  <a:moveTo>
                    <a:pt x="83" y="73"/>
                  </a:moveTo>
                  <a:lnTo>
                    <a:pt x="83" y="0"/>
                  </a:lnTo>
                  <a:lnTo>
                    <a:pt x="54" y="0"/>
                  </a:lnTo>
                  <a:lnTo>
                    <a:pt x="54" y="74"/>
                  </a:lnTo>
                  <a:lnTo>
                    <a:pt x="20" y="40"/>
                  </a:lnTo>
                  <a:lnTo>
                    <a:pt x="0" y="65"/>
                  </a:lnTo>
                  <a:lnTo>
                    <a:pt x="68" y="133"/>
                  </a:lnTo>
                  <a:lnTo>
                    <a:pt x="138" y="65"/>
                  </a:lnTo>
                  <a:lnTo>
                    <a:pt x="113" y="40"/>
                  </a:lnTo>
                  <a:lnTo>
                    <a:pt x="83" y="73"/>
                  </a:lnTo>
                  <a:close/>
                </a:path>
              </a:pathLst>
            </a:custGeom>
            <a:solidFill>
              <a:srgbClr val="119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89" name="Freeform 58"/>
            <p:cNvSpPr>
              <a:spLocks/>
            </p:cNvSpPr>
            <p:nvPr/>
          </p:nvSpPr>
          <p:spPr bwMode="auto">
            <a:xfrm>
              <a:off x="961" y="1058"/>
              <a:ext cx="109" cy="103"/>
            </a:xfrm>
            <a:custGeom>
              <a:avLst/>
              <a:gdLst>
                <a:gd name="T0" fmla="*/ 25 w 109"/>
                <a:gd name="T1" fmla="*/ 103 h 103"/>
                <a:gd name="T2" fmla="*/ 74 w 109"/>
                <a:gd name="T3" fmla="*/ 54 h 103"/>
                <a:gd name="T4" fmla="*/ 74 w 109"/>
                <a:gd name="T5" fmla="*/ 98 h 103"/>
                <a:gd name="T6" fmla="*/ 109 w 109"/>
                <a:gd name="T7" fmla="*/ 98 h 103"/>
                <a:gd name="T8" fmla="*/ 109 w 109"/>
                <a:gd name="T9" fmla="*/ 0 h 103"/>
                <a:gd name="T10" fmla="*/ 10 w 109"/>
                <a:gd name="T11" fmla="*/ 0 h 103"/>
                <a:gd name="T12" fmla="*/ 10 w 109"/>
                <a:gd name="T13" fmla="*/ 29 h 103"/>
                <a:gd name="T14" fmla="*/ 54 w 109"/>
                <a:gd name="T15" fmla="*/ 29 h 103"/>
                <a:gd name="T16" fmla="*/ 0 w 109"/>
                <a:gd name="T17" fmla="*/ 83 h 103"/>
                <a:gd name="T18" fmla="*/ 25 w 109"/>
                <a:gd name="T1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9" h="103">
                  <a:moveTo>
                    <a:pt x="25" y="103"/>
                  </a:moveTo>
                  <a:lnTo>
                    <a:pt x="74" y="54"/>
                  </a:lnTo>
                  <a:lnTo>
                    <a:pt x="74" y="98"/>
                  </a:lnTo>
                  <a:lnTo>
                    <a:pt x="109" y="98"/>
                  </a:lnTo>
                  <a:lnTo>
                    <a:pt x="109" y="0"/>
                  </a:lnTo>
                  <a:lnTo>
                    <a:pt x="10" y="0"/>
                  </a:lnTo>
                  <a:lnTo>
                    <a:pt x="10" y="29"/>
                  </a:lnTo>
                  <a:lnTo>
                    <a:pt x="54" y="29"/>
                  </a:lnTo>
                  <a:lnTo>
                    <a:pt x="0" y="83"/>
                  </a:lnTo>
                  <a:lnTo>
                    <a:pt x="25" y="103"/>
                  </a:lnTo>
                  <a:close/>
                </a:path>
              </a:pathLst>
            </a:custGeom>
            <a:solidFill>
              <a:srgbClr val="119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</p:grpSp>
      <p:grpSp>
        <p:nvGrpSpPr>
          <p:cNvPr id="91" name="Group 61"/>
          <p:cNvGrpSpPr>
            <a:grpSpLocks noChangeAspect="1"/>
          </p:cNvGrpSpPr>
          <p:nvPr/>
        </p:nvGrpSpPr>
        <p:grpSpPr bwMode="auto">
          <a:xfrm>
            <a:off x="6711950" y="1473200"/>
            <a:ext cx="958850" cy="1238250"/>
            <a:chOff x="4228" y="928"/>
            <a:chExt cx="604" cy="780"/>
          </a:xfrm>
          <a:solidFill>
            <a:schemeClr val="accent4"/>
          </a:solidFill>
        </p:grpSpPr>
        <p:sp>
          <p:nvSpPr>
            <p:cNvPr id="93" name="Freeform 62"/>
            <p:cNvSpPr>
              <a:spLocks noEditPoints="1"/>
            </p:cNvSpPr>
            <p:nvPr/>
          </p:nvSpPr>
          <p:spPr bwMode="auto">
            <a:xfrm>
              <a:off x="4307" y="1094"/>
              <a:ext cx="279" cy="267"/>
            </a:xfrm>
            <a:custGeom>
              <a:avLst/>
              <a:gdLst>
                <a:gd name="T0" fmla="*/ 29 w 35"/>
                <a:gd name="T1" fmla="*/ 11 h 34"/>
                <a:gd name="T2" fmla="*/ 29 w 35"/>
                <a:gd name="T3" fmla="*/ 5 h 34"/>
                <a:gd name="T4" fmla="*/ 24 w 35"/>
                <a:gd name="T5" fmla="*/ 0 h 34"/>
                <a:gd name="T6" fmla="*/ 18 w 35"/>
                <a:gd name="T7" fmla="*/ 4 h 34"/>
                <a:gd name="T8" fmla="*/ 13 w 35"/>
                <a:gd name="T9" fmla="*/ 0 h 34"/>
                <a:gd name="T10" fmla="*/ 6 w 35"/>
                <a:gd name="T11" fmla="*/ 3 h 34"/>
                <a:gd name="T12" fmla="*/ 7 w 35"/>
                <a:gd name="T13" fmla="*/ 9 h 34"/>
                <a:gd name="T14" fmla="*/ 1 w 35"/>
                <a:gd name="T15" fmla="*/ 12 h 34"/>
                <a:gd name="T16" fmla="*/ 0 w 35"/>
                <a:gd name="T17" fmla="*/ 19 h 34"/>
                <a:gd name="T18" fmla="*/ 6 w 35"/>
                <a:gd name="T19" fmla="*/ 23 h 34"/>
                <a:gd name="T20" fmla="*/ 5 w 35"/>
                <a:gd name="T21" fmla="*/ 29 h 34"/>
                <a:gd name="T22" fmla="*/ 11 w 35"/>
                <a:gd name="T23" fmla="*/ 33 h 34"/>
                <a:gd name="T24" fmla="*/ 16 w 35"/>
                <a:gd name="T25" fmla="*/ 30 h 34"/>
                <a:gd name="T26" fmla="*/ 22 w 35"/>
                <a:gd name="T27" fmla="*/ 33 h 34"/>
                <a:gd name="T28" fmla="*/ 24 w 35"/>
                <a:gd name="T29" fmla="*/ 33 h 34"/>
                <a:gd name="T30" fmla="*/ 29 w 35"/>
                <a:gd name="T31" fmla="*/ 29 h 34"/>
                <a:gd name="T32" fmla="*/ 29 w 35"/>
                <a:gd name="T33" fmla="*/ 23 h 34"/>
                <a:gd name="T34" fmla="*/ 35 w 35"/>
                <a:gd name="T35" fmla="*/ 19 h 34"/>
                <a:gd name="T36" fmla="*/ 33 w 35"/>
                <a:gd name="T37" fmla="*/ 12 h 34"/>
                <a:gd name="T38" fmla="*/ 27 w 35"/>
                <a:gd name="T39" fmla="*/ 20 h 34"/>
                <a:gd name="T40" fmla="*/ 25 w 35"/>
                <a:gd name="T41" fmla="*/ 23 h 34"/>
                <a:gd name="T42" fmla="*/ 25 w 35"/>
                <a:gd name="T43" fmla="*/ 28 h 34"/>
                <a:gd name="T44" fmla="*/ 20 w 35"/>
                <a:gd name="T45" fmla="*/ 27 h 34"/>
                <a:gd name="T46" fmla="*/ 16 w 35"/>
                <a:gd name="T47" fmla="*/ 26 h 34"/>
                <a:gd name="T48" fmla="*/ 12 w 35"/>
                <a:gd name="T49" fmla="*/ 30 h 34"/>
                <a:gd name="T50" fmla="*/ 10 w 35"/>
                <a:gd name="T51" fmla="*/ 24 h 34"/>
                <a:gd name="T52" fmla="*/ 8 w 35"/>
                <a:gd name="T53" fmla="*/ 20 h 34"/>
                <a:gd name="T54" fmla="*/ 3 w 35"/>
                <a:gd name="T55" fmla="*/ 18 h 34"/>
                <a:gd name="T56" fmla="*/ 7 w 35"/>
                <a:gd name="T57" fmla="*/ 14 h 34"/>
                <a:gd name="T58" fmla="*/ 10 w 35"/>
                <a:gd name="T59" fmla="*/ 11 h 34"/>
                <a:gd name="T60" fmla="*/ 9 w 35"/>
                <a:gd name="T61" fmla="*/ 5 h 34"/>
                <a:gd name="T62" fmla="*/ 15 w 35"/>
                <a:gd name="T63" fmla="*/ 7 h 34"/>
                <a:gd name="T64" fmla="*/ 19 w 35"/>
                <a:gd name="T65" fmla="*/ 7 h 34"/>
                <a:gd name="T66" fmla="*/ 23 w 35"/>
                <a:gd name="T67" fmla="*/ 4 h 34"/>
                <a:gd name="T68" fmla="*/ 24 w 35"/>
                <a:gd name="T69" fmla="*/ 9 h 34"/>
                <a:gd name="T70" fmla="*/ 26 w 35"/>
                <a:gd name="T71" fmla="*/ 13 h 34"/>
                <a:gd name="T72" fmla="*/ 31 w 35"/>
                <a:gd name="T73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" h="34">
                  <a:moveTo>
                    <a:pt x="33" y="12"/>
                  </a:moveTo>
                  <a:cubicBezTo>
                    <a:pt x="29" y="11"/>
                    <a:pt x="29" y="11"/>
                    <a:pt x="29" y="11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4"/>
                    <a:pt x="29" y="3"/>
                    <a:pt x="28" y="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3" y="0"/>
                    <a:pt x="22" y="0"/>
                    <a:pt x="22" y="0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0"/>
                    <a:pt x="12" y="0"/>
                    <a:pt x="11" y="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5" y="4"/>
                    <a:pt x="6" y="5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0" y="13"/>
                    <a:pt x="0" y="13"/>
                    <a:pt x="0" y="1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0"/>
                    <a:pt x="0" y="21"/>
                    <a:pt x="1" y="21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30"/>
                    <a:pt x="6" y="30"/>
                    <a:pt x="6" y="31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2" y="34"/>
                    <a:pt x="12" y="34"/>
                    <a:pt x="13" y="33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2" y="33"/>
                    <a:pt x="22" y="34"/>
                    <a:pt x="23" y="34"/>
                  </a:cubicBezTo>
                  <a:cubicBezTo>
                    <a:pt x="23" y="34"/>
                    <a:pt x="23" y="34"/>
                    <a:pt x="24" y="33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9" y="30"/>
                    <a:pt x="29" y="30"/>
                    <a:pt x="29" y="29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4" y="21"/>
                    <a:pt x="35" y="20"/>
                    <a:pt x="35" y="19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5" y="13"/>
                    <a:pt x="34" y="13"/>
                    <a:pt x="33" y="12"/>
                  </a:cubicBezTo>
                  <a:moveTo>
                    <a:pt x="31" y="18"/>
                  </a:moveTo>
                  <a:cubicBezTo>
                    <a:pt x="27" y="20"/>
                    <a:pt x="27" y="20"/>
                    <a:pt x="27" y="2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4" y="23"/>
                    <a:pt x="24" y="24"/>
                    <a:pt x="24" y="24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5" y="26"/>
                    <a:pt x="15" y="27"/>
                    <a:pt x="15" y="27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8" y="20"/>
                    <a:pt x="7" y="20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8" y="14"/>
                    <a:pt x="8" y="14"/>
                    <a:pt x="8" y="13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0"/>
                    <a:pt x="10" y="10"/>
                    <a:pt x="10" y="9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6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10"/>
                    <a:pt x="24" y="10"/>
                    <a:pt x="25" y="11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14"/>
                    <a:pt x="27" y="14"/>
                    <a:pt x="27" y="14"/>
                  </a:cubicBezTo>
                  <a:cubicBezTo>
                    <a:pt x="31" y="15"/>
                    <a:pt x="31" y="15"/>
                    <a:pt x="31" y="15"/>
                  </a:cubicBezTo>
                  <a:lnTo>
                    <a:pt x="3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94" name="Freeform 63"/>
            <p:cNvSpPr>
              <a:spLocks noEditPoints="1"/>
            </p:cNvSpPr>
            <p:nvPr/>
          </p:nvSpPr>
          <p:spPr bwMode="auto">
            <a:xfrm>
              <a:off x="4546" y="1015"/>
              <a:ext cx="183" cy="197"/>
            </a:xfrm>
            <a:custGeom>
              <a:avLst/>
              <a:gdLst>
                <a:gd name="T0" fmla="*/ 22 w 23"/>
                <a:gd name="T1" fmla="*/ 10 h 25"/>
                <a:gd name="T2" fmla="*/ 21 w 23"/>
                <a:gd name="T3" fmla="*/ 5 h 25"/>
                <a:gd name="T4" fmla="*/ 16 w 23"/>
                <a:gd name="T5" fmla="*/ 5 h 25"/>
                <a:gd name="T6" fmla="*/ 13 w 23"/>
                <a:gd name="T7" fmla="*/ 0 h 25"/>
                <a:gd name="T8" fmla="*/ 8 w 23"/>
                <a:gd name="T9" fmla="*/ 1 h 25"/>
                <a:gd name="T10" fmla="*/ 4 w 23"/>
                <a:gd name="T11" fmla="*/ 4 h 25"/>
                <a:gd name="T12" fmla="*/ 0 w 23"/>
                <a:gd name="T13" fmla="*/ 8 h 25"/>
                <a:gd name="T14" fmla="*/ 3 w 23"/>
                <a:gd name="T15" fmla="*/ 13 h 25"/>
                <a:gd name="T16" fmla="*/ 0 w 23"/>
                <a:gd name="T17" fmla="*/ 17 h 25"/>
                <a:gd name="T18" fmla="*/ 4 w 23"/>
                <a:gd name="T19" fmla="*/ 21 h 25"/>
                <a:gd name="T20" fmla="*/ 8 w 23"/>
                <a:gd name="T21" fmla="*/ 24 h 25"/>
                <a:gd name="T22" fmla="*/ 13 w 23"/>
                <a:gd name="T23" fmla="*/ 25 h 25"/>
                <a:gd name="T24" fmla="*/ 16 w 23"/>
                <a:gd name="T25" fmla="*/ 20 h 25"/>
                <a:gd name="T26" fmla="*/ 21 w 23"/>
                <a:gd name="T27" fmla="*/ 20 h 25"/>
                <a:gd name="T28" fmla="*/ 23 w 23"/>
                <a:gd name="T29" fmla="*/ 15 h 25"/>
                <a:gd name="T30" fmla="*/ 19 w 23"/>
                <a:gd name="T31" fmla="*/ 17 h 25"/>
                <a:gd name="T32" fmla="*/ 14 w 23"/>
                <a:gd name="T33" fmla="*/ 17 h 25"/>
                <a:gd name="T34" fmla="*/ 13 w 23"/>
                <a:gd name="T35" fmla="*/ 18 h 25"/>
                <a:gd name="T36" fmla="*/ 11 w 23"/>
                <a:gd name="T37" fmla="*/ 21 h 25"/>
                <a:gd name="T38" fmla="*/ 9 w 23"/>
                <a:gd name="T39" fmla="*/ 17 h 25"/>
                <a:gd name="T40" fmla="*/ 7 w 23"/>
                <a:gd name="T41" fmla="*/ 17 h 25"/>
                <a:gd name="T42" fmla="*/ 4 w 23"/>
                <a:gd name="T43" fmla="*/ 17 h 25"/>
                <a:gd name="T44" fmla="*/ 7 w 23"/>
                <a:gd name="T45" fmla="*/ 13 h 25"/>
                <a:gd name="T46" fmla="*/ 6 w 23"/>
                <a:gd name="T47" fmla="*/ 11 h 25"/>
                <a:gd name="T48" fmla="*/ 4 w 23"/>
                <a:gd name="T49" fmla="*/ 8 h 25"/>
                <a:gd name="T50" fmla="*/ 9 w 23"/>
                <a:gd name="T51" fmla="*/ 9 h 25"/>
                <a:gd name="T52" fmla="*/ 10 w 23"/>
                <a:gd name="T53" fmla="*/ 7 h 25"/>
                <a:gd name="T54" fmla="*/ 12 w 23"/>
                <a:gd name="T55" fmla="*/ 4 h 25"/>
                <a:gd name="T56" fmla="*/ 14 w 23"/>
                <a:gd name="T57" fmla="*/ 8 h 25"/>
                <a:gd name="T58" fmla="*/ 16 w 23"/>
                <a:gd name="T59" fmla="*/ 9 h 25"/>
                <a:gd name="T60" fmla="*/ 19 w 23"/>
                <a:gd name="T61" fmla="*/ 8 h 25"/>
                <a:gd name="T62" fmla="*/ 16 w 23"/>
                <a:gd name="T63" fmla="*/ 12 h 25"/>
                <a:gd name="T64" fmla="*/ 17 w 23"/>
                <a:gd name="T65" fmla="*/ 1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3" h="25">
                  <a:moveTo>
                    <a:pt x="20" y="13"/>
                  </a:moveTo>
                  <a:cubicBezTo>
                    <a:pt x="22" y="10"/>
                    <a:pt x="22" y="10"/>
                    <a:pt x="22" y="10"/>
                  </a:cubicBezTo>
                  <a:cubicBezTo>
                    <a:pt x="23" y="9"/>
                    <a:pt x="23" y="8"/>
                    <a:pt x="23" y="8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4"/>
                    <a:pt x="20" y="4"/>
                    <a:pt x="19" y="4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4" y="1"/>
                    <a:pt x="14" y="0"/>
                    <a:pt x="1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1"/>
                    <a:pt x="8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2" y="4"/>
                    <a:pt x="2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9"/>
                    <a:pt x="0" y="10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21"/>
                    <a:pt x="3" y="21"/>
                    <a:pt x="4" y="21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9" y="25"/>
                    <a:pt x="9" y="25"/>
                    <a:pt x="10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5"/>
                    <a:pt x="15" y="24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0" y="21"/>
                    <a:pt x="21" y="21"/>
                    <a:pt x="21" y="2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3" y="17"/>
                    <a:pt x="23" y="16"/>
                    <a:pt x="23" y="15"/>
                  </a:cubicBezTo>
                  <a:lnTo>
                    <a:pt x="20" y="13"/>
                  </a:lnTo>
                  <a:close/>
                  <a:moveTo>
                    <a:pt x="19" y="17"/>
                  </a:moveTo>
                  <a:cubicBezTo>
                    <a:pt x="15" y="17"/>
                    <a:pt x="15" y="17"/>
                    <a:pt x="15" y="17"/>
                  </a:cubicBezTo>
                  <a:cubicBezTo>
                    <a:pt x="15" y="16"/>
                    <a:pt x="15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3" y="17"/>
                    <a:pt x="13" y="18"/>
                    <a:pt x="13" y="18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8"/>
                    <a:pt x="10" y="17"/>
                    <a:pt x="9" y="17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8" y="17"/>
                    <a:pt x="8" y="16"/>
                    <a:pt x="7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8" y="9"/>
                    <a:pt x="8" y="9"/>
                    <a:pt x="9" y="9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8"/>
                    <a:pt x="10" y="8"/>
                    <a:pt x="10" y="7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8"/>
                    <a:pt x="13" y="8"/>
                    <a:pt x="14" y="8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5" y="9"/>
                    <a:pt x="15" y="9"/>
                    <a:pt x="16" y="9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9" y="17"/>
                    <a:pt x="19" y="17"/>
                    <a:pt x="19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95" name="Oval 64"/>
            <p:cNvSpPr>
              <a:spLocks noChangeArrowheads="1"/>
            </p:cNvSpPr>
            <p:nvPr/>
          </p:nvSpPr>
          <p:spPr bwMode="auto">
            <a:xfrm>
              <a:off x="4625" y="1101"/>
              <a:ext cx="24" cy="2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96" name="Freeform 65"/>
            <p:cNvSpPr>
              <a:spLocks noEditPoints="1"/>
            </p:cNvSpPr>
            <p:nvPr/>
          </p:nvSpPr>
          <p:spPr bwMode="auto">
            <a:xfrm>
              <a:off x="4387" y="1172"/>
              <a:ext cx="111" cy="111"/>
            </a:xfrm>
            <a:custGeom>
              <a:avLst/>
              <a:gdLst>
                <a:gd name="T0" fmla="*/ 7 w 14"/>
                <a:gd name="T1" fmla="*/ 0 h 14"/>
                <a:gd name="T2" fmla="*/ 0 w 14"/>
                <a:gd name="T3" fmla="*/ 7 h 14"/>
                <a:gd name="T4" fmla="*/ 7 w 14"/>
                <a:gd name="T5" fmla="*/ 14 h 14"/>
                <a:gd name="T6" fmla="*/ 14 w 14"/>
                <a:gd name="T7" fmla="*/ 7 h 14"/>
                <a:gd name="T8" fmla="*/ 7 w 14"/>
                <a:gd name="T9" fmla="*/ 0 h 14"/>
                <a:gd name="T10" fmla="*/ 7 w 14"/>
                <a:gd name="T11" fmla="*/ 10 h 14"/>
                <a:gd name="T12" fmla="*/ 4 w 14"/>
                <a:gd name="T13" fmla="*/ 7 h 14"/>
                <a:gd name="T14" fmla="*/ 7 w 14"/>
                <a:gd name="T15" fmla="*/ 3 h 14"/>
                <a:gd name="T16" fmla="*/ 11 w 14"/>
                <a:gd name="T17" fmla="*/ 7 h 14"/>
                <a:gd name="T18" fmla="*/ 7 w 14"/>
                <a:gd name="T19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7" y="0"/>
                  </a:move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3" y="14"/>
                    <a:pt x="7" y="14"/>
                  </a:cubicBezTo>
                  <a:cubicBezTo>
                    <a:pt x="11" y="14"/>
                    <a:pt x="14" y="11"/>
                    <a:pt x="14" y="7"/>
                  </a:cubicBezTo>
                  <a:cubicBezTo>
                    <a:pt x="14" y="3"/>
                    <a:pt x="11" y="0"/>
                    <a:pt x="7" y="0"/>
                  </a:cubicBezTo>
                  <a:moveTo>
                    <a:pt x="7" y="10"/>
                  </a:moveTo>
                  <a:cubicBezTo>
                    <a:pt x="5" y="10"/>
                    <a:pt x="4" y="9"/>
                    <a:pt x="4" y="7"/>
                  </a:cubicBezTo>
                  <a:cubicBezTo>
                    <a:pt x="4" y="5"/>
                    <a:pt x="5" y="3"/>
                    <a:pt x="7" y="3"/>
                  </a:cubicBezTo>
                  <a:cubicBezTo>
                    <a:pt x="9" y="3"/>
                    <a:pt x="11" y="5"/>
                    <a:pt x="11" y="7"/>
                  </a:cubicBezTo>
                  <a:cubicBezTo>
                    <a:pt x="11" y="9"/>
                    <a:pt x="9" y="10"/>
                    <a:pt x="7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97" name="Freeform 66"/>
            <p:cNvSpPr>
              <a:spLocks noEditPoints="1"/>
            </p:cNvSpPr>
            <p:nvPr/>
          </p:nvSpPr>
          <p:spPr bwMode="auto">
            <a:xfrm>
              <a:off x="4228" y="928"/>
              <a:ext cx="604" cy="780"/>
            </a:xfrm>
            <a:custGeom>
              <a:avLst/>
              <a:gdLst>
                <a:gd name="T0" fmla="*/ 74 w 76"/>
                <a:gd name="T1" fmla="*/ 44 h 99"/>
                <a:gd name="T2" fmla="*/ 72 w 76"/>
                <a:gd name="T3" fmla="*/ 34 h 99"/>
                <a:gd name="T4" fmla="*/ 69 w 76"/>
                <a:gd name="T5" fmla="*/ 11 h 99"/>
                <a:gd name="T6" fmla="*/ 38 w 76"/>
                <a:gd name="T7" fmla="*/ 0 h 99"/>
                <a:gd name="T8" fmla="*/ 0 w 76"/>
                <a:gd name="T9" fmla="*/ 33 h 99"/>
                <a:gd name="T10" fmla="*/ 7 w 76"/>
                <a:gd name="T11" fmla="*/ 57 h 99"/>
                <a:gd name="T12" fmla="*/ 13 w 76"/>
                <a:gd name="T13" fmla="*/ 78 h 99"/>
                <a:gd name="T14" fmla="*/ 13 w 76"/>
                <a:gd name="T15" fmla="*/ 80 h 99"/>
                <a:gd name="T16" fmla="*/ 12 w 76"/>
                <a:gd name="T17" fmla="*/ 79 h 99"/>
                <a:gd name="T18" fmla="*/ 11 w 76"/>
                <a:gd name="T19" fmla="*/ 80 h 99"/>
                <a:gd name="T20" fmla="*/ 10 w 76"/>
                <a:gd name="T21" fmla="*/ 81 h 99"/>
                <a:gd name="T22" fmla="*/ 8 w 76"/>
                <a:gd name="T23" fmla="*/ 97 h 99"/>
                <a:gd name="T24" fmla="*/ 9 w 76"/>
                <a:gd name="T25" fmla="*/ 98 h 99"/>
                <a:gd name="T26" fmla="*/ 10 w 76"/>
                <a:gd name="T27" fmla="*/ 99 h 99"/>
                <a:gd name="T28" fmla="*/ 55 w 76"/>
                <a:gd name="T29" fmla="*/ 99 h 99"/>
                <a:gd name="T30" fmla="*/ 55 w 76"/>
                <a:gd name="T31" fmla="*/ 99 h 99"/>
                <a:gd name="T32" fmla="*/ 57 w 76"/>
                <a:gd name="T33" fmla="*/ 97 h 99"/>
                <a:gd name="T34" fmla="*/ 57 w 76"/>
                <a:gd name="T35" fmla="*/ 96 h 99"/>
                <a:gd name="T36" fmla="*/ 55 w 76"/>
                <a:gd name="T37" fmla="*/ 88 h 99"/>
                <a:gd name="T38" fmla="*/ 53 w 76"/>
                <a:gd name="T39" fmla="*/ 86 h 99"/>
                <a:gd name="T40" fmla="*/ 50 w 76"/>
                <a:gd name="T41" fmla="*/ 86 h 99"/>
                <a:gd name="T42" fmla="*/ 50 w 76"/>
                <a:gd name="T43" fmla="*/ 85 h 99"/>
                <a:gd name="T44" fmla="*/ 51 w 76"/>
                <a:gd name="T45" fmla="*/ 76 h 99"/>
                <a:gd name="T46" fmla="*/ 60 w 76"/>
                <a:gd name="T47" fmla="*/ 78 h 99"/>
                <a:gd name="T48" fmla="*/ 69 w 76"/>
                <a:gd name="T49" fmla="*/ 70 h 99"/>
                <a:gd name="T50" fmla="*/ 69 w 76"/>
                <a:gd name="T51" fmla="*/ 56 h 99"/>
                <a:gd name="T52" fmla="*/ 70 w 76"/>
                <a:gd name="T53" fmla="*/ 56 h 99"/>
                <a:gd name="T54" fmla="*/ 76 w 76"/>
                <a:gd name="T55" fmla="*/ 51 h 99"/>
                <a:gd name="T56" fmla="*/ 74 w 76"/>
                <a:gd name="T57" fmla="*/ 44 h 99"/>
                <a:gd name="T58" fmla="*/ 53 w 76"/>
                <a:gd name="T59" fmla="*/ 95 h 99"/>
                <a:gd name="T60" fmla="*/ 12 w 76"/>
                <a:gd name="T61" fmla="*/ 95 h 99"/>
                <a:gd name="T62" fmla="*/ 13 w 76"/>
                <a:gd name="T63" fmla="*/ 83 h 99"/>
                <a:gd name="T64" fmla="*/ 52 w 76"/>
                <a:gd name="T65" fmla="*/ 90 h 99"/>
                <a:gd name="T66" fmla="*/ 53 w 76"/>
                <a:gd name="T67" fmla="*/ 95 h 99"/>
                <a:gd name="T68" fmla="*/ 70 w 76"/>
                <a:gd name="T69" fmla="*/ 53 h 99"/>
                <a:gd name="T70" fmla="*/ 65 w 76"/>
                <a:gd name="T71" fmla="*/ 53 h 99"/>
                <a:gd name="T72" fmla="*/ 64 w 76"/>
                <a:gd name="T73" fmla="*/ 55 h 99"/>
                <a:gd name="T74" fmla="*/ 65 w 76"/>
                <a:gd name="T75" fmla="*/ 56 h 99"/>
                <a:gd name="T76" fmla="*/ 65 w 76"/>
                <a:gd name="T77" fmla="*/ 70 h 99"/>
                <a:gd name="T78" fmla="*/ 60 w 76"/>
                <a:gd name="T79" fmla="*/ 74 h 99"/>
                <a:gd name="T80" fmla="*/ 42 w 76"/>
                <a:gd name="T81" fmla="*/ 67 h 99"/>
                <a:gd name="T82" fmla="*/ 40 w 76"/>
                <a:gd name="T83" fmla="*/ 67 h 99"/>
                <a:gd name="T84" fmla="*/ 40 w 76"/>
                <a:gd name="T85" fmla="*/ 70 h 99"/>
                <a:gd name="T86" fmla="*/ 48 w 76"/>
                <a:gd name="T87" fmla="*/ 75 h 99"/>
                <a:gd name="T88" fmla="*/ 46 w 76"/>
                <a:gd name="T89" fmla="*/ 85 h 99"/>
                <a:gd name="T90" fmla="*/ 46 w 76"/>
                <a:gd name="T91" fmla="*/ 85 h 99"/>
                <a:gd name="T92" fmla="*/ 17 w 76"/>
                <a:gd name="T93" fmla="*/ 80 h 99"/>
                <a:gd name="T94" fmla="*/ 17 w 76"/>
                <a:gd name="T95" fmla="*/ 78 h 99"/>
                <a:gd name="T96" fmla="*/ 10 w 76"/>
                <a:gd name="T97" fmla="*/ 55 h 99"/>
                <a:gd name="T98" fmla="*/ 3 w 76"/>
                <a:gd name="T99" fmla="*/ 33 h 99"/>
                <a:gd name="T100" fmla="*/ 38 w 76"/>
                <a:gd name="T101" fmla="*/ 3 h 99"/>
                <a:gd name="T102" fmla="*/ 66 w 76"/>
                <a:gd name="T103" fmla="*/ 13 h 99"/>
                <a:gd name="T104" fmla="*/ 69 w 76"/>
                <a:gd name="T105" fmla="*/ 33 h 99"/>
                <a:gd name="T106" fmla="*/ 69 w 76"/>
                <a:gd name="T107" fmla="*/ 33 h 99"/>
                <a:gd name="T108" fmla="*/ 71 w 76"/>
                <a:gd name="T109" fmla="*/ 45 h 99"/>
                <a:gd name="T110" fmla="*/ 72 w 76"/>
                <a:gd name="T111" fmla="*/ 51 h 99"/>
                <a:gd name="T112" fmla="*/ 70 w 76"/>
                <a:gd name="T113" fmla="*/ 53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6" h="99">
                  <a:moveTo>
                    <a:pt x="74" y="44"/>
                  </a:moveTo>
                  <a:cubicBezTo>
                    <a:pt x="73" y="40"/>
                    <a:pt x="72" y="35"/>
                    <a:pt x="72" y="34"/>
                  </a:cubicBezTo>
                  <a:cubicBezTo>
                    <a:pt x="74" y="24"/>
                    <a:pt x="73" y="17"/>
                    <a:pt x="69" y="11"/>
                  </a:cubicBezTo>
                  <a:cubicBezTo>
                    <a:pt x="63" y="4"/>
                    <a:pt x="52" y="0"/>
                    <a:pt x="38" y="0"/>
                  </a:cubicBezTo>
                  <a:cubicBezTo>
                    <a:pt x="16" y="0"/>
                    <a:pt x="0" y="14"/>
                    <a:pt x="0" y="33"/>
                  </a:cubicBezTo>
                  <a:cubicBezTo>
                    <a:pt x="0" y="44"/>
                    <a:pt x="3" y="50"/>
                    <a:pt x="7" y="57"/>
                  </a:cubicBezTo>
                  <a:cubicBezTo>
                    <a:pt x="10" y="63"/>
                    <a:pt x="13" y="69"/>
                    <a:pt x="13" y="78"/>
                  </a:cubicBezTo>
                  <a:cubicBezTo>
                    <a:pt x="13" y="78"/>
                    <a:pt x="13" y="79"/>
                    <a:pt x="13" y="80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2" y="79"/>
                    <a:pt x="11" y="79"/>
                    <a:pt x="11" y="80"/>
                  </a:cubicBezTo>
                  <a:cubicBezTo>
                    <a:pt x="10" y="80"/>
                    <a:pt x="10" y="80"/>
                    <a:pt x="10" y="81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7"/>
                    <a:pt x="8" y="98"/>
                    <a:pt x="9" y="98"/>
                  </a:cubicBezTo>
                  <a:cubicBezTo>
                    <a:pt x="9" y="99"/>
                    <a:pt x="10" y="99"/>
                    <a:pt x="10" y="99"/>
                  </a:cubicBezTo>
                  <a:cubicBezTo>
                    <a:pt x="55" y="99"/>
                    <a:pt x="55" y="99"/>
                    <a:pt x="55" y="99"/>
                  </a:cubicBezTo>
                  <a:cubicBezTo>
                    <a:pt x="55" y="99"/>
                    <a:pt x="55" y="99"/>
                    <a:pt x="55" y="99"/>
                  </a:cubicBezTo>
                  <a:cubicBezTo>
                    <a:pt x="56" y="99"/>
                    <a:pt x="57" y="98"/>
                    <a:pt x="57" y="97"/>
                  </a:cubicBezTo>
                  <a:cubicBezTo>
                    <a:pt x="57" y="97"/>
                    <a:pt x="57" y="97"/>
                    <a:pt x="57" y="96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7"/>
                    <a:pt x="54" y="87"/>
                    <a:pt x="53" y="86"/>
                  </a:cubicBezTo>
                  <a:cubicBezTo>
                    <a:pt x="50" y="86"/>
                    <a:pt x="50" y="86"/>
                    <a:pt x="50" y="86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50" y="81"/>
                    <a:pt x="50" y="78"/>
                    <a:pt x="51" y="76"/>
                  </a:cubicBezTo>
                  <a:cubicBezTo>
                    <a:pt x="54" y="77"/>
                    <a:pt x="57" y="78"/>
                    <a:pt x="60" y="78"/>
                  </a:cubicBezTo>
                  <a:cubicBezTo>
                    <a:pt x="65" y="78"/>
                    <a:pt x="69" y="74"/>
                    <a:pt x="69" y="70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73" y="56"/>
                    <a:pt x="76" y="54"/>
                    <a:pt x="76" y="51"/>
                  </a:cubicBezTo>
                  <a:cubicBezTo>
                    <a:pt x="76" y="50"/>
                    <a:pt x="75" y="48"/>
                    <a:pt x="74" y="44"/>
                  </a:cubicBezTo>
                  <a:moveTo>
                    <a:pt x="53" y="95"/>
                  </a:moveTo>
                  <a:cubicBezTo>
                    <a:pt x="12" y="95"/>
                    <a:pt x="12" y="95"/>
                    <a:pt x="12" y="95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52" y="90"/>
                    <a:pt x="52" y="90"/>
                    <a:pt x="52" y="90"/>
                  </a:cubicBezTo>
                  <a:lnTo>
                    <a:pt x="53" y="95"/>
                  </a:lnTo>
                  <a:close/>
                  <a:moveTo>
                    <a:pt x="70" y="53"/>
                  </a:moveTo>
                  <a:cubicBezTo>
                    <a:pt x="65" y="53"/>
                    <a:pt x="65" y="53"/>
                    <a:pt x="65" y="53"/>
                  </a:cubicBezTo>
                  <a:cubicBezTo>
                    <a:pt x="64" y="53"/>
                    <a:pt x="64" y="54"/>
                    <a:pt x="64" y="55"/>
                  </a:cubicBezTo>
                  <a:cubicBezTo>
                    <a:pt x="64" y="56"/>
                    <a:pt x="64" y="56"/>
                    <a:pt x="65" y="56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5" y="72"/>
                    <a:pt x="63" y="74"/>
                    <a:pt x="60" y="74"/>
                  </a:cubicBezTo>
                  <a:cubicBezTo>
                    <a:pt x="53" y="74"/>
                    <a:pt x="45" y="71"/>
                    <a:pt x="42" y="67"/>
                  </a:cubicBezTo>
                  <a:cubicBezTo>
                    <a:pt x="42" y="67"/>
                    <a:pt x="41" y="67"/>
                    <a:pt x="40" y="67"/>
                  </a:cubicBezTo>
                  <a:cubicBezTo>
                    <a:pt x="39" y="68"/>
                    <a:pt x="39" y="69"/>
                    <a:pt x="40" y="70"/>
                  </a:cubicBezTo>
                  <a:cubicBezTo>
                    <a:pt x="42" y="72"/>
                    <a:pt x="44" y="73"/>
                    <a:pt x="48" y="75"/>
                  </a:cubicBezTo>
                  <a:cubicBezTo>
                    <a:pt x="47" y="77"/>
                    <a:pt x="46" y="81"/>
                    <a:pt x="46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17" y="80"/>
                    <a:pt x="17" y="80"/>
                    <a:pt x="17" y="80"/>
                  </a:cubicBezTo>
                  <a:cubicBezTo>
                    <a:pt x="17" y="79"/>
                    <a:pt x="17" y="78"/>
                    <a:pt x="17" y="78"/>
                  </a:cubicBezTo>
                  <a:cubicBezTo>
                    <a:pt x="17" y="68"/>
                    <a:pt x="13" y="61"/>
                    <a:pt x="10" y="55"/>
                  </a:cubicBezTo>
                  <a:cubicBezTo>
                    <a:pt x="6" y="49"/>
                    <a:pt x="3" y="43"/>
                    <a:pt x="3" y="33"/>
                  </a:cubicBezTo>
                  <a:cubicBezTo>
                    <a:pt x="3" y="16"/>
                    <a:pt x="18" y="3"/>
                    <a:pt x="38" y="3"/>
                  </a:cubicBezTo>
                  <a:cubicBezTo>
                    <a:pt x="51" y="3"/>
                    <a:pt x="61" y="7"/>
                    <a:pt x="66" y="13"/>
                  </a:cubicBezTo>
                  <a:cubicBezTo>
                    <a:pt x="70" y="18"/>
                    <a:pt x="71" y="25"/>
                    <a:pt x="69" y="33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9" y="35"/>
                    <a:pt x="70" y="39"/>
                    <a:pt x="71" y="45"/>
                  </a:cubicBezTo>
                  <a:cubicBezTo>
                    <a:pt x="71" y="47"/>
                    <a:pt x="72" y="50"/>
                    <a:pt x="72" y="51"/>
                  </a:cubicBezTo>
                  <a:cubicBezTo>
                    <a:pt x="72" y="52"/>
                    <a:pt x="71" y="53"/>
                    <a:pt x="70" y="5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</p:grpSp>
      <p:grpSp>
        <p:nvGrpSpPr>
          <p:cNvPr id="99" name="Group 69"/>
          <p:cNvGrpSpPr>
            <a:grpSpLocks noChangeAspect="1"/>
          </p:cNvGrpSpPr>
          <p:nvPr/>
        </p:nvGrpSpPr>
        <p:grpSpPr bwMode="auto">
          <a:xfrm>
            <a:off x="9602788" y="1638301"/>
            <a:ext cx="1235075" cy="887412"/>
            <a:chOff x="6049" y="1032"/>
            <a:chExt cx="778" cy="559"/>
          </a:xfrm>
          <a:solidFill>
            <a:schemeClr val="accent1"/>
          </a:solidFill>
        </p:grpSpPr>
        <p:sp>
          <p:nvSpPr>
            <p:cNvPr id="101" name="Freeform 70"/>
            <p:cNvSpPr>
              <a:spLocks/>
            </p:cNvSpPr>
            <p:nvPr/>
          </p:nvSpPr>
          <p:spPr bwMode="auto">
            <a:xfrm>
              <a:off x="6379" y="1140"/>
              <a:ext cx="97" cy="133"/>
            </a:xfrm>
            <a:custGeom>
              <a:avLst/>
              <a:gdLst>
                <a:gd name="T0" fmla="*/ 60 w 71"/>
                <a:gd name="T1" fmla="*/ 11 h 97"/>
                <a:gd name="T2" fmla="*/ 49 w 71"/>
                <a:gd name="T3" fmla="*/ 11 h 97"/>
                <a:gd name="T4" fmla="*/ 20 w 71"/>
                <a:gd name="T5" fmla="*/ 37 h 97"/>
                <a:gd name="T6" fmla="*/ 60 w 71"/>
                <a:gd name="T7" fmla="*/ 37 h 97"/>
                <a:gd name="T8" fmla="*/ 66 w 71"/>
                <a:gd name="T9" fmla="*/ 40 h 97"/>
                <a:gd name="T10" fmla="*/ 60 w 71"/>
                <a:gd name="T11" fmla="*/ 45 h 97"/>
                <a:gd name="T12" fmla="*/ 17 w 71"/>
                <a:gd name="T13" fmla="*/ 45 h 97"/>
                <a:gd name="T14" fmla="*/ 17 w 71"/>
                <a:gd name="T15" fmla="*/ 48 h 97"/>
                <a:gd name="T16" fmla="*/ 17 w 71"/>
                <a:gd name="T17" fmla="*/ 51 h 97"/>
                <a:gd name="T18" fmla="*/ 54 w 71"/>
                <a:gd name="T19" fmla="*/ 51 h 97"/>
                <a:gd name="T20" fmla="*/ 63 w 71"/>
                <a:gd name="T21" fmla="*/ 57 h 97"/>
                <a:gd name="T22" fmla="*/ 57 w 71"/>
                <a:gd name="T23" fmla="*/ 60 h 97"/>
                <a:gd name="T24" fmla="*/ 17 w 71"/>
                <a:gd name="T25" fmla="*/ 60 h 97"/>
                <a:gd name="T26" fmla="*/ 49 w 71"/>
                <a:gd name="T27" fmla="*/ 88 h 97"/>
                <a:gd name="T28" fmla="*/ 63 w 71"/>
                <a:gd name="T29" fmla="*/ 82 h 97"/>
                <a:gd name="T30" fmla="*/ 66 w 71"/>
                <a:gd name="T31" fmla="*/ 82 h 97"/>
                <a:gd name="T32" fmla="*/ 71 w 71"/>
                <a:gd name="T33" fmla="*/ 88 h 97"/>
                <a:gd name="T34" fmla="*/ 49 w 71"/>
                <a:gd name="T35" fmla="*/ 97 h 97"/>
                <a:gd name="T36" fmla="*/ 6 w 71"/>
                <a:gd name="T37" fmla="*/ 60 h 97"/>
                <a:gd name="T38" fmla="*/ 6 w 71"/>
                <a:gd name="T39" fmla="*/ 60 h 97"/>
                <a:gd name="T40" fmla="*/ 0 w 71"/>
                <a:gd name="T41" fmla="*/ 57 h 97"/>
                <a:gd name="T42" fmla="*/ 6 w 71"/>
                <a:gd name="T43" fmla="*/ 51 h 97"/>
                <a:gd name="T44" fmla="*/ 6 w 71"/>
                <a:gd name="T45" fmla="*/ 51 h 97"/>
                <a:gd name="T46" fmla="*/ 6 w 71"/>
                <a:gd name="T47" fmla="*/ 48 h 97"/>
                <a:gd name="T48" fmla="*/ 6 w 71"/>
                <a:gd name="T49" fmla="*/ 45 h 97"/>
                <a:gd name="T50" fmla="*/ 6 w 71"/>
                <a:gd name="T51" fmla="*/ 45 h 97"/>
                <a:gd name="T52" fmla="*/ 0 w 71"/>
                <a:gd name="T53" fmla="*/ 40 h 97"/>
                <a:gd name="T54" fmla="*/ 6 w 71"/>
                <a:gd name="T55" fmla="*/ 37 h 97"/>
                <a:gd name="T56" fmla="*/ 6 w 71"/>
                <a:gd name="T57" fmla="*/ 37 h 97"/>
                <a:gd name="T58" fmla="*/ 49 w 71"/>
                <a:gd name="T59" fmla="*/ 0 h 97"/>
                <a:gd name="T60" fmla="*/ 71 w 71"/>
                <a:gd name="T61" fmla="*/ 11 h 97"/>
                <a:gd name="T62" fmla="*/ 66 w 71"/>
                <a:gd name="T63" fmla="*/ 14 h 97"/>
                <a:gd name="T64" fmla="*/ 60 w 71"/>
                <a:gd name="T65" fmla="*/ 1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1" h="97">
                  <a:moveTo>
                    <a:pt x="60" y="11"/>
                  </a:moveTo>
                  <a:cubicBezTo>
                    <a:pt x="57" y="11"/>
                    <a:pt x="54" y="11"/>
                    <a:pt x="49" y="11"/>
                  </a:cubicBezTo>
                  <a:cubicBezTo>
                    <a:pt x="34" y="11"/>
                    <a:pt x="23" y="20"/>
                    <a:pt x="20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3" y="37"/>
                    <a:pt x="66" y="37"/>
                    <a:pt x="66" y="40"/>
                  </a:cubicBezTo>
                  <a:cubicBezTo>
                    <a:pt x="66" y="45"/>
                    <a:pt x="63" y="45"/>
                    <a:pt x="60" y="45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7" y="51"/>
                    <a:pt x="63" y="51"/>
                    <a:pt x="63" y="57"/>
                  </a:cubicBezTo>
                  <a:cubicBezTo>
                    <a:pt x="63" y="60"/>
                    <a:pt x="57" y="60"/>
                    <a:pt x="57" y="60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23" y="80"/>
                    <a:pt x="34" y="88"/>
                    <a:pt x="49" y="88"/>
                  </a:cubicBezTo>
                  <a:cubicBezTo>
                    <a:pt x="54" y="88"/>
                    <a:pt x="57" y="85"/>
                    <a:pt x="63" y="82"/>
                  </a:cubicBezTo>
                  <a:cubicBezTo>
                    <a:pt x="66" y="82"/>
                    <a:pt x="66" y="82"/>
                    <a:pt x="66" y="82"/>
                  </a:cubicBezTo>
                  <a:cubicBezTo>
                    <a:pt x="69" y="82"/>
                    <a:pt x="71" y="85"/>
                    <a:pt x="71" y="88"/>
                  </a:cubicBezTo>
                  <a:cubicBezTo>
                    <a:pt x="71" y="94"/>
                    <a:pt x="54" y="97"/>
                    <a:pt x="49" y="97"/>
                  </a:cubicBezTo>
                  <a:cubicBezTo>
                    <a:pt x="23" y="97"/>
                    <a:pt x="9" y="80"/>
                    <a:pt x="6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63"/>
                    <a:pt x="0" y="57"/>
                  </a:cubicBezTo>
                  <a:cubicBezTo>
                    <a:pt x="0" y="54"/>
                    <a:pt x="3" y="51"/>
                    <a:pt x="6" y="51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3" y="45"/>
                    <a:pt x="0" y="45"/>
                    <a:pt x="0" y="40"/>
                  </a:cubicBezTo>
                  <a:cubicBezTo>
                    <a:pt x="0" y="37"/>
                    <a:pt x="3" y="37"/>
                    <a:pt x="6" y="37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12" y="11"/>
                    <a:pt x="29" y="0"/>
                    <a:pt x="49" y="0"/>
                  </a:cubicBezTo>
                  <a:cubicBezTo>
                    <a:pt x="60" y="0"/>
                    <a:pt x="71" y="6"/>
                    <a:pt x="71" y="11"/>
                  </a:cubicBezTo>
                  <a:cubicBezTo>
                    <a:pt x="71" y="14"/>
                    <a:pt x="69" y="14"/>
                    <a:pt x="66" y="14"/>
                  </a:cubicBezTo>
                  <a:cubicBezTo>
                    <a:pt x="66" y="14"/>
                    <a:pt x="63" y="14"/>
                    <a:pt x="60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102" name="Freeform 71"/>
            <p:cNvSpPr>
              <a:spLocks/>
            </p:cNvSpPr>
            <p:nvPr/>
          </p:nvSpPr>
          <p:spPr bwMode="auto">
            <a:xfrm>
              <a:off x="6049" y="1148"/>
              <a:ext cx="778" cy="354"/>
            </a:xfrm>
            <a:custGeom>
              <a:avLst/>
              <a:gdLst>
                <a:gd name="T0" fmla="*/ 3 w 568"/>
                <a:gd name="T1" fmla="*/ 167 h 258"/>
                <a:gd name="T2" fmla="*/ 153 w 568"/>
                <a:gd name="T3" fmla="*/ 255 h 258"/>
                <a:gd name="T4" fmla="*/ 159 w 568"/>
                <a:gd name="T5" fmla="*/ 258 h 258"/>
                <a:gd name="T6" fmla="*/ 162 w 568"/>
                <a:gd name="T7" fmla="*/ 258 h 258"/>
                <a:gd name="T8" fmla="*/ 562 w 568"/>
                <a:gd name="T9" fmla="*/ 105 h 258"/>
                <a:gd name="T10" fmla="*/ 565 w 568"/>
                <a:gd name="T11" fmla="*/ 96 h 258"/>
                <a:gd name="T12" fmla="*/ 562 w 568"/>
                <a:gd name="T13" fmla="*/ 91 h 258"/>
                <a:gd name="T14" fmla="*/ 412 w 568"/>
                <a:gd name="T15" fmla="*/ 3 h 258"/>
                <a:gd name="T16" fmla="*/ 406 w 568"/>
                <a:gd name="T17" fmla="*/ 3 h 258"/>
                <a:gd name="T18" fmla="*/ 327 w 568"/>
                <a:gd name="T19" fmla="*/ 31 h 258"/>
                <a:gd name="T20" fmla="*/ 324 w 568"/>
                <a:gd name="T21" fmla="*/ 42 h 258"/>
                <a:gd name="T22" fmla="*/ 332 w 568"/>
                <a:gd name="T23" fmla="*/ 45 h 258"/>
                <a:gd name="T24" fmla="*/ 409 w 568"/>
                <a:gd name="T25" fmla="*/ 17 h 258"/>
                <a:gd name="T26" fmla="*/ 542 w 568"/>
                <a:gd name="T27" fmla="*/ 96 h 258"/>
                <a:gd name="T28" fmla="*/ 159 w 568"/>
                <a:gd name="T29" fmla="*/ 241 h 258"/>
                <a:gd name="T30" fmla="*/ 26 w 568"/>
                <a:gd name="T31" fmla="*/ 164 h 258"/>
                <a:gd name="T32" fmla="*/ 239 w 568"/>
                <a:gd name="T33" fmla="*/ 82 h 258"/>
                <a:gd name="T34" fmla="*/ 244 w 568"/>
                <a:gd name="T35" fmla="*/ 71 h 258"/>
                <a:gd name="T36" fmla="*/ 236 w 568"/>
                <a:gd name="T37" fmla="*/ 68 h 258"/>
                <a:gd name="T38" fmla="*/ 6 w 568"/>
                <a:gd name="T39" fmla="*/ 156 h 258"/>
                <a:gd name="T40" fmla="*/ 0 w 568"/>
                <a:gd name="T41" fmla="*/ 162 h 258"/>
                <a:gd name="T42" fmla="*/ 3 w 568"/>
                <a:gd name="T43" fmla="*/ 167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8" h="258">
                  <a:moveTo>
                    <a:pt x="3" y="167"/>
                  </a:moveTo>
                  <a:cubicBezTo>
                    <a:pt x="153" y="255"/>
                    <a:pt x="153" y="255"/>
                    <a:pt x="153" y="255"/>
                  </a:cubicBezTo>
                  <a:cubicBezTo>
                    <a:pt x="156" y="258"/>
                    <a:pt x="156" y="258"/>
                    <a:pt x="159" y="258"/>
                  </a:cubicBezTo>
                  <a:cubicBezTo>
                    <a:pt x="159" y="258"/>
                    <a:pt x="159" y="258"/>
                    <a:pt x="162" y="258"/>
                  </a:cubicBezTo>
                  <a:cubicBezTo>
                    <a:pt x="562" y="105"/>
                    <a:pt x="562" y="105"/>
                    <a:pt x="562" y="105"/>
                  </a:cubicBezTo>
                  <a:cubicBezTo>
                    <a:pt x="565" y="102"/>
                    <a:pt x="565" y="99"/>
                    <a:pt x="565" y="96"/>
                  </a:cubicBezTo>
                  <a:cubicBezTo>
                    <a:pt x="568" y="93"/>
                    <a:pt x="565" y="91"/>
                    <a:pt x="562" y="91"/>
                  </a:cubicBezTo>
                  <a:cubicBezTo>
                    <a:pt x="412" y="3"/>
                    <a:pt x="412" y="3"/>
                    <a:pt x="412" y="3"/>
                  </a:cubicBezTo>
                  <a:cubicBezTo>
                    <a:pt x="412" y="0"/>
                    <a:pt x="409" y="0"/>
                    <a:pt x="406" y="3"/>
                  </a:cubicBezTo>
                  <a:cubicBezTo>
                    <a:pt x="327" y="31"/>
                    <a:pt x="327" y="31"/>
                    <a:pt x="327" y="31"/>
                  </a:cubicBezTo>
                  <a:cubicBezTo>
                    <a:pt x="324" y="34"/>
                    <a:pt x="321" y="37"/>
                    <a:pt x="324" y="42"/>
                  </a:cubicBezTo>
                  <a:cubicBezTo>
                    <a:pt x="324" y="45"/>
                    <a:pt x="329" y="48"/>
                    <a:pt x="332" y="45"/>
                  </a:cubicBezTo>
                  <a:cubicBezTo>
                    <a:pt x="409" y="17"/>
                    <a:pt x="409" y="17"/>
                    <a:pt x="409" y="17"/>
                  </a:cubicBezTo>
                  <a:cubicBezTo>
                    <a:pt x="542" y="96"/>
                    <a:pt x="542" y="96"/>
                    <a:pt x="542" y="96"/>
                  </a:cubicBezTo>
                  <a:cubicBezTo>
                    <a:pt x="159" y="241"/>
                    <a:pt x="159" y="241"/>
                    <a:pt x="159" y="241"/>
                  </a:cubicBezTo>
                  <a:cubicBezTo>
                    <a:pt x="26" y="164"/>
                    <a:pt x="26" y="164"/>
                    <a:pt x="26" y="164"/>
                  </a:cubicBezTo>
                  <a:cubicBezTo>
                    <a:pt x="239" y="82"/>
                    <a:pt x="239" y="82"/>
                    <a:pt x="239" y="82"/>
                  </a:cubicBezTo>
                  <a:cubicBezTo>
                    <a:pt x="244" y="79"/>
                    <a:pt x="244" y="76"/>
                    <a:pt x="244" y="71"/>
                  </a:cubicBezTo>
                  <a:cubicBezTo>
                    <a:pt x="241" y="68"/>
                    <a:pt x="239" y="65"/>
                    <a:pt x="236" y="68"/>
                  </a:cubicBezTo>
                  <a:cubicBezTo>
                    <a:pt x="6" y="156"/>
                    <a:pt x="6" y="156"/>
                    <a:pt x="6" y="156"/>
                  </a:cubicBezTo>
                  <a:cubicBezTo>
                    <a:pt x="3" y="156"/>
                    <a:pt x="0" y="159"/>
                    <a:pt x="0" y="162"/>
                  </a:cubicBezTo>
                  <a:cubicBezTo>
                    <a:pt x="0" y="164"/>
                    <a:pt x="3" y="167"/>
                    <a:pt x="3" y="16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103" name="Freeform 72"/>
            <p:cNvSpPr>
              <a:spLocks/>
            </p:cNvSpPr>
            <p:nvPr/>
          </p:nvSpPr>
          <p:spPr bwMode="auto">
            <a:xfrm>
              <a:off x="6329" y="1276"/>
              <a:ext cx="214" cy="105"/>
            </a:xfrm>
            <a:custGeom>
              <a:avLst/>
              <a:gdLst>
                <a:gd name="T0" fmla="*/ 117 w 157"/>
                <a:gd name="T1" fmla="*/ 54 h 77"/>
                <a:gd name="T2" fmla="*/ 26 w 157"/>
                <a:gd name="T3" fmla="*/ 52 h 77"/>
                <a:gd name="T4" fmla="*/ 18 w 157"/>
                <a:gd name="T5" fmla="*/ 40 h 77"/>
                <a:gd name="T6" fmla="*/ 37 w 157"/>
                <a:gd name="T7" fmla="*/ 20 h 77"/>
                <a:gd name="T8" fmla="*/ 40 w 157"/>
                <a:gd name="T9" fmla="*/ 12 h 77"/>
                <a:gd name="T10" fmla="*/ 29 w 157"/>
                <a:gd name="T11" fmla="*/ 9 h 77"/>
                <a:gd name="T12" fmla="*/ 0 w 157"/>
                <a:gd name="T13" fmla="*/ 40 h 77"/>
                <a:gd name="T14" fmla="*/ 18 w 157"/>
                <a:gd name="T15" fmla="*/ 66 h 77"/>
                <a:gd name="T16" fmla="*/ 71 w 157"/>
                <a:gd name="T17" fmla="*/ 77 h 77"/>
                <a:gd name="T18" fmla="*/ 123 w 157"/>
                <a:gd name="T19" fmla="*/ 69 h 77"/>
                <a:gd name="T20" fmla="*/ 157 w 157"/>
                <a:gd name="T21" fmla="*/ 35 h 77"/>
                <a:gd name="T22" fmla="*/ 140 w 157"/>
                <a:gd name="T23" fmla="*/ 9 h 77"/>
                <a:gd name="T24" fmla="*/ 128 w 157"/>
                <a:gd name="T25" fmla="*/ 3 h 77"/>
                <a:gd name="T26" fmla="*/ 120 w 157"/>
                <a:gd name="T27" fmla="*/ 6 h 77"/>
                <a:gd name="T28" fmla="*/ 123 w 157"/>
                <a:gd name="T29" fmla="*/ 17 h 77"/>
                <a:gd name="T30" fmla="*/ 134 w 157"/>
                <a:gd name="T31" fmla="*/ 20 h 77"/>
                <a:gd name="T32" fmla="*/ 142 w 157"/>
                <a:gd name="T33" fmla="*/ 32 h 77"/>
                <a:gd name="T34" fmla="*/ 117 w 157"/>
                <a:gd name="T35" fmla="*/ 5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7" h="77">
                  <a:moveTo>
                    <a:pt x="117" y="54"/>
                  </a:moveTo>
                  <a:cubicBezTo>
                    <a:pt x="89" y="66"/>
                    <a:pt x="46" y="63"/>
                    <a:pt x="26" y="52"/>
                  </a:cubicBezTo>
                  <a:cubicBezTo>
                    <a:pt x="23" y="49"/>
                    <a:pt x="15" y="46"/>
                    <a:pt x="18" y="40"/>
                  </a:cubicBezTo>
                  <a:cubicBezTo>
                    <a:pt x="18" y="35"/>
                    <a:pt x="23" y="29"/>
                    <a:pt x="37" y="20"/>
                  </a:cubicBezTo>
                  <a:cubicBezTo>
                    <a:pt x="40" y="20"/>
                    <a:pt x="40" y="15"/>
                    <a:pt x="40" y="12"/>
                  </a:cubicBezTo>
                  <a:cubicBezTo>
                    <a:pt x="37" y="9"/>
                    <a:pt x="35" y="6"/>
                    <a:pt x="29" y="9"/>
                  </a:cubicBezTo>
                  <a:cubicBezTo>
                    <a:pt x="12" y="17"/>
                    <a:pt x="3" y="26"/>
                    <a:pt x="0" y="40"/>
                  </a:cubicBezTo>
                  <a:cubicBezTo>
                    <a:pt x="0" y="46"/>
                    <a:pt x="3" y="57"/>
                    <a:pt x="18" y="66"/>
                  </a:cubicBezTo>
                  <a:cubicBezTo>
                    <a:pt x="32" y="71"/>
                    <a:pt x="52" y="77"/>
                    <a:pt x="71" y="77"/>
                  </a:cubicBezTo>
                  <a:cubicBezTo>
                    <a:pt x="89" y="77"/>
                    <a:pt x="108" y="74"/>
                    <a:pt x="123" y="69"/>
                  </a:cubicBezTo>
                  <a:cubicBezTo>
                    <a:pt x="142" y="60"/>
                    <a:pt x="157" y="46"/>
                    <a:pt x="157" y="35"/>
                  </a:cubicBezTo>
                  <a:cubicBezTo>
                    <a:pt x="157" y="29"/>
                    <a:pt x="157" y="17"/>
                    <a:pt x="140" y="9"/>
                  </a:cubicBezTo>
                  <a:cubicBezTo>
                    <a:pt x="137" y="6"/>
                    <a:pt x="134" y="3"/>
                    <a:pt x="128" y="3"/>
                  </a:cubicBezTo>
                  <a:cubicBezTo>
                    <a:pt x="125" y="0"/>
                    <a:pt x="120" y="3"/>
                    <a:pt x="120" y="6"/>
                  </a:cubicBezTo>
                  <a:cubicBezTo>
                    <a:pt x="117" y="12"/>
                    <a:pt x="120" y="15"/>
                    <a:pt x="123" y="17"/>
                  </a:cubicBezTo>
                  <a:cubicBezTo>
                    <a:pt x="128" y="17"/>
                    <a:pt x="131" y="20"/>
                    <a:pt x="134" y="20"/>
                  </a:cubicBezTo>
                  <a:cubicBezTo>
                    <a:pt x="137" y="23"/>
                    <a:pt x="142" y="26"/>
                    <a:pt x="142" y="32"/>
                  </a:cubicBezTo>
                  <a:cubicBezTo>
                    <a:pt x="142" y="37"/>
                    <a:pt x="137" y="46"/>
                    <a:pt x="117" y="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104" name="Freeform 73"/>
            <p:cNvSpPr>
              <a:spLocks noEditPoints="1"/>
            </p:cNvSpPr>
            <p:nvPr/>
          </p:nvSpPr>
          <p:spPr bwMode="auto">
            <a:xfrm>
              <a:off x="6205" y="1362"/>
              <a:ext cx="108" cy="62"/>
            </a:xfrm>
            <a:custGeom>
              <a:avLst/>
              <a:gdLst>
                <a:gd name="T0" fmla="*/ 45 w 79"/>
                <a:gd name="T1" fmla="*/ 0 h 45"/>
                <a:gd name="T2" fmla="*/ 19 w 79"/>
                <a:gd name="T3" fmla="*/ 6 h 45"/>
                <a:gd name="T4" fmla="*/ 2 w 79"/>
                <a:gd name="T5" fmla="*/ 23 h 45"/>
                <a:gd name="T6" fmla="*/ 11 w 79"/>
                <a:gd name="T7" fmla="*/ 40 h 45"/>
                <a:gd name="T8" fmla="*/ 37 w 79"/>
                <a:gd name="T9" fmla="*/ 45 h 45"/>
                <a:gd name="T10" fmla="*/ 59 w 79"/>
                <a:gd name="T11" fmla="*/ 40 h 45"/>
                <a:gd name="T12" fmla="*/ 79 w 79"/>
                <a:gd name="T13" fmla="*/ 23 h 45"/>
                <a:gd name="T14" fmla="*/ 68 w 79"/>
                <a:gd name="T15" fmla="*/ 6 h 45"/>
                <a:gd name="T16" fmla="*/ 45 w 79"/>
                <a:gd name="T17" fmla="*/ 0 h 45"/>
                <a:gd name="T18" fmla="*/ 56 w 79"/>
                <a:gd name="T19" fmla="*/ 25 h 45"/>
                <a:gd name="T20" fmla="*/ 37 w 79"/>
                <a:gd name="T21" fmla="*/ 31 h 45"/>
                <a:gd name="T22" fmla="*/ 17 w 79"/>
                <a:gd name="T23" fmla="*/ 25 h 45"/>
                <a:gd name="T24" fmla="*/ 17 w 79"/>
                <a:gd name="T25" fmla="*/ 25 h 45"/>
                <a:gd name="T26" fmla="*/ 25 w 79"/>
                <a:gd name="T27" fmla="*/ 20 h 45"/>
                <a:gd name="T28" fmla="*/ 45 w 79"/>
                <a:gd name="T29" fmla="*/ 17 h 45"/>
                <a:gd name="T30" fmla="*/ 62 w 79"/>
                <a:gd name="T31" fmla="*/ 20 h 45"/>
                <a:gd name="T32" fmla="*/ 65 w 79"/>
                <a:gd name="T33" fmla="*/ 23 h 45"/>
                <a:gd name="T34" fmla="*/ 56 w 79"/>
                <a:gd name="T35" fmla="*/ 2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" h="45">
                  <a:moveTo>
                    <a:pt x="45" y="0"/>
                  </a:moveTo>
                  <a:cubicBezTo>
                    <a:pt x="34" y="0"/>
                    <a:pt x="25" y="3"/>
                    <a:pt x="19" y="6"/>
                  </a:cubicBezTo>
                  <a:cubicBezTo>
                    <a:pt x="8" y="8"/>
                    <a:pt x="2" y="17"/>
                    <a:pt x="2" y="23"/>
                  </a:cubicBezTo>
                  <a:cubicBezTo>
                    <a:pt x="0" y="31"/>
                    <a:pt x="5" y="37"/>
                    <a:pt x="11" y="40"/>
                  </a:cubicBezTo>
                  <a:cubicBezTo>
                    <a:pt x="17" y="43"/>
                    <a:pt x="25" y="45"/>
                    <a:pt x="37" y="45"/>
                  </a:cubicBezTo>
                  <a:cubicBezTo>
                    <a:pt x="45" y="45"/>
                    <a:pt x="54" y="43"/>
                    <a:pt x="59" y="40"/>
                  </a:cubicBezTo>
                  <a:cubicBezTo>
                    <a:pt x="71" y="37"/>
                    <a:pt x="79" y="31"/>
                    <a:pt x="79" y="23"/>
                  </a:cubicBezTo>
                  <a:cubicBezTo>
                    <a:pt x="79" y="17"/>
                    <a:pt x="76" y="11"/>
                    <a:pt x="68" y="6"/>
                  </a:cubicBezTo>
                  <a:cubicBezTo>
                    <a:pt x="62" y="3"/>
                    <a:pt x="54" y="0"/>
                    <a:pt x="45" y="0"/>
                  </a:cubicBezTo>
                  <a:moveTo>
                    <a:pt x="56" y="25"/>
                  </a:moveTo>
                  <a:cubicBezTo>
                    <a:pt x="51" y="28"/>
                    <a:pt x="42" y="31"/>
                    <a:pt x="37" y="31"/>
                  </a:cubicBezTo>
                  <a:cubicBezTo>
                    <a:pt x="28" y="31"/>
                    <a:pt x="22" y="28"/>
                    <a:pt x="17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7" y="23"/>
                    <a:pt x="19" y="23"/>
                    <a:pt x="25" y="20"/>
                  </a:cubicBezTo>
                  <a:cubicBezTo>
                    <a:pt x="31" y="17"/>
                    <a:pt x="37" y="17"/>
                    <a:pt x="45" y="17"/>
                  </a:cubicBezTo>
                  <a:cubicBezTo>
                    <a:pt x="51" y="17"/>
                    <a:pt x="56" y="17"/>
                    <a:pt x="62" y="20"/>
                  </a:cubicBezTo>
                  <a:cubicBezTo>
                    <a:pt x="62" y="20"/>
                    <a:pt x="62" y="20"/>
                    <a:pt x="65" y="23"/>
                  </a:cubicBezTo>
                  <a:cubicBezTo>
                    <a:pt x="62" y="23"/>
                    <a:pt x="62" y="25"/>
                    <a:pt x="56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105" name="Freeform 74"/>
            <p:cNvSpPr>
              <a:spLocks noEditPoints="1"/>
            </p:cNvSpPr>
            <p:nvPr/>
          </p:nvSpPr>
          <p:spPr bwMode="auto">
            <a:xfrm>
              <a:off x="6562" y="1226"/>
              <a:ext cx="106" cy="62"/>
            </a:xfrm>
            <a:custGeom>
              <a:avLst/>
              <a:gdLst>
                <a:gd name="T0" fmla="*/ 34 w 77"/>
                <a:gd name="T1" fmla="*/ 45 h 45"/>
                <a:gd name="T2" fmla="*/ 60 w 77"/>
                <a:gd name="T3" fmla="*/ 39 h 45"/>
                <a:gd name="T4" fmla="*/ 77 w 77"/>
                <a:gd name="T5" fmla="*/ 22 h 45"/>
                <a:gd name="T6" fmla="*/ 68 w 77"/>
                <a:gd name="T7" fmla="*/ 5 h 45"/>
                <a:gd name="T8" fmla="*/ 42 w 77"/>
                <a:gd name="T9" fmla="*/ 0 h 45"/>
                <a:gd name="T10" fmla="*/ 17 w 77"/>
                <a:gd name="T11" fmla="*/ 5 h 45"/>
                <a:gd name="T12" fmla="*/ 0 w 77"/>
                <a:gd name="T13" fmla="*/ 22 h 45"/>
                <a:gd name="T14" fmla="*/ 8 w 77"/>
                <a:gd name="T15" fmla="*/ 39 h 45"/>
                <a:gd name="T16" fmla="*/ 34 w 77"/>
                <a:gd name="T17" fmla="*/ 45 h 45"/>
                <a:gd name="T18" fmla="*/ 23 w 77"/>
                <a:gd name="T19" fmla="*/ 19 h 45"/>
                <a:gd name="T20" fmla="*/ 42 w 77"/>
                <a:gd name="T21" fmla="*/ 17 h 45"/>
                <a:gd name="T22" fmla="*/ 60 w 77"/>
                <a:gd name="T23" fmla="*/ 19 h 45"/>
                <a:gd name="T24" fmla="*/ 62 w 77"/>
                <a:gd name="T25" fmla="*/ 22 h 45"/>
                <a:gd name="T26" fmla="*/ 54 w 77"/>
                <a:gd name="T27" fmla="*/ 25 h 45"/>
                <a:gd name="T28" fmla="*/ 34 w 77"/>
                <a:gd name="T29" fmla="*/ 31 h 45"/>
                <a:gd name="T30" fmla="*/ 17 w 77"/>
                <a:gd name="T31" fmla="*/ 25 h 45"/>
                <a:gd name="T32" fmla="*/ 14 w 77"/>
                <a:gd name="T33" fmla="*/ 25 h 45"/>
                <a:gd name="T34" fmla="*/ 23 w 77"/>
                <a:gd name="T35" fmla="*/ 19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7" h="45">
                  <a:moveTo>
                    <a:pt x="34" y="45"/>
                  </a:moveTo>
                  <a:cubicBezTo>
                    <a:pt x="42" y="45"/>
                    <a:pt x="51" y="42"/>
                    <a:pt x="60" y="39"/>
                  </a:cubicBezTo>
                  <a:cubicBezTo>
                    <a:pt x="71" y="36"/>
                    <a:pt x="77" y="31"/>
                    <a:pt x="77" y="22"/>
                  </a:cubicBezTo>
                  <a:cubicBezTo>
                    <a:pt x="77" y="17"/>
                    <a:pt x="74" y="11"/>
                    <a:pt x="68" y="5"/>
                  </a:cubicBezTo>
                  <a:cubicBezTo>
                    <a:pt x="62" y="2"/>
                    <a:pt x="51" y="0"/>
                    <a:pt x="42" y="0"/>
                  </a:cubicBezTo>
                  <a:cubicBezTo>
                    <a:pt x="34" y="0"/>
                    <a:pt x="25" y="2"/>
                    <a:pt x="17" y="5"/>
                  </a:cubicBezTo>
                  <a:cubicBezTo>
                    <a:pt x="6" y="8"/>
                    <a:pt x="0" y="17"/>
                    <a:pt x="0" y="22"/>
                  </a:cubicBezTo>
                  <a:cubicBezTo>
                    <a:pt x="0" y="31"/>
                    <a:pt x="3" y="34"/>
                    <a:pt x="8" y="39"/>
                  </a:cubicBezTo>
                  <a:cubicBezTo>
                    <a:pt x="14" y="42"/>
                    <a:pt x="25" y="45"/>
                    <a:pt x="34" y="45"/>
                  </a:cubicBezTo>
                  <a:moveTo>
                    <a:pt x="23" y="19"/>
                  </a:moveTo>
                  <a:cubicBezTo>
                    <a:pt x="28" y="17"/>
                    <a:pt x="34" y="17"/>
                    <a:pt x="42" y="17"/>
                  </a:cubicBezTo>
                  <a:cubicBezTo>
                    <a:pt x="48" y="17"/>
                    <a:pt x="57" y="17"/>
                    <a:pt x="60" y="19"/>
                  </a:cubicBezTo>
                  <a:cubicBezTo>
                    <a:pt x="62" y="19"/>
                    <a:pt x="62" y="19"/>
                    <a:pt x="62" y="22"/>
                  </a:cubicBezTo>
                  <a:cubicBezTo>
                    <a:pt x="62" y="22"/>
                    <a:pt x="60" y="25"/>
                    <a:pt x="54" y="25"/>
                  </a:cubicBezTo>
                  <a:cubicBezTo>
                    <a:pt x="48" y="28"/>
                    <a:pt x="42" y="31"/>
                    <a:pt x="34" y="31"/>
                  </a:cubicBezTo>
                  <a:cubicBezTo>
                    <a:pt x="28" y="31"/>
                    <a:pt x="20" y="28"/>
                    <a:pt x="17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2"/>
                    <a:pt x="17" y="22"/>
                    <a:pt x="23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106" name="Freeform 75"/>
            <p:cNvSpPr>
              <a:spLocks/>
            </p:cNvSpPr>
            <p:nvPr/>
          </p:nvSpPr>
          <p:spPr bwMode="auto">
            <a:xfrm>
              <a:off x="6049" y="1315"/>
              <a:ext cx="778" cy="229"/>
            </a:xfrm>
            <a:custGeom>
              <a:avLst/>
              <a:gdLst>
                <a:gd name="T0" fmla="*/ 557 w 568"/>
                <a:gd name="T1" fmla="*/ 0 h 167"/>
                <a:gd name="T2" fmla="*/ 159 w 568"/>
                <a:gd name="T3" fmla="*/ 153 h 167"/>
                <a:gd name="T4" fmla="*/ 11 w 568"/>
                <a:gd name="T5" fmla="*/ 68 h 167"/>
                <a:gd name="T6" fmla="*/ 3 w 568"/>
                <a:gd name="T7" fmla="*/ 68 h 167"/>
                <a:gd name="T8" fmla="*/ 3 w 568"/>
                <a:gd name="T9" fmla="*/ 79 h 167"/>
                <a:gd name="T10" fmla="*/ 153 w 568"/>
                <a:gd name="T11" fmla="*/ 167 h 167"/>
                <a:gd name="T12" fmla="*/ 159 w 568"/>
                <a:gd name="T13" fmla="*/ 167 h 167"/>
                <a:gd name="T14" fmla="*/ 162 w 568"/>
                <a:gd name="T15" fmla="*/ 167 h 167"/>
                <a:gd name="T16" fmla="*/ 562 w 568"/>
                <a:gd name="T17" fmla="*/ 14 h 167"/>
                <a:gd name="T18" fmla="*/ 565 w 568"/>
                <a:gd name="T19" fmla="*/ 6 h 167"/>
                <a:gd name="T20" fmla="*/ 557 w 568"/>
                <a:gd name="T21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8" h="167">
                  <a:moveTo>
                    <a:pt x="557" y="0"/>
                  </a:moveTo>
                  <a:cubicBezTo>
                    <a:pt x="159" y="153"/>
                    <a:pt x="159" y="153"/>
                    <a:pt x="159" y="153"/>
                  </a:cubicBezTo>
                  <a:cubicBezTo>
                    <a:pt x="11" y="68"/>
                    <a:pt x="11" y="68"/>
                    <a:pt x="11" y="68"/>
                  </a:cubicBezTo>
                  <a:cubicBezTo>
                    <a:pt x="9" y="65"/>
                    <a:pt x="3" y="65"/>
                    <a:pt x="3" y="68"/>
                  </a:cubicBezTo>
                  <a:cubicBezTo>
                    <a:pt x="0" y="74"/>
                    <a:pt x="0" y="77"/>
                    <a:pt x="3" y="79"/>
                  </a:cubicBezTo>
                  <a:cubicBezTo>
                    <a:pt x="153" y="167"/>
                    <a:pt x="153" y="167"/>
                    <a:pt x="153" y="167"/>
                  </a:cubicBezTo>
                  <a:cubicBezTo>
                    <a:pt x="156" y="167"/>
                    <a:pt x="156" y="167"/>
                    <a:pt x="159" y="167"/>
                  </a:cubicBezTo>
                  <a:cubicBezTo>
                    <a:pt x="159" y="167"/>
                    <a:pt x="159" y="167"/>
                    <a:pt x="162" y="167"/>
                  </a:cubicBezTo>
                  <a:cubicBezTo>
                    <a:pt x="562" y="14"/>
                    <a:pt x="562" y="14"/>
                    <a:pt x="562" y="14"/>
                  </a:cubicBezTo>
                  <a:cubicBezTo>
                    <a:pt x="565" y="14"/>
                    <a:pt x="568" y="8"/>
                    <a:pt x="565" y="6"/>
                  </a:cubicBezTo>
                  <a:cubicBezTo>
                    <a:pt x="565" y="0"/>
                    <a:pt x="559" y="0"/>
                    <a:pt x="55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107" name="Freeform 76"/>
            <p:cNvSpPr>
              <a:spLocks/>
            </p:cNvSpPr>
            <p:nvPr/>
          </p:nvSpPr>
          <p:spPr bwMode="auto">
            <a:xfrm>
              <a:off x="6049" y="1358"/>
              <a:ext cx="778" cy="233"/>
            </a:xfrm>
            <a:custGeom>
              <a:avLst/>
              <a:gdLst>
                <a:gd name="T0" fmla="*/ 557 w 568"/>
                <a:gd name="T1" fmla="*/ 3 h 170"/>
                <a:gd name="T2" fmla="*/ 159 w 568"/>
                <a:gd name="T3" fmla="*/ 156 h 170"/>
                <a:gd name="T4" fmla="*/ 11 w 568"/>
                <a:gd name="T5" fmla="*/ 68 h 170"/>
                <a:gd name="T6" fmla="*/ 3 w 568"/>
                <a:gd name="T7" fmla="*/ 71 h 170"/>
                <a:gd name="T8" fmla="*/ 3 w 568"/>
                <a:gd name="T9" fmla="*/ 82 h 170"/>
                <a:gd name="T10" fmla="*/ 153 w 568"/>
                <a:gd name="T11" fmla="*/ 170 h 170"/>
                <a:gd name="T12" fmla="*/ 159 w 568"/>
                <a:gd name="T13" fmla="*/ 170 h 170"/>
                <a:gd name="T14" fmla="*/ 162 w 568"/>
                <a:gd name="T15" fmla="*/ 170 h 170"/>
                <a:gd name="T16" fmla="*/ 562 w 568"/>
                <a:gd name="T17" fmla="*/ 17 h 170"/>
                <a:gd name="T18" fmla="*/ 565 w 568"/>
                <a:gd name="T19" fmla="*/ 6 h 170"/>
                <a:gd name="T20" fmla="*/ 557 w 568"/>
                <a:gd name="T21" fmla="*/ 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8" h="170">
                  <a:moveTo>
                    <a:pt x="557" y="3"/>
                  </a:moveTo>
                  <a:cubicBezTo>
                    <a:pt x="159" y="156"/>
                    <a:pt x="159" y="156"/>
                    <a:pt x="159" y="156"/>
                  </a:cubicBezTo>
                  <a:cubicBezTo>
                    <a:pt x="11" y="68"/>
                    <a:pt x="11" y="68"/>
                    <a:pt x="11" y="68"/>
                  </a:cubicBezTo>
                  <a:cubicBezTo>
                    <a:pt x="9" y="65"/>
                    <a:pt x="3" y="68"/>
                    <a:pt x="3" y="71"/>
                  </a:cubicBezTo>
                  <a:cubicBezTo>
                    <a:pt x="0" y="74"/>
                    <a:pt x="0" y="80"/>
                    <a:pt x="3" y="82"/>
                  </a:cubicBezTo>
                  <a:cubicBezTo>
                    <a:pt x="153" y="170"/>
                    <a:pt x="153" y="170"/>
                    <a:pt x="153" y="170"/>
                  </a:cubicBezTo>
                  <a:cubicBezTo>
                    <a:pt x="156" y="170"/>
                    <a:pt x="156" y="170"/>
                    <a:pt x="159" y="170"/>
                  </a:cubicBezTo>
                  <a:cubicBezTo>
                    <a:pt x="159" y="170"/>
                    <a:pt x="159" y="170"/>
                    <a:pt x="162" y="170"/>
                  </a:cubicBezTo>
                  <a:cubicBezTo>
                    <a:pt x="562" y="17"/>
                    <a:pt x="562" y="17"/>
                    <a:pt x="562" y="17"/>
                  </a:cubicBezTo>
                  <a:cubicBezTo>
                    <a:pt x="565" y="14"/>
                    <a:pt x="568" y="11"/>
                    <a:pt x="565" y="6"/>
                  </a:cubicBezTo>
                  <a:cubicBezTo>
                    <a:pt x="565" y="3"/>
                    <a:pt x="559" y="0"/>
                    <a:pt x="557" y="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108" name="Freeform 77"/>
            <p:cNvSpPr>
              <a:spLocks/>
            </p:cNvSpPr>
            <p:nvPr/>
          </p:nvSpPr>
          <p:spPr bwMode="auto">
            <a:xfrm>
              <a:off x="6286" y="1163"/>
              <a:ext cx="70" cy="74"/>
            </a:xfrm>
            <a:custGeom>
              <a:avLst/>
              <a:gdLst>
                <a:gd name="T0" fmla="*/ 6 w 51"/>
                <a:gd name="T1" fmla="*/ 34 h 54"/>
                <a:gd name="T2" fmla="*/ 17 w 51"/>
                <a:gd name="T3" fmla="*/ 34 h 54"/>
                <a:gd name="T4" fmla="*/ 17 w 51"/>
                <a:gd name="T5" fmla="*/ 46 h 54"/>
                <a:gd name="T6" fmla="*/ 26 w 51"/>
                <a:gd name="T7" fmla="*/ 54 h 54"/>
                <a:gd name="T8" fmla="*/ 31 w 51"/>
                <a:gd name="T9" fmla="*/ 46 h 54"/>
                <a:gd name="T10" fmla="*/ 31 w 51"/>
                <a:gd name="T11" fmla="*/ 34 h 54"/>
                <a:gd name="T12" fmla="*/ 43 w 51"/>
                <a:gd name="T13" fmla="*/ 34 h 54"/>
                <a:gd name="T14" fmla="*/ 51 w 51"/>
                <a:gd name="T15" fmla="*/ 26 h 54"/>
                <a:gd name="T16" fmla="*/ 43 w 51"/>
                <a:gd name="T17" fmla="*/ 20 h 54"/>
                <a:gd name="T18" fmla="*/ 31 w 51"/>
                <a:gd name="T19" fmla="*/ 20 h 54"/>
                <a:gd name="T20" fmla="*/ 31 w 51"/>
                <a:gd name="T21" fmla="*/ 9 h 54"/>
                <a:gd name="T22" fmla="*/ 26 w 51"/>
                <a:gd name="T23" fmla="*/ 0 h 54"/>
                <a:gd name="T24" fmla="*/ 17 w 51"/>
                <a:gd name="T25" fmla="*/ 9 h 54"/>
                <a:gd name="T26" fmla="*/ 17 w 51"/>
                <a:gd name="T27" fmla="*/ 20 h 54"/>
                <a:gd name="T28" fmla="*/ 6 w 51"/>
                <a:gd name="T29" fmla="*/ 20 h 54"/>
                <a:gd name="T30" fmla="*/ 0 w 51"/>
                <a:gd name="T31" fmla="*/ 26 h 54"/>
                <a:gd name="T32" fmla="*/ 6 w 51"/>
                <a:gd name="T33" fmla="*/ 3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54">
                  <a:moveTo>
                    <a:pt x="6" y="34"/>
                  </a:moveTo>
                  <a:cubicBezTo>
                    <a:pt x="17" y="34"/>
                    <a:pt x="17" y="34"/>
                    <a:pt x="17" y="34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7" y="51"/>
                    <a:pt x="20" y="54"/>
                    <a:pt x="26" y="54"/>
                  </a:cubicBezTo>
                  <a:cubicBezTo>
                    <a:pt x="29" y="54"/>
                    <a:pt x="31" y="51"/>
                    <a:pt x="31" y="46"/>
                  </a:cubicBezTo>
                  <a:cubicBezTo>
                    <a:pt x="31" y="34"/>
                    <a:pt x="31" y="34"/>
                    <a:pt x="31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9" y="34"/>
                    <a:pt x="51" y="31"/>
                    <a:pt x="51" y="26"/>
                  </a:cubicBezTo>
                  <a:cubicBezTo>
                    <a:pt x="51" y="23"/>
                    <a:pt x="49" y="20"/>
                    <a:pt x="43" y="20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3"/>
                    <a:pt x="29" y="0"/>
                    <a:pt x="26" y="0"/>
                  </a:cubicBezTo>
                  <a:cubicBezTo>
                    <a:pt x="20" y="0"/>
                    <a:pt x="17" y="3"/>
                    <a:pt x="17" y="9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3" y="20"/>
                    <a:pt x="0" y="23"/>
                    <a:pt x="0" y="26"/>
                  </a:cubicBezTo>
                  <a:cubicBezTo>
                    <a:pt x="0" y="31"/>
                    <a:pt x="3" y="34"/>
                    <a:pt x="6" y="3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109" name="Freeform 78"/>
            <p:cNvSpPr>
              <a:spLocks/>
            </p:cNvSpPr>
            <p:nvPr/>
          </p:nvSpPr>
          <p:spPr bwMode="auto">
            <a:xfrm>
              <a:off x="6333" y="1032"/>
              <a:ext cx="74" cy="72"/>
            </a:xfrm>
            <a:custGeom>
              <a:avLst/>
              <a:gdLst>
                <a:gd name="T0" fmla="*/ 9 w 54"/>
                <a:gd name="T1" fmla="*/ 34 h 53"/>
                <a:gd name="T2" fmla="*/ 20 w 54"/>
                <a:gd name="T3" fmla="*/ 34 h 53"/>
                <a:gd name="T4" fmla="*/ 20 w 54"/>
                <a:gd name="T5" fmla="*/ 45 h 53"/>
                <a:gd name="T6" fmla="*/ 26 w 54"/>
                <a:gd name="T7" fmla="*/ 53 h 53"/>
                <a:gd name="T8" fmla="*/ 34 w 54"/>
                <a:gd name="T9" fmla="*/ 45 h 53"/>
                <a:gd name="T10" fmla="*/ 34 w 54"/>
                <a:gd name="T11" fmla="*/ 34 h 53"/>
                <a:gd name="T12" fmla="*/ 46 w 54"/>
                <a:gd name="T13" fmla="*/ 34 h 53"/>
                <a:gd name="T14" fmla="*/ 54 w 54"/>
                <a:gd name="T15" fmla="*/ 28 h 53"/>
                <a:gd name="T16" fmla="*/ 46 w 54"/>
                <a:gd name="T17" fmla="*/ 19 h 53"/>
                <a:gd name="T18" fmla="*/ 34 w 54"/>
                <a:gd name="T19" fmla="*/ 19 h 53"/>
                <a:gd name="T20" fmla="*/ 34 w 54"/>
                <a:gd name="T21" fmla="*/ 8 h 53"/>
                <a:gd name="T22" fmla="*/ 26 w 54"/>
                <a:gd name="T23" fmla="*/ 0 h 53"/>
                <a:gd name="T24" fmla="*/ 20 w 54"/>
                <a:gd name="T25" fmla="*/ 8 h 53"/>
                <a:gd name="T26" fmla="*/ 20 w 54"/>
                <a:gd name="T27" fmla="*/ 19 h 53"/>
                <a:gd name="T28" fmla="*/ 9 w 54"/>
                <a:gd name="T29" fmla="*/ 19 h 53"/>
                <a:gd name="T30" fmla="*/ 0 w 54"/>
                <a:gd name="T31" fmla="*/ 28 h 53"/>
                <a:gd name="T32" fmla="*/ 9 w 54"/>
                <a:gd name="T33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4" h="53">
                  <a:moveTo>
                    <a:pt x="9" y="34"/>
                  </a:moveTo>
                  <a:cubicBezTo>
                    <a:pt x="20" y="34"/>
                    <a:pt x="20" y="34"/>
                    <a:pt x="20" y="34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20" y="51"/>
                    <a:pt x="23" y="53"/>
                    <a:pt x="26" y="53"/>
                  </a:cubicBezTo>
                  <a:cubicBezTo>
                    <a:pt x="32" y="53"/>
                    <a:pt x="34" y="51"/>
                    <a:pt x="34" y="4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51" y="34"/>
                    <a:pt x="54" y="31"/>
                    <a:pt x="54" y="28"/>
                  </a:cubicBezTo>
                  <a:cubicBezTo>
                    <a:pt x="54" y="22"/>
                    <a:pt x="51" y="19"/>
                    <a:pt x="46" y="19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5"/>
                    <a:pt x="32" y="0"/>
                    <a:pt x="26" y="0"/>
                  </a:cubicBezTo>
                  <a:cubicBezTo>
                    <a:pt x="23" y="0"/>
                    <a:pt x="20" y="5"/>
                    <a:pt x="20" y="8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3" y="19"/>
                    <a:pt x="0" y="22"/>
                    <a:pt x="0" y="28"/>
                  </a:cubicBezTo>
                  <a:cubicBezTo>
                    <a:pt x="0" y="31"/>
                    <a:pt x="3" y="34"/>
                    <a:pt x="9" y="3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110" name="Freeform 79"/>
            <p:cNvSpPr>
              <a:spLocks/>
            </p:cNvSpPr>
            <p:nvPr/>
          </p:nvSpPr>
          <p:spPr bwMode="auto">
            <a:xfrm>
              <a:off x="6465" y="1070"/>
              <a:ext cx="78" cy="74"/>
            </a:xfrm>
            <a:custGeom>
              <a:avLst/>
              <a:gdLst>
                <a:gd name="T0" fmla="*/ 8 w 57"/>
                <a:gd name="T1" fmla="*/ 34 h 54"/>
                <a:gd name="T2" fmla="*/ 23 w 57"/>
                <a:gd name="T3" fmla="*/ 34 h 54"/>
                <a:gd name="T4" fmla="*/ 23 w 57"/>
                <a:gd name="T5" fmla="*/ 45 h 54"/>
                <a:gd name="T6" fmla="*/ 28 w 57"/>
                <a:gd name="T7" fmla="*/ 54 h 54"/>
                <a:gd name="T8" fmla="*/ 37 w 57"/>
                <a:gd name="T9" fmla="*/ 45 h 54"/>
                <a:gd name="T10" fmla="*/ 37 w 57"/>
                <a:gd name="T11" fmla="*/ 34 h 54"/>
                <a:gd name="T12" fmla="*/ 48 w 57"/>
                <a:gd name="T13" fmla="*/ 34 h 54"/>
                <a:gd name="T14" fmla="*/ 57 w 57"/>
                <a:gd name="T15" fmla="*/ 25 h 54"/>
                <a:gd name="T16" fmla="*/ 48 w 57"/>
                <a:gd name="T17" fmla="*/ 20 h 54"/>
                <a:gd name="T18" fmla="*/ 37 w 57"/>
                <a:gd name="T19" fmla="*/ 20 h 54"/>
                <a:gd name="T20" fmla="*/ 37 w 57"/>
                <a:gd name="T21" fmla="*/ 6 h 54"/>
                <a:gd name="T22" fmla="*/ 28 w 57"/>
                <a:gd name="T23" fmla="*/ 0 h 54"/>
                <a:gd name="T24" fmla="*/ 23 w 57"/>
                <a:gd name="T25" fmla="*/ 6 h 54"/>
                <a:gd name="T26" fmla="*/ 23 w 57"/>
                <a:gd name="T27" fmla="*/ 20 h 54"/>
                <a:gd name="T28" fmla="*/ 8 w 57"/>
                <a:gd name="T29" fmla="*/ 20 h 54"/>
                <a:gd name="T30" fmla="*/ 0 w 57"/>
                <a:gd name="T31" fmla="*/ 25 h 54"/>
                <a:gd name="T32" fmla="*/ 8 w 57"/>
                <a:gd name="T33" fmla="*/ 3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54">
                  <a:moveTo>
                    <a:pt x="8" y="34"/>
                  </a:moveTo>
                  <a:cubicBezTo>
                    <a:pt x="23" y="34"/>
                    <a:pt x="23" y="34"/>
                    <a:pt x="23" y="34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51"/>
                    <a:pt x="25" y="54"/>
                    <a:pt x="28" y="54"/>
                  </a:cubicBezTo>
                  <a:cubicBezTo>
                    <a:pt x="34" y="54"/>
                    <a:pt x="37" y="51"/>
                    <a:pt x="37" y="45"/>
                  </a:cubicBezTo>
                  <a:cubicBezTo>
                    <a:pt x="37" y="34"/>
                    <a:pt x="37" y="34"/>
                    <a:pt x="37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54" y="34"/>
                    <a:pt x="57" y="31"/>
                    <a:pt x="57" y="25"/>
                  </a:cubicBezTo>
                  <a:cubicBezTo>
                    <a:pt x="57" y="23"/>
                    <a:pt x="54" y="20"/>
                    <a:pt x="48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3"/>
                    <a:pt x="34" y="0"/>
                    <a:pt x="28" y="0"/>
                  </a:cubicBezTo>
                  <a:cubicBezTo>
                    <a:pt x="25" y="0"/>
                    <a:pt x="23" y="3"/>
                    <a:pt x="23" y="6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6" y="20"/>
                    <a:pt x="0" y="23"/>
                    <a:pt x="0" y="25"/>
                  </a:cubicBezTo>
                  <a:cubicBezTo>
                    <a:pt x="0" y="31"/>
                    <a:pt x="6" y="34"/>
                    <a:pt x="8" y="3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</p:grpSp>
      <p:sp>
        <p:nvSpPr>
          <p:cNvPr id="45" name="Chevron 44"/>
          <p:cNvSpPr/>
          <p:nvPr/>
        </p:nvSpPr>
        <p:spPr>
          <a:xfrm>
            <a:off x="8424200" y="2869588"/>
            <a:ext cx="3376948" cy="990000"/>
          </a:xfrm>
          <a:prstGeom prst="chevron">
            <a:avLst/>
          </a:prstGeom>
          <a:solidFill>
            <a:srgbClr val="00AEEF"/>
          </a:solidFill>
          <a:ln>
            <a:noFill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0" rtlCol="0" anchor="ctr"/>
          <a:lstStyle/>
          <a:p>
            <a:r>
              <a:rPr lang="en-GB" sz="2000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Spend in Economy</a:t>
            </a:r>
          </a:p>
        </p:txBody>
      </p:sp>
      <p:cxnSp>
        <p:nvCxnSpPr>
          <p:cNvPr id="112" name="Straight Connector 111"/>
          <p:cNvCxnSpPr/>
          <p:nvPr/>
        </p:nvCxnSpPr>
        <p:spPr>
          <a:xfrm>
            <a:off x="2724255" y="3960412"/>
            <a:ext cx="0" cy="1151084"/>
          </a:xfrm>
          <a:prstGeom prst="line">
            <a:avLst/>
          </a:prstGeom>
          <a:ln w="222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>
            <a:off x="5577171" y="3960412"/>
            <a:ext cx="0" cy="1151084"/>
          </a:xfrm>
          <a:prstGeom prst="line">
            <a:avLst/>
          </a:prstGeom>
          <a:ln w="222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/>
          <p:cNvCxnSpPr/>
          <p:nvPr/>
        </p:nvCxnSpPr>
        <p:spPr>
          <a:xfrm>
            <a:off x="8463134" y="3960412"/>
            <a:ext cx="0" cy="1151084"/>
          </a:xfrm>
          <a:prstGeom prst="line">
            <a:avLst/>
          </a:prstGeom>
          <a:ln w="222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4510017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>
          <a:xfrm>
            <a:off x="4436077" y="472724"/>
            <a:ext cx="4936601" cy="6290638"/>
            <a:chOff x="2186511" y="1393031"/>
            <a:chExt cx="4167191" cy="5310190"/>
          </a:xfrm>
        </p:grpSpPr>
        <p:grpSp>
          <p:nvGrpSpPr>
            <p:cNvPr id="19" name="Group 18"/>
            <p:cNvGrpSpPr/>
            <p:nvPr/>
          </p:nvGrpSpPr>
          <p:grpSpPr>
            <a:xfrm>
              <a:off x="2186511" y="1393031"/>
              <a:ext cx="4167188" cy="5307013"/>
              <a:chOff x="533400" y="1317625"/>
              <a:chExt cx="4167188" cy="5307013"/>
            </a:xfrm>
            <a:gradFill flip="none" rotWithShape="1">
              <a:gsLst>
                <a:gs pos="0">
                  <a:srgbClr val="8993AD"/>
                </a:gs>
                <a:gs pos="54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</p:grpSpPr>
          <p:sp>
            <p:nvSpPr>
              <p:cNvPr id="73" name="Freeform 6"/>
              <p:cNvSpPr>
                <a:spLocks/>
              </p:cNvSpPr>
              <p:nvPr/>
            </p:nvSpPr>
            <p:spPr bwMode="auto">
              <a:xfrm>
                <a:off x="1071563" y="6350000"/>
                <a:ext cx="115888" cy="49213"/>
              </a:xfrm>
              <a:custGeom>
                <a:avLst/>
                <a:gdLst>
                  <a:gd name="T0" fmla="*/ 6 w 31"/>
                  <a:gd name="T1" fmla="*/ 13 h 13"/>
                  <a:gd name="T2" fmla="*/ 0 w 31"/>
                  <a:gd name="T3" fmla="*/ 13 h 13"/>
                  <a:gd name="T4" fmla="*/ 0 w 31"/>
                  <a:gd name="T5" fmla="*/ 8 h 13"/>
                  <a:gd name="T6" fmla="*/ 13 w 31"/>
                  <a:gd name="T7" fmla="*/ 4 h 13"/>
                  <a:gd name="T8" fmla="*/ 21 w 31"/>
                  <a:gd name="T9" fmla="*/ 5 h 13"/>
                  <a:gd name="T10" fmla="*/ 28 w 31"/>
                  <a:gd name="T11" fmla="*/ 2 h 13"/>
                  <a:gd name="T12" fmla="*/ 17 w 31"/>
                  <a:gd name="T13" fmla="*/ 11 h 13"/>
                  <a:gd name="T14" fmla="*/ 6 w 31"/>
                  <a:gd name="T1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" h="13">
                    <a:moveTo>
                      <a:pt x="6" y="13"/>
                    </a:moveTo>
                    <a:cubicBezTo>
                      <a:pt x="0" y="13"/>
                      <a:pt x="0" y="13"/>
                      <a:pt x="0" y="13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6"/>
                      <a:pt x="6" y="4"/>
                      <a:pt x="13" y="4"/>
                    </a:cubicBezTo>
                    <a:cubicBezTo>
                      <a:pt x="20" y="4"/>
                      <a:pt x="20" y="5"/>
                      <a:pt x="21" y="5"/>
                    </a:cubicBezTo>
                    <a:cubicBezTo>
                      <a:pt x="23" y="5"/>
                      <a:pt x="26" y="0"/>
                      <a:pt x="28" y="2"/>
                    </a:cubicBezTo>
                    <a:cubicBezTo>
                      <a:pt x="31" y="4"/>
                      <a:pt x="24" y="11"/>
                      <a:pt x="17" y="11"/>
                    </a:cubicBezTo>
                    <a:cubicBezTo>
                      <a:pt x="11" y="11"/>
                      <a:pt x="9" y="13"/>
                      <a:pt x="6" y="13"/>
                    </a:cubicBezTo>
                  </a:path>
                </a:pathLst>
              </a:custGeom>
              <a:grpFill/>
              <a:ln w="6350" cap="flat">
                <a:noFill/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74" name="Freeform 7"/>
              <p:cNvSpPr>
                <a:spLocks/>
              </p:cNvSpPr>
              <p:nvPr/>
            </p:nvSpPr>
            <p:spPr bwMode="auto">
              <a:xfrm>
                <a:off x="793750" y="6396038"/>
                <a:ext cx="74613" cy="47625"/>
              </a:xfrm>
              <a:custGeom>
                <a:avLst/>
                <a:gdLst>
                  <a:gd name="T0" fmla="*/ 3 w 20"/>
                  <a:gd name="T1" fmla="*/ 10 h 13"/>
                  <a:gd name="T2" fmla="*/ 7 w 20"/>
                  <a:gd name="T3" fmla="*/ 3 h 13"/>
                  <a:gd name="T4" fmla="*/ 15 w 20"/>
                  <a:gd name="T5" fmla="*/ 0 h 13"/>
                  <a:gd name="T6" fmla="*/ 16 w 20"/>
                  <a:gd name="T7" fmla="*/ 4 h 13"/>
                  <a:gd name="T8" fmla="*/ 3 w 20"/>
                  <a:gd name="T9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3">
                    <a:moveTo>
                      <a:pt x="3" y="10"/>
                    </a:moveTo>
                    <a:cubicBezTo>
                      <a:pt x="0" y="8"/>
                      <a:pt x="4" y="5"/>
                      <a:pt x="7" y="3"/>
                    </a:cubicBezTo>
                    <a:cubicBezTo>
                      <a:pt x="10" y="1"/>
                      <a:pt x="12" y="0"/>
                      <a:pt x="15" y="0"/>
                    </a:cubicBezTo>
                    <a:cubicBezTo>
                      <a:pt x="18" y="0"/>
                      <a:pt x="20" y="1"/>
                      <a:pt x="16" y="4"/>
                    </a:cubicBezTo>
                    <a:cubicBezTo>
                      <a:pt x="13" y="7"/>
                      <a:pt x="6" y="13"/>
                      <a:pt x="3" y="10"/>
                    </a:cubicBezTo>
                  </a:path>
                </a:pathLst>
              </a:custGeom>
              <a:grpFill/>
              <a:ln w="6350" cap="flat">
                <a:noFill/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75" name="Freeform 8"/>
              <p:cNvSpPr>
                <a:spLocks/>
              </p:cNvSpPr>
              <p:nvPr/>
            </p:nvSpPr>
            <p:spPr bwMode="auto">
              <a:xfrm>
                <a:off x="654050" y="5959475"/>
                <a:ext cx="120650" cy="60325"/>
              </a:xfrm>
              <a:custGeom>
                <a:avLst/>
                <a:gdLst>
                  <a:gd name="T0" fmla="*/ 11 w 32"/>
                  <a:gd name="T1" fmla="*/ 13 h 16"/>
                  <a:gd name="T2" fmla="*/ 3 w 32"/>
                  <a:gd name="T3" fmla="*/ 16 h 16"/>
                  <a:gd name="T4" fmla="*/ 2 w 32"/>
                  <a:gd name="T5" fmla="*/ 12 h 16"/>
                  <a:gd name="T6" fmla="*/ 8 w 32"/>
                  <a:gd name="T7" fmla="*/ 6 h 16"/>
                  <a:gd name="T8" fmla="*/ 20 w 32"/>
                  <a:gd name="T9" fmla="*/ 0 h 16"/>
                  <a:gd name="T10" fmla="*/ 25 w 32"/>
                  <a:gd name="T11" fmla="*/ 3 h 16"/>
                  <a:gd name="T12" fmla="*/ 28 w 32"/>
                  <a:gd name="T13" fmla="*/ 1 h 16"/>
                  <a:gd name="T14" fmla="*/ 29 w 32"/>
                  <a:gd name="T15" fmla="*/ 6 h 16"/>
                  <a:gd name="T16" fmla="*/ 23 w 32"/>
                  <a:gd name="T17" fmla="*/ 9 h 16"/>
                  <a:gd name="T18" fmla="*/ 16 w 32"/>
                  <a:gd name="T19" fmla="*/ 13 h 16"/>
                  <a:gd name="T20" fmla="*/ 11 w 32"/>
                  <a:gd name="T21" fmla="*/ 13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" h="16">
                    <a:moveTo>
                      <a:pt x="11" y="13"/>
                    </a:moveTo>
                    <a:cubicBezTo>
                      <a:pt x="6" y="13"/>
                      <a:pt x="6" y="16"/>
                      <a:pt x="3" y="16"/>
                    </a:cubicBezTo>
                    <a:cubicBezTo>
                      <a:pt x="0" y="16"/>
                      <a:pt x="1" y="13"/>
                      <a:pt x="2" y="12"/>
                    </a:cubicBezTo>
                    <a:cubicBezTo>
                      <a:pt x="4" y="10"/>
                      <a:pt x="4" y="6"/>
                      <a:pt x="8" y="6"/>
                    </a:cubicBezTo>
                    <a:cubicBezTo>
                      <a:pt x="13" y="6"/>
                      <a:pt x="16" y="0"/>
                      <a:pt x="20" y="0"/>
                    </a:cubicBezTo>
                    <a:cubicBezTo>
                      <a:pt x="24" y="0"/>
                      <a:pt x="23" y="3"/>
                      <a:pt x="25" y="3"/>
                    </a:cubicBezTo>
                    <a:cubicBezTo>
                      <a:pt x="27" y="3"/>
                      <a:pt x="26" y="1"/>
                      <a:pt x="28" y="1"/>
                    </a:cubicBezTo>
                    <a:cubicBezTo>
                      <a:pt x="29" y="1"/>
                      <a:pt x="32" y="3"/>
                      <a:pt x="29" y="6"/>
                    </a:cubicBezTo>
                    <a:cubicBezTo>
                      <a:pt x="27" y="8"/>
                      <a:pt x="26" y="9"/>
                      <a:pt x="23" y="9"/>
                    </a:cubicBezTo>
                    <a:cubicBezTo>
                      <a:pt x="19" y="10"/>
                      <a:pt x="18" y="13"/>
                      <a:pt x="16" y="13"/>
                    </a:cubicBezTo>
                    <a:cubicBezTo>
                      <a:pt x="13" y="13"/>
                      <a:pt x="11" y="13"/>
                      <a:pt x="11" y="13"/>
                    </a:cubicBezTo>
                  </a:path>
                </a:pathLst>
              </a:custGeom>
              <a:grpFill/>
              <a:ln w="6350" cap="flat">
                <a:noFill/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76" name="Freeform 9"/>
              <p:cNvSpPr>
                <a:spLocks/>
              </p:cNvSpPr>
              <p:nvPr/>
            </p:nvSpPr>
            <p:spPr bwMode="auto">
              <a:xfrm>
                <a:off x="533400" y="5707063"/>
                <a:ext cx="76200" cy="57150"/>
              </a:xfrm>
              <a:custGeom>
                <a:avLst/>
                <a:gdLst>
                  <a:gd name="T0" fmla="*/ 2 w 20"/>
                  <a:gd name="T1" fmla="*/ 15 h 15"/>
                  <a:gd name="T2" fmla="*/ 0 w 20"/>
                  <a:gd name="T3" fmla="*/ 12 h 15"/>
                  <a:gd name="T4" fmla="*/ 8 w 20"/>
                  <a:gd name="T5" fmla="*/ 6 h 15"/>
                  <a:gd name="T6" fmla="*/ 16 w 20"/>
                  <a:gd name="T7" fmla="*/ 0 h 15"/>
                  <a:gd name="T8" fmla="*/ 17 w 20"/>
                  <a:gd name="T9" fmla="*/ 6 h 15"/>
                  <a:gd name="T10" fmla="*/ 11 w 20"/>
                  <a:gd name="T11" fmla="*/ 10 h 15"/>
                  <a:gd name="T12" fmla="*/ 2 w 20"/>
                  <a:gd name="T13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5">
                    <a:moveTo>
                      <a:pt x="2" y="15"/>
                    </a:moveTo>
                    <a:cubicBezTo>
                      <a:pt x="1" y="15"/>
                      <a:pt x="0" y="13"/>
                      <a:pt x="0" y="12"/>
                    </a:cubicBezTo>
                    <a:cubicBezTo>
                      <a:pt x="0" y="10"/>
                      <a:pt x="4" y="6"/>
                      <a:pt x="8" y="6"/>
                    </a:cubicBezTo>
                    <a:cubicBezTo>
                      <a:pt x="12" y="6"/>
                      <a:pt x="12" y="0"/>
                      <a:pt x="16" y="0"/>
                    </a:cubicBezTo>
                    <a:cubicBezTo>
                      <a:pt x="20" y="0"/>
                      <a:pt x="18" y="4"/>
                      <a:pt x="17" y="6"/>
                    </a:cubicBezTo>
                    <a:cubicBezTo>
                      <a:pt x="15" y="9"/>
                      <a:pt x="14" y="10"/>
                      <a:pt x="11" y="10"/>
                    </a:cubicBezTo>
                    <a:cubicBezTo>
                      <a:pt x="9" y="10"/>
                      <a:pt x="5" y="15"/>
                      <a:pt x="2" y="15"/>
                    </a:cubicBezTo>
                  </a:path>
                </a:pathLst>
              </a:custGeom>
              <a:grpFill/>
              <a:ln w="6350" cap="flat">
                <a:noFill/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77" name="Freeform 10"/>
              <p:cNvSpPr>
                <a:spLocks/>
              </p:cNvSpPr>
              <p:nvPr/>
            </p:nvSpPr>
            <p:spPr bwMode="auto">
              <a:xfrm>
                <a:off x="1414463" y="4437063"/>
                <a:ext cx="36513" cy="38100"/>
              </a:xfrm>
              <a:custGeom>
                <a:avLst/>
                <a:gdLst>
                  <a:gd name="T0" fmla="*/ 6 w 10"/>
                  <a:gd name="T1" fmla="*/ 10 h 10"/>
                  <a:gd name="T2" fmla="*/ 0 w 10"/>
                  <a:gd name="T3" fmla="*/ 4 h 10"/>
                  <a:gd name="T4" fmla="*/ 7 w 10"/>
                  <a:gd name="T5" fmla="*/ 0 h 10"/>
                  <a:gd name="T6" fmla="*/ 10 w 10"/>
                  <a:gd name="T7" fmla="*/ 3 h 10"/>
                  <a:gd name="T8" fmla="*/ 6 w 10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6" y="10"/>
                    </a:moveTo>
                    <a:cubicBezTo>
                      <a:pt x="3" y="10"/>
                      <a:pt x="0" y="8"/>
                      <a:pt x="0" y="4"/>
                    </a:cubicBezTo>
                    <a:cubicBezTo>
                      <a:pt x="0" y="1"/>
                      <a:pt x="4" y="0"/>
                      <a:pt x="7" y="0"/>
                    </a:cubicBezTo>
                    <a:cubicBezTo>
                      <a:pt x="9" y="0"/>
                      <a:pt x="10" y="2"/>
                      <a:pt x="10" y="3"/>
                    </a:cubicBezTo>
                    <a:cubicBezTo>
                      <a:pt x="10" y="5"/>
                      <a:pt x="9" y="10"/>
                      <a:pt x="6" y="10"/>
                    </a:cubicBezTo>
                  </a:path>
                </a:pathLst>
              </a:custGeom>
              <a:grpFill/>
              <a:ln w="6350" cap="flat">
                <a:noFill/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78" name="Freeform 11"/>
              <p:cNvSpPr>
                <a:spLocks/>
              </p:cNvSpPr>
              <p:nvPr/>
            </p:nvSpPr>
            <p:spPr bwMode="auto">
              <a:xfrm>
                <a:off x="1365250" y="4395788"/>
                <a:ext cx="41275" cy="41275"/>
              </a:xfrm>
              <a:custGeom>
                <a:avLst/>
                <a:gdLst>
                  <a:gd name="T0" fmla="*/ 4 w 11"/>
                  <a:gd name="T1" fmla="*/ 11 h 11"/>
                  <a:gd name="T2" fmla="*/ 0 w 11"/>
                  <a:gd name="T3" fmla="*/ 7 h 11"/>
                  <a:gd name="T4" fmla="*/ 9 w 11"/>
                  <a:gd name="T5" fmla="*/ 0 h 11"/>
                  <a:gd name="T6" fmla="*/ 11 w 11"/>
                  <a:gd name="T7" fmla="*/ 0 h 11"/>
                  <a:gd name="T8" fmla="*/ 11 w 11"/>
                  <a:gd name="T9" fmla="*/ 4 h 11"/>
                  <a:gd name="T10" fmla="*/ 4 w 11"/>
                  <a:gd name="T11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11">
                    <a:moveTo>
                      <a:pt x="4" y="11"/>
                    </a:moveTo>
                    <a:cubicBezTo>
                      <a:pt x="2" y="11"/>
                      <a:pt x="0" y="9"/>
                      <a:pt x="0" y="7"/>
                    </a:cubicBezTo>
                    <a:cubicBezTo>
                      <a:pt x="0" y="4"/>
                      <a:pt x="5" y="0"/>
                      <a:pt x="9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1" y="6"/>
                      <a:pt x="8" y="11"/>
                      <a:pt x="4" y="11"/>
                    </a:cubicBezTo>
                  </a:path>
                </a:pathLst>
              </a:custGeom>
              <a:grpFill/>
              <a:ln w="6350" cap="flat">
                <a:noFill/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79" name="Freeform 12"/>
              <p:cNvSpPr>
                <a:spLocks/>
              </p:cNvSpPr>
              <p:nvPr/>
            </p:nvSpPr>
            <p:spPr bwMode="auto">
              <a:xfrm>
                <a:off x="1192213" y="4313238"/>
                <a:ext cx="168275" cy="90488"/>
              </a:xfrm>
              <a:custGeom>
                <a:avLst/>
                <a:gdLst>
                  <a:gd name="T0" fmla="*/ 39 w 45"/>
                  <a:gd name="T1" fmla="*/ 24 h 24"/>
                  <a:gd name="T2" fmla="*/ 30 w 45"/>
                  <a:gd name="T3" fmla="*/ 19 h 24"/>
                  <a:gd name="T4" fmla="*/ 18 w 45"/>
                  <a:gd name="T5" fmla="*/ 10 h 24"/>
                  <a:gd name="T6" fmla="*/ 5 w 45"/>
                  <a:gd name="T7" fmla="*/ 6 h 24"/>
                  <a:gd name="T8" fmla="*/ 0 w 45"/>
                  <a:gd name="T9" fmla="*/ 3 h 24"/>
                  <a:gd name="T10" fmla="*/ 5 w 45"/>
                  <a:gd name="T11" fmla="*/ 0 h 24"/>
                  <a:gd name="T12" fmla="*/ 13 w 45"/>
                  <a:gd name="T13" fmla="*/ 4 h 24"/>
                  <a:gd name="T14" fmla="*/ 21 w 45"/>
                  <a:gd name="T15" fmla="*/ 7 h 24"/>
                  <a:gd name="T16" fmla="*/ 26 w 45"/>
                  <a:gd name="T17" fmla="*/ 6 h 24"/>
                  <a:gd name="T18" fmla="*/ 36 w 45"/>
                  <a:gd name="T19" fmla="*/ 11 h 24"/>
                  <a:gd name="T20" fmla="*/ 38 w 45"/>
                  <a:gd name="T21" fmla="*/ 17 h 24"/>
                  <a:gd name="T22" fmla="*/ 43 w 45"/>
                  <a:gd name="T23" fmla="*/ 14 h 24"/>
                  <a:gd name="T24" fmla="*/ 45 w 45"/>
                  <a:gd name="T25" fmla="*/ 18 h 24"/>
                  <a:gd name="T26" fmla="*/ 39 w 45"/>
                  <a:gd name="T2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5" h="24">
                    <a:moveTo>
                      <a:pt x="39" y="24"/>
                    </a:moveTo>
                    <a:cubicBezTo>
                      <a:pt x="35" y="24"/>
                      <a:pt x="33" y="19"/>
                      <a:pt x="30" y="19"/>
                    </a:cubicBezTo>
                    <a:cubicBezTo>
                      <a:pt x="27" y="18"/>
                      <a:pt x="22" y="12"/>
                      <a:pt x="18" y="10"/>
                    </a:cubicBezTo>
                    <a:cubicBezTo>
                      <a:pt x="14" y="9"/>
                      <a:pt x="8" y="6"/>
                      <a:pt x="5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5" y="0"/>
                    </a:cubicBezTo>
                    <a:cubicBezTo>
                      <a:pt x="8" y="0"/>
                      <a:pt x="11" y="4"/>
                      <a:pt x="13" y="4"/>
                    </a:cubicBezTo>
                    <a:cubicBezTo>
                      <a:pt x="18" y="4"/>
                      <a:pt x="18" y="7"/>
                      <a:pt x="21" y="7"/>
                    </a:cubicBezTo>
                    <a:cubicBezTo>
                      <a:pt x="23" y="7"/>
                      <a:pt x="23" y="6"/>
                      <a:pt x="26" y="6"/>
                    </a:cubicBezTo>
                    <a:cubicBezTo>
                      <a:pt x="29" y="6"/>
                      <a:pt x="36" y="8"/>
                      <a:pt x="36" y="11"/>
                    </a:cubicBezTo>
                    <a:cubicBezTo>
                      <a:pt x="36" y="13"/>
                      <a:pt x="33" y="17"/>
                      <a:pt x="38" y="17"/>
                    </a:cubicBezTo>
                    <a:cubicBezTo>
                      <a:pt x="42" y="17"/>
                      <a:pt x="40" y="14"/>
                      <a:pt x="43" y="14"/>
                    </a:cubicBezTo>
                    <a:cubicBezTo>
                      <a:pt x="45" y="14"/>
                      <a:pt x="45" y="16"/>
                      <a:pt x="45" y="18"/>
                    </a:cubicBezTo>
                    <a:cubicBezTo>
                      <a:pt x="45" y="20"/>
                      <a:pt x="43" y="24"/>
                      <a:pt x="39" y="24"/>
                    </a:cubicBezTo>
                  </a:path>
                </a:pathLst>
              </a:custGeom>
              <a:grpFill/>
              <a:ln w="6350" cap="flat">
                <a:noFill/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80" name="Freeform 13"/>
              <p:cNvSpPr>
                <a:spLocks/>
              </p:cNvSpPr>
              <p:nvPr/>
            </p:nvSpPr>
            <p:spPr bwMode="auto">
              <a:xfrm>
                <a:off x="1289050" y="4144963"/>
                <a:ext cx="57150" cy="74613"/>
              </a:xfrm>
              <a:custGeom>
                <a:avLst/>
                <a:gdLst>
                  <a:gd name="T0" fmla="*/ 9 w 15"/>
                  <a:gd name="T1" fmla="*/ 20 h 20"/>
                  <a:gd name="T2" fmla="*/ 1 w 15"/>
                  <a:gd name="T3" fmla="*/ 14 h 20"/>
                  <a:gd name="T4" fmla="*/ 3 w 15"/>
                  <a:gd name="T5" fmla="*/ 5 h 20"/>
                  <a:gd name="T6" fmla="*/ 11 w 15"/>
                  <a:gd name="T7" fmla="*/ 0 h 20"/>
                  <a:gd name="T8" fmla="*/ 14 w 15"/>
                  <a:gd name="T9" fmla="*/ 6 h 20"/>
                  <a:gd name="T10" fmla="*/ 15 w 15"/>
                  <a:gd name="T11" fmla="*/ 10 h 20"/>
                  <a:gd name="T12" fmla="*/ 13 w 15"/>
                  <a:gd name="T13" fmla="*/ 15 h 20"/>
                  <a:gd name="T14" fmla="*/ 9 w 15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20">
                    <a:moveTo>
                      <a:pt x="9" y="20"/>
                    </a:moveTo>
                    <a:cubicBezTo>
                      <a:pt x="4" y="20"/>
                      <a:pt x="1" y="19"/>
                      <a:pt x="1" y="14"/>
                    </a:cubicBezTo>
                    <a:cubicBezTo>
                      <a:pt x="1" y="10"/>
                      <a:pt x="0" y="5"/>
                      <a:pt x="3" y="5"/>
                    </a:cubicBezTo>
                    <a:cubicBezTo>
                      <a:pt x="6" y="5"/>
                      <a:pt x="7" y="0"/>
                      <a:pt x="11" y="0"/>
                    </a:cubicBezTo>
                    <a:cubicBezTo>
                      <a:pt x="14" y="0"/>
                      <a:pt x="14" y="4"/>
                      <a:pt x="14" y="6"/>
                    </a:cubicBezTo>
                    <a:cubicBezTo>
                      <a:pt x="14" y="8"/>
                      <a:pt x="15" y="8"/>
                      <a:pt x="15" y="10"/>
                    </a:cubicBezTo>
                    <a:cubicBezTo>
                      <a:pt x="15" y="12"/>
                      <a:pt x="13" y="13"/>
                      <a:pt x="13" y="15"/>
                    </a:cubicBezTo>
                    <a:cubicBezTo>
                      <a:pt x="13" y="18"/>
                      <a:pt x="13" y="20"/>
                      <a:pt x="9" y="20"/>
                    </a:cubicBezTo>
                  </a:path>
                </a:pathLst>
              </a:custGeom>
              <a:grpFill/>
              <a:ln w="6350" cap="flat">
                <a:noFill/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81" name="Freeform 14"/>
              <p:cNvSpPr>
                <a:spLocks/>
              </p:cNvSpPr>
              <p:nvPr/>
            </p:nvSpPr>
            <p:spPr bwMode="auto">
              <a:xfrm>
                <a:off x="1296988" y="4114800"/>
                <a:ext cx="60325" cy="33338"/>
              </a:xfrm>
              <a:custGeom>
                <a:avLst/>
                <a:gdLst>
                  <a:gd name="T0" fmla="*/ 6 w 16"/>
                  <a:gd name="T1" fmla="*/ 7 h 9"/>
                  <a:gd name="T2" fmla="*/ 0 w 16"/>
                  <a:gd name="T3" fmla="*/ 3 h 9"/>
                  <a:gd name="T4" fmla="*/ 6 w 16"/>
                  <a:gd name="T5" fmla="*/ 0 h 9"/>
                  <a:gd name="T6" fmla="*/ 12 w 16"/>
                  <a:gd name="T7" fmla="*/ 1 h 9"/>
                  <a:gd name="T8" fmla="*/ 13 w 16"/>
                  <a:gd name="T9" fmla="*/ 4 h 9"/>
                  <a:gd name="T10" fmla="*/ 6 w 16"/>
                  <a:gd name="T11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" h="9">
                    <a:moveTo>
                      <a:pt x="6" y="7"/>
                    </a:moveTo>
                    <a:cubicBezTo>
                      <a:pt x="3" y="9"/>
                      <a:pt x="0" y="5"/>
                      <a:pt x="0" y="3"/>
                    </a:cubicBezTo>
                    <a:cubicBezTo>
                      <a:pt x="0" y="0"/>
                      <a:pt x="2" y="0"/>
                      <a:pt x="6" y="0"/>
                    </a:cubicBezTo>
                    <a:cubicBezTo>
                      <a:pt x="9" y="0"/>
                      <a:pt x="10" y="1"/>
                      <a:pt x="12" y="1"/>
                    </a:cubicBezTo>
                    <a:cubicBezTo>
                      <a:pt x="14" y="1"/>
                      <a:pt x="16" y="3"/>
                      <a:pt x="13" y="4"/>
                    </a:cubicBezTo>
                    <a:cubicBezTo>
                      <a:pt x="9" y="6"/>
                      <a:pt x="7" y="6"/>
                      <a:pt x="6" y="7"/>
                    </a:cubicBezTo>
                  </a:path>
                </a:pathLst>
              </a:custGeom>
              <a:grpFill/>
              <a:ln w="6350" cap="flat">
                <a:noFill/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82" name="Freeform 15"/>
              <p:cNvSpPr>
                <a:spLocks/>
              </p:cNvSpPr>
              <p:nvPr/>
            </p:nvSpPr>
            <p:spPr bwMode="auto">
              <a:xfrm>
                <a:off x="857250" y="3648075"/>
                <a:ext cx="71438" cy="38100"/>
              </a:xfrm>
              <a:custGeom>
                <a:avLst/>
                <a:gdLst>
                  <a:gd name="T0" fmla="*/ 12 w 19"/>
                  <a:gd name="T1" fmla="*/ 10 h 10"/>
                  <a:gd name="T2" fmla="*/ 3 w 19"/>
                  <a:gd name="T3" fmla="*/ 8 h 10"/>
                  <a:gd name="T4" fmla="*/ 3 w 19"/>
                  <a:gd name="T5" fmla="*/ 3 h 10"/>
                  <a:gd name="T6" fmla="*/ 9 w 19"/>
                  <a:gd name="T7" fmla="*/ 4 h 10"/>
                  <a:gd name="T8" fmla="*/ 16 w 19"/>
                  <a:gd name="T9" fmla="*/ 0 h 10"/>
                  <a:gd name="T10" fmla="*/ 18 w 19"/>
                  <a:gd name="T11" fmla="*/ 6 h 10"/>
                  <a:gd name="T12" fmla="*/ 12 w 19"/>
                  <a:gd name="T1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0">
                    <a:moveTo>
                      <a:pt x="12" y="10"/>
                    </a:moveTo>
                    <a:cubicBezTo>
                      <a:pt x="6" y="10"/>
                      <a:pt x="5" y="10"/>
                      <a:pt x="3" y="8"/>
                    </a:cubicBezTo>
                    <a:cubicBezTo>
                      <a:pt x="0" y="6"/>
                      <a:pt x="0" y="3"/>
                      <a:pt x="3" y="3"/>
                    </a:cubicBezTo>
                    <a:cubicBezTo>
                      <a:pt x="5" y="3"/>
                      <a:pt x="6" y="4"/>
                      <a:pt x="9" y="4"/>
                    </a:cubicBezTo>
                    <a:cubicBezTo>
                      <a:pt x="12" y="4"/>
                      <a:pt x="12" y="0"/>
                      <a:pt x="16" y="0"/>
                    </a:cubicBezTo>
                    <a:cubicBezTo>
                      <a:pt x="19" y="0"/>
                      <a:pt x="19" y="3"/>
                      <a:pt x="18" y="6"/>
                    </a:cubicBezTo>
                    <a:cubicBezTo>
                      <a:pt x="17" y="8"/>
                      <a:pt x="15" y="10"/>
                      <a:pt x="12" y="10"/>
                    </a:cubicBezTo>
                  </a:path>
                </a:pathLst>
              </a:custGeom>
              <a:grpFill/>
              <a:ln w="6350" cap="flat">
                <a:noFill/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83" name="Freeform 16"/>
              <p:cNvSpPr>
                <a:spLocks/>
              </p:cNvSpPr>
              <p:nvPr/>
            </p:nvSpPr>
            <p:spPr bwMode="auto">
              <a:xfrm>
                <a:off x="966788" y="3546475"/>
                <a:ext cx="41275" cy="30163"/>
              </a:xfrm>
              <a:custGeom>
                <a:avLst/>
                <a:gdLst>
                  <a:gd name="T0" fmla="*/ 4 w 11"/>
                  <a:gd name="T1" fmla="*/ 8 h 8"/>
                  <a:gd name="T2" fmla="*/ 1 w 11"/>
                  <a:gd name="T3" fmla="*/ 8 h 8"/>
                  <a:gd name="T4" fmla="*/ 4 w 11"/>
                  <a:gd name="T5" fmla="*/ 1 h 8"/>
                  <a:gd name="T6" fmla="*/ 9 w 11"/>
                  <a:gd name="T7" fmla="*/ 5 h 8"/>
                  <a:gd name="T8" fmla="*/ 4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4" y="8"/>
                    </a:moveTo>
                    <a:cubicBezTo>
                      <a:pt x="1" y="8"/>
                      <a:pt x="1" y="8"/>
                      <a:pt x="1" y="8"/>
                    </a:cubicBezTo>
                    <a:cubicBezTo>
                      <a:pt x="1" y="8"/>
                      <a:pt x="0" y="2"/>
                      <a:pt x="4" y="1"/>
                    </a:cubicBezTo>
                    <a:cubicBezTo>
                      <a:pt x="8" y="0"/>
                      <a:pt x="11" y="2"/>
                      <a:pt x="9" y="5"/>
                    </a:cubicBezTo>
                    <a:cubicBezTo>
                      <a:pt x="8" y="7"/>
                      <a:pt x="7" y="8"/>
                      <a:pt x="4" y="8"/>
                    </a:cubicBezTo>
                  </a:path>
                </a:pathLst>
              </a:custGeom>
              <a:grpFill/>
              <a:ln w="6350" cap="flat">
                <a:noFill/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84" name="Freeform 17"/>
              <p:cNvSpPr>
                <a:spLocks/>
              </p:cNvSpPr>
              <p:nvPr/>
            </p:nvSpPr>
            <p:spPr bwMode="auto">
              <a:xfrm>
                <a:off x="871538" y="3128963"/>
                <a:ext cx="271463" cy="200025"/>
              </a:xfrm>
              <a:custGeom>
                <a:avLst/>
                <a:gdLst>
                  <a:gd name="T0" fmla="*/ 63 w 72"/>
                  <a:gd name="T1" fmla="*/ 53 h 53"/>
                  <a:gd name="T2" fmla="*/ 56 w 72"/>
                  <a:gd name="T3" fmla="*/ 48 h 53"/>
                  <a:gd name="T4" fmla="*/ 47 w 72"/>
                  <a:gd name="T5" fmla="*/ 41 h 53"/>
                  <a:gd name="T6" fmla="*/ 42 w 72"/>
                  <a:gd name="T7" fmla="*/ 34 h 53"/>
                  <a:gd name="T8" fmla="*/ 45 w 72"/>
                  <a:gd name="T9" fmla="*/ 26 h 53"/>
                  <a:gd name="T10" fmla="*/ 40 w 72"/>
                  <a:gd name="T11" fmla="*/ 21 h 53"/>
                  <a:gd name="T12" fmla="*/ 28 w 72"/>
                  <a:gd name="T13" fmla="*/ 22 h 53"/>
                  <a:gd name="T14" fmla="*/ 20 w 72"/>
                  <a:gd name="T15" fmla="*/ 22 h 53"/>
                  <a:gd name="T16" fmla="*/ 16 w 72"/>
                  <a:gd name="T17" fmla="*/ 23 h 53"/>
                  <a:gd name="T18" fmla="*/ 5 w 72"/>
                  <a:gd name="T19" fmla="*/ 18 h 53"/>
                  <a:gd name="T20" fmla="*/ 0 w 72"/>
                  <a:gd name="T21" fmla="*/ 16 h 53"/>
                  <a:gd name="T22" fmla="*/ 7 w 72"/>
                  <a:gd name="T23" fmla="*/ 13 h 53"/>
                  <a:gd name="T24" fmla="*/ 15 w 72"/>
                  <a:gd name="T25" fmla="*/ 7 h 53"/>
                  <a:gd name="T26" fmla="*/ 20 w 72"/>
                  <a:gd name="T27" fmla="*/ 3 h 53"/>
                  <a:gd name="T28" fmla="*/ 27 w 72"/>
                  <a:gd name="T29" fmla="*/ 6 h 53"/>
                  <a:gd name="T30" fmla="*/ 34 w 72"/>
                  <a:gd name="T31" fmla="*/ 8 h 53"/>
                  <a:gd name="T32" fmla="*/ 38 w 72"/>
                  <a:gd name="T33" fmla="*/ 4 h 53"/>
                  <a:gd name="T34" fmla="*/ 43 w 72"/>
                  <a:gd name="T35" fmla="*/ 0 h 53"/>
                  <a:gd name="T36" fmla="*/ 53 w 72"/>
                  <a:gd name="T37" fmla="*/ 4 h 53"/>
                  <a:gd name="T38" fmla="*/ 62 w 72"/>
                  <a:gd name="T39" fmla="*/ 0 h 53"/>
                  <a:gd name="T40" fmla="*/ 66 w 72"/>
                  <a:gd name="T41" fmla="*/ 5 h 53"/>
                  <a:gd name="T42" fmla="*/ 70 w 72"/>
                  <a:gd name="T43" fmla="*/ 10 h 53"/>
                  <a:gd name="T44" fmla="*/ 66 w 72"/>
                  <a:gd name="T45" fmla="*/ 17 h 53"/>
                  <a:gd name="T46" fmla="*/ 65 w 72"/>
                  <a:gd name="T47" fmla="*/ 24 h 53"/>
                  <a:gd name="T48" fmla="*/ 65 w 72"/>
                  <a:gd name="T49" fmla="*/ 27 h 53"/>
                  <a:gd name="T50" fmla="*/ 69 w 72"/>
                  <a:gd name="T51" fmla="*/ 24 h 53"/>
                  <a:gd name="T52" fmla="*/ 72 w 72"/>
                  <a:gd name="T53" fmla="*/ 28 h 53"/>
                  <a:gd name="T54" fmla="*/ 70 w 72"/>
                  <a:gd name="T55" fmla="*/ 34 h 53"/>
                  <a:gd name="T56" fmla="*/ 68 w 72"/>
                  <a:gd name="T57" fmla="*/ 46 h 53"/>
                  <a:gd name="T58" fmla="*/ 63 w 72"/>
                  <a:gd name="T59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72" h="53">
                    <a:moveTo>
                      <a:pt x="63" y="53"/>
                    </a:moveTo>
                    <a:cubicBezTo>
                      <a:pt x="59" y="53"/>
                      <a:pt x="56" y="51"/>
                      <a:pt x="56" y="48"/>
                    </a:cubicBezTo>
                    <a:cubicBezTo>
                      <a:pt x="56" y="45"/>
                      <a:pt x="50" y="41"/>
                      <a:pt x="47" y="41"/>
                    </a:cubicBezTo>
                    <a:cubicBezTo>
                      <a:pt x="44" y="41"/>
                      <a:pt x="42" y="37"/>
                      <a:pt x="42" y="34"/>
                    </a:cubicBezTo>
                    <a:cubicBezTo>
                      <a:pt x="42" y="31"/>
                      <a:pt x="45" y="30"/>
                      <a:pt x="45" y="26"/>
                    </a:cubicBezTo>
                    <a:cubicBezTo>
                      <a:pt x="45" y="22"/>
                      <a:pt x="42" y="21"/>
                      <a:pt x="40" y="21"/>
                    </a:cubicBezTo>
                    <a:cubicBezTo>
                      <a:pt x="37" y="21"/>
                      <a:pt x="34" y="22"/>
                      <a:pt x="28" y="22"/>
                    </a:cubicBezTo>
                    <a:cubicBezTo>
                      <a:pt x="20" y="22"/>
                      <a:pt x="20" y="22"/>
                      <a:pt x="20" y="22"/>
                    </a:cubicBezTo>
                    <a:cubicBezTo>
                      <a:pt x="18" y="22"/>
                      <a:pt x="17" y="23"/>
                      <a:pt x="16" y="23"/>
                    </a:cubicBezTo>
                    <a:cubicBezTo>
                      <a:pt x="14" y="23"/>
                      <a:pt x="9" y="18"/>
                      <a:pt x="5" y="18"/>
                    </a:cubicBezTo>
                    <a:cubicBezTo>
                      <a:pt x="1" y="18"/>
                      <a:pt x="0" y="17"/>
                      <a:pt x="0" y="16"/>
                    </a:cubicBezTo>
                    <a:cubicBezTo>
                      <a:pt x="0" y="14"/>
                      <a:pt x="3" y="13"/>
                      <a:pt x="7" y="13"/>
                    </a:cubicBezTo>
                    <a:cubicBezTo>
                      <a:pt x="12" y="13"/>
                      <a:pt x="15" y="10"/>
                      <a:pt x="15" y="7"/>
                    </a:cubicBezTo>
                    <a:cubicBezTo>
                      <a:pt x="15" y="4"/>
                      <a:pt x="17" y="3"/>
                      <a:pt x="20" y="3"/>
                    </a:cubicBezTo>
                    <a:cubicBezTo>
                      <a:pt x="24" y="3"/>
                      <a:pt x="24" y="6"/>
                      <a:pt x="27" y="6"/>
                    </a:cubicBezTo>
                    <a:cubicBezTo>
                      <a:pt x="30" y="6"/>
                      <a:pt x="32" y="8"/>
                      <a:pt x="34" y="8"/>
                    </a:cubicBezTo>
                    <a:cubicBezTo>
                      <a:pt x="35" y="8"/>
                      <a:pt x="38" y="7"/>
                      <a:pt x="38" y="4"/>
                    </a:cubicBezTo>
                    <a:cubicBezTo>
                      <a:pt x="38" y="2"/>
                      <a:pt x="40" y="0"/>
                      <a:pt x="43" y="0"/>
                    </a:cubicBezTo>
                    <a:cubicBezTo>
                      <a:pt x="47" y="0"/>
                      <a:pt x="49" y="4"/>
                      <a:pt x="53" y="4"/>
                    </a:cubicBezTo>
                    <a:cubicBezTo>
                      <a:pt x="57" y="4"/>
                      <a:pt x="59" y="0"/>
                      <a:pt x="62" y="0"/>
                    </a:cubicBezTo>
                    <a:cubicBezTo>
                      <a:pt x="65" y="0"/>
                      <a:pt x="65" y="4"/>
                      <a:pt x="66" y="5"/>
                    </a:cubicBezTo>
                    <a:cubicBezTo>
                      <a:pt x="67" y="6"/>
                      <a:pt x="70" y="8"/>
                      <a:pt x="70" y="10"/>
                    </a:cubicBezTo>
                    <a:cubicBezTo>
                      <a:pt x="70" y="13"/>
                      <a:pt x="66" y="14"/>
                      <a:pt x="66" y="17"/>
                    </a:cubicBezTo>
                    <a:cubicBezTo>
                      <a:pt x="66" y="20"/>
                      <a:pt x="66" y="22"/>
                      <a:pt x="65" y="24"/>
                    </a:cubicBezTo>
                    <a:cubicBezTo>
                      <a:pt x="64" y="25"/>
                      <a:pt x="64" y="27"/>
                      <a:pt x="65" y="27"/>
                    </a:cubicBezTo>
                    <a:cubicBezTo>
                      <a:pt x="67" y="27"/>
                      <a:pt x="67" y="24"/>
                      <a:pt x="69" y="24"/>
                    </a:cubicBezTo>
                    <a:cubicBezTo>
                      <a:pt x="71" y="24"/>
                      <a:pt x="72" y="26"/>
                      <a:pt x="72" y="28"/>
                    </a:cubicBezTo>
                    <a:cubicBezTo>
                      <a:pt x="72" y="30"/>
                      <a:pt x="70" y="30"/>
                      <a:pt x="70" y="34"/>
                    </a:cubicBezTo>
                    <a:cubicBezTo>
                      <a:pt x="70" y="40"/>
                      <a:pt x="68" y="42"/>
                      <a:pt x="68" y="46"/>
                    </a:cubicBezTo>
                    <a:cubicBezTo>
                      <a:pt x="68" y="50"/>
                      <a:pt x="67" y="53"/>
                      <a:pt x="63" y="53"/>
                    </a:cubicBezTo>
                  </a:path>
                </a:pathLst>
              </a:custGeom>
              <a:grpFill/>
              <a:ln w="6350" cap="flat">
                <a:noFill/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85" name="Freeform 18"/>
              <p:cNvSpPr>
                <a:spLocks/>
              </p:cNvSpPr>
              <p:nvPr/>
            </p:nvSpPr>
            <p:spPr bwMode="auto">
              <a:xfrm>
                <a:off x="2241550" y="1798638"/>
                <a:ext cx="60325" cy="82550"/>
              </a:xfrm>
              <a:custGeom>
                <a:avLst/>
                <a:gdLst>
                  <a:gd name="T0" fmla="*/ 9 w 16"/>
                  <a:gd name="T1" fmla="*/ 22 h 22"/>
                  <a:gd name="T2" fmla="*/ 4 w 16"/>
                  <a:gd name="T3" fmla="*/ 19 h 22"/>
                  <a:gd name="T4" fmla="*/ 0 w 16"/>
                  <a:gd name="T5" fmla="*/ 15 h 22"/>
                  <a:gd name="T6" fmla="*/ 3 w 16"/>
                  <a:gd name="T7" fmla="*/ 8 h 22"/>
                  <a:gd name="T8" fmla="*/ 5 w 16"/>
                  <a:gd name="T9" fmla="*/ 0 h 22"/>
                  <a:gd name="T10" fmla="*/ 10 w 16"/>
                  <a:gd name="T11" fmla="*/ 5 h 22"/>
                  <a:gd name="T12" fmla="*/ 14 w 16"/>
                  <a:gd name="T13" fmla="*/ 11 h 22"/>
                  <a:gd name="T14" fmla="*/ 16 w 16"/>
                  <a:gd name="T15" fmla="*/ 17 h 22"/>
                  <a:gd name="T16" fmla="*/ 9 w 16"/>
                  <a:gd name="T17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" h="22">
                    <a:moveTo>
                      <a:pt x="9" y="22"/>
                    </a:moveTo>
                    <a:cubicBezTo>
                      <a:pt x="6" y="22"/>
                      <a:pt x="7" y="19"/>
                      <a:pt x="4" y="19"/>
                    </a:cubicBezTo>
                    <a:cubicBezTo>
                      <a:pt x="0" y="19"/>
                      <a:pt x="0" y="17"/>
                      <a:pt x="0" y="15"/>
                    </a:cubicBezTo>
                    <a:cubicBezTo>
                      <a:pt x="0" y="14"/>
                      <a:pt x="3" y="11"/>
                      <a:pt x="3" y="8"/>
                    </a:cubicBezTo>
                    <a:cubicBezTo>
                      <a:pt x="3" y="5"/>
                      <a:pt x="2" y="0"/>
                      <a:pt x="5" y="0"/>
                    </a:cubicBezTo>
                    <a:cubicBezTo>
                      <a:pt x="7" y="0"/>
                      <a:pt x="8" y="3"/>
                      <a:pt x="10" y="5"/>
                    </a:cubicBezTo>
                    <a:cubicBezTo>
                      <a:pt x="13" y="6"/>
                      <a:pt x="14" y="8"/>
                      <a:pt x="14" y="11"/>
                    </a:cubicBezTo>
                    <a:cubicBezTo>
                      <a:pt x="14" y="14"/>
                      <a:pt x="16" y="14"/>
                      <a:pt x="16" y="17"/>
                    </a:cubicBezTo>
                    <a:cubicBezTo>
                      <a:pt x="16" y="19"/>
                      <a:pt x="12" y="22"/>
                      <a:pt x="9" y="22"/>
                    </a:cubicBezTo>
                  </a:path>
                </a:pathLst>
              </a:custGeom>
              <a:grpFill/>
              <a:ln w="6350" cap="flat">
                <a:noFill/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86" name="Freeform 46"/>
              <p:cNvSpPr>
                <a:spLocks/>
              </p:cNvSpPr>
              <p:nvPr/>
            </p:nvSpPr>
            <p:spPr bwMode="auto">
              <a:xfrm>
                <a:off x="1038225" y="3400425"/>
                <a:ext cx="77788" cy="49213"/>
              </a:xfrm>
              <a:custGeom>
                <a:avLst/>
                <a:gdLst>
                  <a:gd name="T0" fmla="*/ 0 w 21"/>
                  <a:gd name="T1" fmla="*/ 13 h 13"/>
                  <a:gd name="T2" fmla="*/ 0 w 21"/>
                  <a:gd name="T3" fmla="*/ 8 h 13"/>
                  <a:gd name="T4" fmla="*/ 7 w 21"/>
                  <a:gd name="T5" fmla="*/ 4 h 13"/>
                  <a:gd name="T6" fmla="*/ 13 w 21"/>
                  <a:gd name="T7" fmla="*/ 0 h 13"/>
                  <a:gd name="T8" fmla="*/ 18 w 21"/>
                  <a:gd name="T9" fmla="*/ 3 h 13"/>
                  <a:gd name="T10" fmla="*/ 21 w 21"/>
                  <a:gd name="T11" fmla="*/ 7 h 13"/>
                  <a:gd name="T12" fmla="*/ 11 w 21"/>
                  <a:gd name="T13" fmla="*/ 13 h 13"/>
                  <a:gd name="T14" fmla="*/ 0 w 21"/>
                  <a:gd name="T1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13">
                    <a:moveTo>
                      <a:pt x="0" y="13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0" y="7"/>
                      <a:pt x="4" y="6"/>
                      <a:pt x="7" y="4"/>
                    </a:cubicBezTo>
                    <a:cubicBezTo>
                      <a:pt x="10" y="2"/>
                      <a:pt x="10" y="0"/>
                      <a:pt x="13" y="0"/>
                    </a:cubicBezTo>
                    <a:cubicBezTo>
                      <a:pt x="15" y="0"/>
                      <a:pt x="17" y="2"/>
                      <a:pt x="18" y="3"/>
                    </a:cubicBezTo>
                    <a:cubicBezTo>
                      <a:pt x="20" y="5"/>
                      <a:pt x="21" y="6"/>
                      <a:pt x="21" y="7"/>
                    </a:cubicBezTo>
                    <a:cubicBezTo>
                      <a:pt x="21" y="10"/>
                      <a:pt x="17" y="13"/>
                      <a:pt x="11" y="13"/>
                    </a:cubicBezTo>
                    <a:cubicBezTo>
                      <a:pt x="4" y="13"/>
                      <a:pt x="0" y="13"/>
                      <a:pt x="0" y="13"/>
                    </a:cubicBezTo>
                  </a:path>
                </a:pathLst>
              </a:custGeom>
              <a:grpFill/>
              <a:ln w="6350" cap="rnd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87" name="Freeform 51"/>
              <p:cNvSpPr>
                <a:spLocks noEditPoints="1"/>
              </p:cNvSpPr>
              <p:nvPr/>
            </p:nvSpPr>
            <p:spPr bwMode="auto">
              <a:xfrm>
                <a:off x="628650" y="1317625"/>
                <a:ext cx="4071938" cy="5307013"/>
              </a:xfrm>
              <a:custGeom>
                <a:avLst/>
                <a:gdLst>
                  <a:gd name="T0" fmla="*/ 1001 w 1083"/>
                  <a:gd name="T1" fmla="*/ 231 h 1412"/>
                  <a:gd name="T2" fmla="*/ 959 w 1083"/>
                  <a:gd name="T3" fmla="*/ 109 h 1412"/>
                  <a:gd name="T4" fmla="*/ 813 w 1083"/>
                  <a:gd name="T5" fmla="*/ 63 h 1412"/>
                  <a:gd name="T6" fmla="*/ 764 w 1083"/>
                  <a:gd name="T7" fmla="*/ 50 h 1412"/>
                  <a:gd name="T8" fmla="*/ 679 w 1083"/>
                  <a:gd name="T9" fmla="*/ 33 h 1412"/>
                  <a:gd name="T10" fmla="*/ 632 w 1083"/>
                  <a:gd name="T11" fmla="*/ 133 h 1412"/>
                  <a:gd name="T12" fmla="*/ 608 w 1083"/>
                  <a:gd name="T13" fmla="*/ 44 h 1412"/>
                  <a:gd name="T14" fmla="*/ 586 w 1083"/>
                  <a:gd name="T15" fmla="*/ 73 h 1412"/>
                  <a:gd name="T16" fmla="*/ 556 w 1083"/>
                  <a:gd name="T17" fmla="*/ 64 h 1412"/>
                  <a:gd name="T18" fmla="*/ 472 w 1083"/>
                  <a:gd name="T19" fmla="*/ 119 h 1412"/>
                  <a:gd name="T20" fmla="*/ 465 w 1083"/>
                  <a:gd name="T21" fmla="*/ 183 h 1412"/>
                  <a:gd name="T22" fmla="*/ 448 w 1083"/>
                  <a:gd name="T23" fmla="*/ 226 h 1412"/>
                  <a:gd name="T24" fmla="*/ 446 w 1083"/>
                  <a:gd name="T25" fmla="*/ 279 h 1412"/>
                  <a:gd name="T26" fmla="*/ 511 w 1083"/>
                  <a:gd name="T27" fmla="*/ 277 h 1412"/>
                  <a:gd name="T28" fmla="*/ 403 w 1083"/>
                  <a:gd name="T29" fmla="*/ 369 h 1412"/>
                  <a:gd name="T30" fmla="*/ 429 w 1083"/>
                  <a:gd name="T31" fmla="*/ 420 h 1412"/>
                  <a:gd name="T32" fmla="*/ 291 w 1083"/>
                  <a:gd name="T33" fmla="*/ 406 h 1412"/>
                  <a:gd name="T34" fmla="*/ 163 w 1083"/>
                  <a:gd name="T35" fmla="*/ 387 h 1412"/>
                  <a:gd name="T36" fmla="*/ 104 w 1083"/>
                  <a:gd name="T37" fmla="*/ 424 h 1412"/>
                  <a:gd name="T38" fmla="*/ 135 w 1083"/>
                  <a:gd name="T39" fmla="*/ 434 h 1412"/>
                  <a:gd name="T40" fmla="*/ 147 w 1083"/>
                  <a:gd name="T41" fmla="*/ 489 h 1412"/>
                  <a:gd name="T42" fmla="*/ 203 w 1083"/>
                  <a:gd name="T43" fmla="*/ 531 h 1412"/>
                  <a:gd name="T44" fmla="*/ 135 w 1083"/>
                  <a:gd name="T45" fmla="*/ 601 h 1412"/>
                  <a:gd name="T46" fmla="*/ 93 w 1083"/>
                  <a:gd name="T47" fmla="*/ 673 h 1412"/>
                  <a:gd name="T48" fmla="*/ 136 w 1083"/>
                  <a:gd name="T49" fmla="*/ 703 h 1412"/>
                  <a:gd name="T50" fmla="*/ 184 w 1083"/>
                  <a:gd name="T51" fmla="*/ 722 h 1412"/>
                  <a:gd name="T52" fmla="*/ 220 w 1083"/>
                  <a:gd name="T53" fmla="*/ 773 h 1412"/>
                  <a:gd name="T54" fmla="*/ 336 w 1083"/>
                  <a:gd name="T55" fmla="*/ 798 h 1412"/>
                  <a:gd name="T56" fmla="*/ 228 w 1083"/>
                  <a:gd name="T57" fmla="*/ 879 h 1412"/>
                  <a:gd name="T58" fmla="*/ 172 w 1083"/>
                  <a:gd name="T59" fmla="*/ 975 h 1412"/>
                  <a:gd name="T60" fmla="*/ 205 w 1083"/>
                  <a:gd name="T61" fmla="*/ 974 h 1412"/>
                  <a:gd name="T62" fmla="*/ 339 w 1083"/>
                  <a:gd name="T63" fmla="*/ 953 h 1412"/>
                  <a:gd name="T64" fmla="*/ 262 w 1083"/>
                  <a:gd name="T65" fmla="*/ 1010 h 1412"/>
                  <a:gd name="T66" fmla="*/ 142 w 1083"/>
                  <a:gd name="T67" fmla="*/ 1076 h 1412"/>
                  <a:gd name="T68" fmla="*/ 80 w 1083"/>
                  <a:gd name="T69" fmla="*/ 1123 h 1412"/>
                  <a:gd name="T70" fmla="*/ 8 w 1083"/>
                  <a:gd name="T71" fmla="*/ 1174 h 1412"/>
                  <a:gd name="T72" fmla="*/ 140 w 1083"/>
                  <a:gd name="T73" fmla="*/ 1163 h 1412"/>
                  <a:gd name="T74" fmla="*/ 44 w 1083"/>
                  <a:gd name="T75" fmla="*/ 1216 h 1412"/>
                  <a:gd name="T76" fmla="*/ 58 w 1083"/>
                  <a:gd name="T77" fmla="*/ 1269 h 1412"/>
                  <a:gd name="T78" fmla="*/ 156 w 1083"/>
                  <a:gd name="T79" fmla="*/ 1269 h 1412"/>
                  <a:gd name="T80" fmla="*/ 105 w 1083"/>
                  <a:gd name="T81" fmla="*/ 1315 h 1412"/>
                  <a:gd name="T82" fmla="*/ 118 w 1083"/>
                  <a:gd name="T83" fmla="*/ 1340 h 1412"/>
                  <a:gd name="T84" fmla="*/ 188 w 1083"/>
                  <a:gd name="T85" fmla="*/ 1341 h 1412"/>
                  <a:gd name="T86" fmla="*/ 178 w 1083"/>
                  <a:gd name="T87" fmla="*/ 1370 h 1412"/>
                  <a:gd name="T88" fmla="*/ 192 w 1083"/>
                  <a:gd name="T89" fmla="*/ 1391 h 1412"/>
                  <a:gd name="T90" fmla="*/ 250 w 1083"/>
                  <a:gd name="T91" fmla="*/ 1401 h 1412"/>
                  <a:gd name="T92" fmla="*/ 347 w 1083"/>
                  <a:gd name="T93" fmla="*/ 1374 h 1412"/>
                  <a:gd name="T94" fmla="*/ 429 w 1083"/>
                  <a:gd name="T95" fmla="*/ 1330 h 1412"/>
                  <a:gd name="T96" fmla="*/ 457 w 1083"/>
                  <a:gd name="T97" fmla="*/ 1263 h 1412"/>
                  <a:gd name="T98" fmla="*/ 525 w 1083"/>
                  <a:gd name="T99" fmla="*/ 1285 h 1412"/>
                  <a:gd name="T100" fmla="*/ 635 w 1083"/>
                  <a:gd name="T101" fmla="*/ 1181 h 1412"/>
                  <a:gd name="T102" fmla="*/ 777 w 1083"/>
                  <a:gd name="T103" fmla="*/ 1150 h 1412"/>
                  <a:gd name="T104" fmla="*/ 803 w 1083"/>
                  <a:gd name="T105" fmla="*/ 1134 h 1412"/>
                  <a:gd name="T106" fmla="*/ 903 w 1083"/>
                  <a:gd name="T107" fmla="*/ 1148 h 1412"/>
                  <a:gd name="T108" fmla="*/ 941 w 1083"/>
                  <a:gd name="T109" fmla="*/ 959 h 1412"/>
                  <a:gd name="T110" fmla="*/ 959 w 1083"/>
                  <a:gd name="T111" fmla="*/ 720 h 1412"/>
                  <a:gd name="T112" fmla="*/ 918 w 1083"/>
                  <a:gd name="T113" fmla="*/ 544 h 1412"/>
                  <a:gd name="T114" fmla="*/ 947 w 1083"/>
                  <a:gd name="T115" fmla="*/ 471 h 1412"/>
                  <a:gd name="T116" fmla="*/ 1063 w 1083"/>
                  <a:gd name="T117" fmla="*/ 372 h 1412"/>
                  <a:gd name="T118" fmla="*/ 1051 w 1083"/>
                  <a:gd name="T119" fmla="*/ 297 h 1412"/>
                  <a:gd name="T120" fmla="*/ 904 w 1083"/>
                  <a:gd name="T121" fmla="*/ 454 h 1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83" h="1412">
                    <a:moveTo>
                      <a:pt x="1080" y="308"/>
                    </a:moveTo>
                    <a:cubicBezTo>
                      <a:pt x="1077" y="308"/>
                      <a:pt x="1075" y="306"/>
                      <a:pt x="1075" y="304"/>
                    </a:cubicBezTo>
                    <a:cubicBezTo>
                      <a:pt x="1075" y="301"/>
                      <a:pt x="1073" y="299"/>
                      <a:pt x="1073" y="296"/>
                    </a:cubicBezTo>
                    <a:cubicBezTo>
                      <a:pt x="1073" y="293"/>
                      <a:pt x="1072" y="289"/>
                      <a:pt x="1072" y="285"/>
                    </a:cubicBezTo>
                    <a:cubicBezTo>
                      <a:pt x="1072" y="280"/>
                      <a:pt x="1069" y="277"/>
                      <a:pt x="1065" y="273"/>
                    </a:cubicBezTo>
                    <a:cubicBezTo>
                      <a:pt x="1061" y="269"/>
                      <a:pt x="1060" y="264"/>
                      <a:pt x="1060" y="258"/>
                    </a:cubicBezTo>
                    <a:cubicBezTo>
                      <a:pt x="1060" y="253"/>
                      <a:pt x="1057" y="249"/>
                      <a:pt x="1054" y="247"/>
                    </a:cubicBezTo>
                    <a:cubicBezTo>
                      <a:pt x="1051" y="245"/>
                      <a:pt x="1050" y="241"/>
                      <a:pt x="1047" y="241"/>
                    </a:cubicBezTo>
                    <a:cubicBezTo>
                      <a:pt x="1037" y="241"/>
                      <a:pt x="1037" y="241"/>
                      <a:pt x="1037" y="241"/>
                    </a:cubicBezTo>
                    <a:cubicBezTo>
                      <a:pt x="1032" y="241"/>
                      <a:pt x="1031" y="245"/>
                      <a:pt x="1026" y="245"/>
                    </a:cubicBezTo>
                    <a:cubicBezTo>
                      <a:pt x="1022" y="245"/>
                      <a:pt x="1019" y="243"/>
                      <a:pt x="1015" y="243"/>
                    </a:cubicBezTo>
                    <a:cubicBezTo>
                      <a:pt x="1011" y="243"/>
                      <a:pt x="1011" y="247"/>
                      <a:pt x="1008" y="247"/>
                    </a:cubicBezTo>
                    <a:cubicBezTo>
                      <a:pt x="1005" y="247"/>
                      <a:pt x="1003" y="248"/>
                      <a:pt x="999" y="252"/>
                    </a:cubicBezTo>
                    <a:cubicBezTo>
                      <a:pt x="994" y="256"/>
                      <a:pt x="990" y="261"/>
                      <a:pt x="988" y="265"/>
                    </a:cubicBezTo>
                    <a:cubicBezTo>
                      <a:pt x="986" y="268"/>
                      <a:pt x="986" y="270"/>
                      <a:pt x="984" y="270"/>
                    </a:cubicBezTo>
                    <a:cubicBezTo>
                      <a:pt x="982" y="270"/>
                      <a:pt x="981" y="270"/>
                      <a:pt x="981" y="266"/>
                    </a:cubicBezTo>
                    <a:cubicBezTo>
                      <a:pt x="981" y="263"/>
                      <a:pt x="979" y="263"/>
                      <a:pt x="979" y="259"/>
                    </a:cubicBezTo>
                    <a:cubicBezTo>
                      <a:pt x="979" y="256"/>
                      <a:pt x="981" y="252"/>
                      <a:pt x="983" y="247"/>
                    </a:cubicBezTo>
                    <a:cubicBezTo>
                      <a:pt x="985" y="242"/>
                      <a:pt x="988" y="238"/>
                      <a:pt x="992" y="237"/>
                    </a:cubicBezTo>
                    <a:cubicBezTo>
                      <a:pt x="995" y="237"/>
                      <a:pt x="997" y="234"/>
                      <a:pt x="1001" y="231"/>
                    </a:cubicBezTo>
                    <a:cubicBezTo>
                      <a:pt x="1005" y="229"/>
                      <a:pt x="1008" y="227"/>
                      <a:pt x="1012" y="227"/>
                    </a:cubicBezTo>
                    <a:cubicBezTo>
                      <a:pt x="1017" y="227"/>
                      <a:pt x="1022" y="219"/>
                      <a:pt x="1025" y="215"/>
                    </a:cubicBezTo>
                    <a:cubicBezTo>
                      <a:pt x="1027" y="210"/>
                      <a:pt x="1025" y="206"/>
                      <a:pt x="1025" y="200"/>
                    </a:cubicBezTo>
                    <a:cubicBezTo>
                      <a:pt x="1025" y="194"/>
                      <a:pt x="1022" y="190"/>
                      <a:pt x="1019" y="186"/>
                    </a:cubicBezTo>
                    <a:cubicBezTo>
                      <a:pt x="1016" y="181"/>
                      <a:pt x="1012" y="179"/>
                      <a:pt x="1008" y="179"/>
                    </a:cubicBezTo>
                    <a:cubicBezTo>
                      <a:pt x="1005" y="179"/>
                      <a:pt x="1002" y="180"/>
                      <a:pt x="1002" y="183"/>
                    </a:cubicBezTo>
                    <a:cubicBezTo>
                      <a:pt x="1002" y="187"/>
                      <a:pt x="1013" y="194"/>
                      <a:pt x="1015" y="197"/>
                    </a:cubicBezTo>
                    <a:cubicBezTo>
                      <a:pt x="1018" y="201"/>
                      <a:pt x="1019" y="205"/>
                      <a:pt x="1017" y="205"/>
                    </a:cubicBezTo>
                    <a:cubicBezTo>
                      <a:pt x="1015" y="205"/>
                      <a:pt x="1016" y="202"/>
                      <a:pt x="1014" y="199"/>
                    </a:cubicBezTo>
                    <a:cubicBezTo>
                      <a:pt x="1012" y="197"/>
                      <a:pt x="1011" y="195"/>
                      <a:pt x="1005" y="195"/>
                    </a:cubicBezTo>
                    <a:cubicBezTo>
                      <a:pt x="997" y="195"/>
                      <a:pt x="999" y="187"/>
                      <a:pt x="999" y="181"/>
                    </a:cubicBezTo>
                    <a:cubicBezTo>
                      <a:pt x="999" y="176"/>
                      <a:pt x="997" y="174"/>
                      <a:pt x="994" y="171"/>
                    </a:cubicBezTo>
                    <a:cubicBezTo>
                      <a:pt x="992" y="169"/>
                      <a:pt x="992" y="165"/>
                      <a:pt x="990" y="164"/>
                    </a:cubicBezTo>
                    <a:cubicBezTo>
                      <a:pt x="988" y="162"/>
                      <a:pt x="984" y="161"/>
                      <a:pt x="984" y="159"/>
                    </a:cubicBezTo>
                    <a:cubicBezTo>
                      <a:pt x="984" y="156"/>
                      <a:pt x="983" y="154"/>
                      <a:pt x="980" y="149"/>
                    </a:cubicBezTo>
                    <a:cubicBezTo>
                      <a:pt x="976" y="143"/>
                      <a:pt x="974" y="139"/>
                      <a:pt x="972" y="139"/>
                    </a:cubicBezTo>
                    <a:cubicBezTo>
                      <a:pt x="969" y="139"/>
                      <a:pt x="968" y="139"/>
                      <a:pt x="966" y="137"/>
                    </a:cubicBezTo>
                    <a:cubicBezTo>
                      <a:pt x="964" y="135"/>
                      <a:pt x="960" y="137"/>
                      <a:pt x="960" y="133"/>
                    </a:cubicBezTo>
                    <a:cubicBezTo>
                      <a:pt x="960" y="128"/>
                      <a:pt x="965" y="127"/>
                      <a:pt x="965" y="117"/>
                    </a:cubicBezTo>
                    <a:cubicBezTo>
                      <a:pt x="965" y="112"/>
                      <a:pt x="962" y="109"/>
                      <a:pt x="959" y="109"/>
                    </a:cubicBezTo>
                    <a:cubicBezTo>
                      <a:pt x="956" y="109"/>
                      <a:pt x="956" y="107"/>
                      <a:pt x="953" y="107"/>
                    </a:cubicBezTo>
                    <a:cubicBezTo>
                      <a:pt x="949" y="107"/>
                      <a:pt x="950" y="110"/>
                      <a:pt x="948" y="110"/>
                    </a:cubicBezTo>
                    <a:cubicBezTo>
                      <a:pt x="946" y="110"/>
                      <a:pt x="946" y="110"/>
                      <a:pt x="946" y="104"/>
                    </a:cubicBezTo>
                    <a:cubicBezTo>
                      <a:pt x="946" y="99"/>
                      <a:pt x="948" y="94"/>
                      <a:pt x="948" y="88"/>
                    </a:cubicBezTo>
                    <a:cubicBezTo>
                      <a:pt x="948" y="82"/>
                      <a:pt x="948" y="81"/>
                      <a:pt x="949" y="76"/>
                    </a:cubicBezTo>
                    <a:cubicBezTo>
                      <a:pt x="950" y="71"/>
                      <a:pt x="948" y="69"/>
                      <a:pt x="946" y="66"/>
                    </a:cubicBezTo>
                    <a:cubicBezTo>
                      <a:pt x="943" y="64"/>
                      <a:pt x="944" y="60"/>
                      <a:pt x="941" y="58"/>
                    </a:cubicBezTo>
                    <a:cubicBezTo>
                      <a:pt x="937" y="56"/>
                      <a:pt x="937" y="54"/>
                      <a:pt x="934" y="53"/>
                    </a:cubicBezTo>
                    <a:cubicBezTo>
                      <a:pt x="930" y="53"/>
                      <a:pt x="928" y="50"/>
                      <a:pt x="923" y="50"/>
                    </a:cubicBezTo>
                    <a:cubicBezTo>
                      <a:pt x="918" y="50"/>
                      <a:pt x="917" y="54"/>
                      <a:pt x="914" y="54"/>
                    </a:cubicBezTo>
                    <a:cubicBezTo>
                      <a:pt x="911" y="54"/>
                      <a:pt x="910" y="57"/>
                      <a:pt x="907" y="57"/>
                    </a:cubicBezTo>
                    <a:cubicBezTo>
                      <a:pt x="905" y="57"/>
                      <a:pt x="904" y="55"/>
                      <a:pt x="901" y="52"/>
                    </a:cubicBezTo>
                    <a:cubicBezTo>
                      <a:pt x="897" y="49"/>
                      <a:pt x="894" y="49"/>
                      <a:pt x="889" y="49"/>
                    </a:cubicBezTo>
                    <a:cubicBezTo>
                      <a:pt x="884" y="49"/>
                      <a:pt x="883" y="44"/>
                      <a:pt x="879" y="44"/>
                    </a:cubicBezTo>
                    <a:cubicBezTo>
                      <a:pt x="875" y="44"/>
                      <a:pt x="872" y="47"/>
                      <a:pt x="868" y="47"/>
                    </a:cubicBezTo>
                    <a:cubicBezTo>
                      <a:pt x="859" y="47"/>
                      <a:pt x="858" y="43"/>
                      <a:pt x="854" y="43"/>
                    </a:cubicBezTo>
                    <a:cubicBezTo>
                      <a:pt x="851" y="43"/>
                      <a:pt x="850" y="47"/>
                      <a:pt x="847" y="49"/>
                    </a:cubicBezTo>
                    <a:cubicBezTo>
                      <a:pt x="843" y="50"/>
                      <a:pt x="842" y="54"/>
                      <a:pt x="840" y="54"/>
                    </a:cubicBezTo>
                    <a:cubicBezTo>
                      <a:pt x="837" y="54"/>
                      <a:pt x="834" y="58"/>
                      <a:pt x="827" y="58"/>
                    </a:cubicBezTo>
                    <a:cubicBezTo>
                      <a:pt x="819" y="58"/>
                      <a:pt x="818" y="63"/>
                      <a:pt x="813" y="63"/>
                    </a:cubicBezTo>
                    <a:cubicBezTo>
                      <a:pt x="807" y="63"/>
                      <a:pt x="803" y="70"/>
                      <a:pt x="803" y="70"/>
                    </a:cubicBezTo>
                    <a:cubicBezTo>
                      <a:pt x="796" y="70"/>
                      <a:pt x="796" y="70"/>
                      <a:pt x="796" y="70"/>
                    </a:cubicBezTo>
                    <a:cubicBezTo>
                      <a:pt x="792" y="70"/>
                      <a:pt x="789" y="72"/>
                      <a:pt x="778" y="72"/>
                    </a:cubicBezTo>
                    <a:cubicBezTo>
                      <a:pt x="768" y="72"/>
                      <a:pt x="763" y="65"/>
                      <a:pt x="759" y="65"/>
                    </a:cubicBezTo>
                    <a:cubicBezTo>
                      <a:pt x="756" y="65"/>
                      <a:pt x="757" y="72"/>
                      <a:pt x="757" y="76"/>
                    </a:cubicBezTo>
                    <a:cubicBezTo>
                      <a:pt x="757" y="79"/>
                      <a:pt x="754" y="83"/>
                      <a:pt x="754" y="87"/>
                    </a:cubicBezTo>
                    <a:cubicBezTo>
                      <a:pt x="754" y="90"/>
                      <a:pt x="751" y="96"/>
                      <a:pt x="748" y="99"/>
                    </a:cubicBezTo>
                    <a:cubicBezTo>
                      <a:pt x="745" y="101"/>
                      <a:pt x="746" y="105"/>
                      <a:pt x="746" y="108"/>
                    </a:cubicBezTo>
                    <a:cubicBezTo>
                      <a:pt x="746" y="111"/>
                      <a:pt x="742" y="120"/>
                      <a:pt x="731" y="120"/>
                    </a:cubicBezTo>
                    <a:cubicBezTo>
                      <a:pt x="720" y="120"/>
                      <a:pt x="719" y="113"/>
                      <a:pt x="714" y="113"/>
                    </a:cubicBezTo>
                    <a:cubicBezTo>
                      <a:pt x="710" y="113"/>
                      <a:pt x="704" y="117"/>
                      <a:pt x="702" y="117"/>
                    </a:cubicBezTo>
                    <a:cubicBezTo>
                      <a:pt x="700" y="117"/>
                      <a:pt x="700" y="116"/>
                      <a:pt x="699" y="114"/>
                    </a:cubicBezTo>
                    <a:cubicBezTo>
                      <a:pt x="699" y="114"/>
                      <a:pt x="699" y="114"/>
                      <a:pt x="699" y="114"/>
                    </a:cubicBezTo>
                    <a:cubicBezTo>
                      <a:pt x="699" y="112"/>
                      <a:pt x="699" y="111"/>
                      <a:pt x="699" y="109"/>
                    </a:cubicBezTo>
                    <a:cubicBezTo>
                      <a:pt x="699" y="105"/>
                      <a:pt x="703" y="104"/>
                      <a:pt x="705" y="99"/>
                    </a:cubicBezTo>
                    <a:cubicBezTo>
                      <a:pt x="708" y="95"/>
                      <a:pt x="709" y="90"/>
                      <a:pt x="713" y="86"/>
                    </a:cubicBezTo>
                    <a:cubicBezTo>
                      <a:pt x="717" y="82"/>
                      <a:pt x="720" y="80"/>
                      <a:pt x="727" y="77"/>
                    </a:cubicBezTo>
                    <a:cubicBezTo>
                      <a:pt x="735" y="74"/>
                      <a:pt x="737" y="70"/>
                      <a:pt x="741" y="66"/>
                    </a:cubicBezTo>
                    <a:cubicBezTo>
                      <a:pt x="745" y="63"/>
                      <a:pt x="748" y="64"/>
                      <a:pt x="752" y="62"/>
                    </a:cubicBezTo>
                    <a:cubicBezTo>
                      <a:pt x="756" y="60"/>
                      <a:pt x="764" y="55"/>
                      <a:pt x="764" y="50"/>
                    </a:cubicBezTo>
                    <a:cubicBezTo>
                      <a:pt x="764" y="46"/>
                      <a:pt x="759" y="43"/>
                      <a:pt x="754" y="43"/>
                    </a:cubicBezTo>
                    <a:cubicBezTo>
                      <a:pt x="749" y="43"/>
                      <a:pt x="745" y="39"/>
                      <a:pt x="742" y="38"/>
                    </a:cubicBezTo>
                    <a:cubicBezTo>
                      <a:pt x="739" y="36"/>
                      <a:pt x="738" y="37"/>
                      <a:pt x="736" y="37"/>
                    </a:cubicBezTo>
                    <a:cubicBezTo>
                      <a:pt x="734" y="37"/>
                      <a:pt x="733" y="37"/>
                      <a:pt x="732" y="35"/>
                    </a:cubicBezTo>
                    <a:cubicBezTo>
                      <a:pt x="729" y="30"/>
                      <a:pt x="719" y="30"/>
                      <a:pt x="719" y="27"/>
                    </a:cubicBezTo>
                    <a:cubicBezTo>
                      <a:pt x="719" y="23"/>
                      <a:pt x="714" y="22"/>
                      <a:pt x="714" y="19"/>
                    </a:cubicBezTo>
                    <a:cubicBezTo>
                      <a:pt x="714" y="15"/>
                      <a:pt x="711" y="13"/>
                      <a:pt x="707" y="11"/>
                    </a:cubicBezTo>
                    <a:cubicBezTo>
                      <a:pt x="703" y="10"/>
                      <a:pt x="701" y="7"/>
                      <a:pt x="697" y="7"/>
                    </a:cubicBezTo>
                    <a:cubicBezTo>
                      <a:pt x="694" y="7"/>
                      <a:pt x="693" y="3"/>
                      <a:pt x="687" y="3"/>
                    </a:cubicBezTo>
                    <a:cubicBezTo>
                      <a:pt x="680" y="3"/>
                      <a:pt x="677" y="0"/>
                      <a:pt x="673" y="0"/>
                    </a:cubicBezTo>
                    <a:cubicBezTo>
                      <a:pt x="670" y="0"/>
                      <a:pt x="667" y="0"/>
                      <a:pt x="667" y="2"/>
                    </a:cubicBezTo>
                    <a:cubicBezTo>
                      <a:pt x="667" y="4"/>
                      <a:pt x="670" y="8"/>
                      <a:pt x="673" y="8"/>
                    </a:cubicBezTo>
                    <a:cubicBezTo>
                      <a:pt x="676" y="8"/>
                      <a:pt x="681" y="12"/>
                      <a:pt x="679" y="13"/>
                    </a:cubicBezTo>
                    <a:cubicBezTo>
                      <a:pt x="678" y="14"/>
                      <a:pt x="675" y="12"/>
                      <a:pt x="675" y="14"/>
                    </a:cubicBezTo>
                    <a:cubicBezTo>
                      <a:pt x="675" y="18"/>
                      <a:pt x="682" y="21"/>
                      <a:pt x="682" y="23"/>
                    </a:cubicBezTo>
                    <a:cubicBezTo>
                      <a:pt x="682" y="24"/>
                      <a:pt x="683" y="27"/>
                      <a:pt x="685" y="27"/>
                    </a:cubicBezTo>
                    <a:cubicBezTo>
                      <a:pt x="687" y="27"/>
                      <a:pt x="690" y="31"/>
                      <a:pt x="692" y="31"/>
                    </a:cubicBezTo>
                    <a:cubicBezTo>
                      <a:pt x="695" y="31"/>
                      <a:pt x="695" y="32"/>
                      <a:pt x="695" y="33"/>
                    </a:cubicBezTo>
                    <a:cubicBezTo>
                      <a:pt x="695" y="35"/>
                      <a:pt x="695" y="36"/>
                      <a:pt x="692" y="36"/>
                    </a:cubicBezTo>
                    <a:cubicBezTo>
                      <a:pt x="688" y="36"/>
                      <a:pt x="679" y="34"/>
                      <a:pt x="679" y="33"/>
                    </a:cubicBezTo>
                    <a:cubicBezTo>
                      <a:pt x="679" y="32"/>
                      <a:pt x="682" y="32"/>
                      <a:pt x="682" y="29"/>
                    </a:cubicBezTo>
                    <a:cubicBezTo>
                      <a:pt x="682" y="27"/>
                      <a:pt x="676" y="24"/>
                      <a:pt x="674" y="24"/>
                    </a:cubicBezTo>
                    <a:cubicBezTo>
                      <a:pt x="672" y="24"/>
                      <a:pt x="670" y="25"/>
                      <a:pt x="670" y="27"/>
                    </a:cubicBezTo>
                    <a:cubicBezTo>
                      <a:pt x="670" y="29"/>
                      <a:pt x="667" y="32"/>
                      <a:pt x="664" y="32"/>
                    </a:cubicBezTo>
                    <a:cubicBezTo>
                      <a:pt x="661" y="32"/>
                      <a:pt x="660" y="35"/>
                      <a:pt x="657" y="35"/>
                    </a:cubicBezTo>
                    <a:cubicBezTo>
                      <a:pt x="654" y="35"/>
                      <a:pt x="653" y="31"/>
                      <a:pt x="651" y="31"/>
                    </a:cubicBezTo>
                    <a:cubicBezTo>
                      <a:pt x="648" y="31"/>
                      <a:pt x="650" y="35"/>
                      <a:pt x="647" y="35"/>
                    </a:cubicBezTo>
                    <a:cubicBezTo>
                      <a:pt x="644" y="35"/>
                      <a:pt x="641" y="35"/>
                      <a:pt x="641" y="37"/>
                    </a:cubicBezTo>
                    <a:cubicBezTo>
                      <a:pt x="641" y="39"/>
                      <a:pt x="643" y="40"/>
                      <a:pt x="643" y="43"/>
                    </a:cubicBezTo>
                    <a:cubicBezTo>
                      <a:pt x="643" y="45"/>
                      <a:pt x="640" y="46"/>
                      <a:pt x="640" y="49"/>
                    </a:cubicBezTo>
                    <a:cubicBezTo>
                      <a:pt x="640" y="52"/>
                      <a:pt x="638" y="54"/>
                      <a:pt x="638" y="57"/>
                    </a:cubicBezTo>
                    <a:cubicBezTo>
                      <a:pt x="638" y="60"/>
                      <a:pt x="636" y="60"/>
                      <a:pt x="636" y="63"/>
                    </a:cubicBezTo>
                    <a:cubicBezTo>
                      <a:pt x="636" y="65"/>
                      <a:pt x="637" y="67"/>
                      <a:pt x="639" y="67"/>
                    </a:cubicBezTo>
                    <a:cubicBezTo>
                      <a:pt x="642" y="67"/>
                      <a:pt x="643" y="71"/>
                      <a:pt x="647" y="76"/>
                    </a:cubicBezTo>
                    <a:cubicBezTo>
                      <a:pt x="650" y="81"/>
                      <a:pt x="652" y="84"/>
                      <a:pt x="652" y="91"/>
                    </a:cubicBezTo>
                    <a:cubicBezTo>
                      <a:pt x="652" y="98"/>
                      <a:pt x="650" y="99"/>
                      <a:pt x="650" y="102"/>
                    </a:cubicBezTo>
                    <a:cubicBezTo>
                      <a:pt x="650" y="106"/>
                      <a:pt x="655" y="114"/>
                      <a:pt x="655" y="117"/>
                    </a:cubicBezTo>
                    <a:cubicBezTo>
                      <a:pt x="655" y="120"/>
                      <a:pt x="648" y="121"/>
                      <a:pt x="645" y="123"/>
                    </a:cubicBezTo>
                    <a:cubicBezTo>
                      <a:pt x="641" y="125"/>
                      <a:pt x="643" y="128"/>
                      <a:pt x="641" y="128"/>
                    </a:cubicBezTo>
                    <a:cubicBezTo>
                      <a:pt x="638" y="128"/>
                      <a:pt x="636" y="129"/>
                      <a:pt x="632" y="133"/>
                    </a:cubicBezTo>
                    <a:cubicBezTo>
                      <a:pt x="628" y="136"/>
                      <a:pt x="626" y="141"/>
                      <a:pt x="624" y="143"/>
                    </a:cubicBezTo>
                    <a:cubicBezTo>
                      <a:pt x="622" y="146"/>
                      <a:pt x="620" y="148"/>
                      <a:pt x="618" y="148"/>
                    </a:cubicBezTo>
                    <a:cubicBezTo>
                      <a:pt x="617" y="148"/>
                      <a:pt x="617" y="146"/>
                      <a:pt x="617" y="144"/>
                    </a:cubicBezTo>
                    <a:cubicBezTo>
                      <a:pt x="617" y="139"/>
                      <a:pt x="621" y="137"/>
                      <a:pt x="625" y="133"/>
                    </a:cubicBezTo>
                    <a:cubicBezTo>
                      <a:pt x="630" y="129"/>
                      <a:pt x="635" y="127"/>
                      <a:pt x="635" y="124"/>
                    </a:cubicBezTo>
                    <a:cubicBezTo>
                      <a:pt x="635" y="121"/>
                      <a:pt x="631" y="118"/>
                      <a:pt x="628" y="118"/>
                    </a:cubicBezTo>
                    <a:cubicBezTo>
                      <a:pt x="625" y="118"/>
                      <a:pt x="625" y="121"/>
                      <a:pt x="623" y="121"/>
                    </a:cubicBezTo>
                    <a:cubicBezTo>
                      <a:pt x="621" y="121"/>
                      <a:pt x="620" y="121"/>
                      <a:pt x="620" y="119"/>
                    </a:cubicBezTo>
                    <a:cubicBezTo>
                      <a:pt x="620" y="117"/>
                      <a:pt x="620" y="115"/>
                      <a:pt x="624" y="115"/>
                    </a:cubicBezTo>
                    <a:cubicBezTo>
                      <a:pt x="629" y="115"/>
                      <a:pt x="633" y="105"/>
                      <a:pt x="637" y="105"/>
                    </a:cubicBezTo>
                    <a:cubicBezTo>
                      <a:pt x="639" y="105"/>
                      <a:pt x="641" y="104"/>
                      <a:pt x="641" y="100"/>
                    </a:cubicBezTo>
                    <a:cubicBezTo>
                      <a:pt x="641" y="96"/>
                      <a:pt x="643" y="95"/>
                      <a:pt x="643" y="91"/>
                    </a:cubicBezTo>
                    <a:cubicBezTo>
                      <a:pt x="643" y="88"/>
                      <a:pt x="640" y="87"/>
                      <a:pt x="636" y="82"/>
                    </a:cubicBezTo>
                    <a:cubicBezTo>
                      <a:pt x="632" y="77"/>
                      <a:pt x="631" y="70"/>
                      <a:pt x="628" y="70"/>
                    </a:cubicBezTo>
                    <a:cubicBezTo>
                      <a:pt x="625" y="70"/>
                      <a:pt x="622" y="69"/>
                      <a:pt x="622" y="64"/>
                    </a:cubicBezTo>
                    <a:cubicBezTo>
                      <a:pt x="622" y="60"/>
                      <a:pt x="626" y="59"/>
                      <a:pt x="626" y="54"/>
                    </a:cubicBezTo>
                    <a:cubicBezTo>
                      <a:pt x="626" y="50"/>
                      <a:pt x="621" y="43"/>
                      <a:pt x="621" y="40"/>
                    </a:cubicBezTo>
                    <a:cubicBezTo>
                      <a:pt x="621" y="37"/>
                      <a:pt x="621" y="35"/>
                      <a:pt x="618" y="35"/>
                    </a:cubicBezTo>
                    <a:cubicBezTo>
                      <a:pt x="615" y="35"/>
                      <a:pt x="614" y="39"/>
                      <a:pt x="612" y="39"/>
                    </a:cubicBezTo>
                    <a:cubicBezTo>
                      <a:pt x="610" y="39"/>
                      <a:pt x="608" y="41"/>
                      <a:pt x="608" y="44"/>
                    </a:cubicBezTo>
                    <a:cubicBezTo>
                      <a:pt x="608" y="46"/>
                      <a:pt x="608" y="48"/>
                      <a:pt x="605" y="48"/>
                    </a:cubicBezTo>
                    <a:cubicBezTo>
                      <a:pt x="603" y="48"/>
                      <a:pt x="604" y="45"/>
                      <a:pt x="599" y="45"/>
                    </a:cubicBezTo>
                    <a:cubicBezTo>
                      <a:pt x="595" y="45"/>
                      <a:pt x="594" y="52"/>
                      <a:pt x="592" y="54"/>
                    </a:cubicBezTo>
                    <a:cubicBezTo>
                      <a:pt x="590" y="55"/>
                      <a:pt x="587" y="57"/>
                      <a:pt x="587" y="60"/>
                    </a:cubicBezTo>
                    <a:cubicBezTo>
                      <a:pt x="587" y="64"/>
                      <a:pt x="592" y="68"/>
                      <a:pt x="594" y="68"/>
                    </a:cubicBezTo>
                    <a:cubicBezTo>
                      <a:pt x="596" y="67"/>
                      <a:pt x="595" y="66"/>
                      <a:pt x="597" y="66"/>
                    </a:cubicBezTo>
                    <a:cubicBezTo>
                      <a:pt x="599" y="66"/>
                      <a:pt x="598" y="70"/>
                      <a:pt x="600" y="72"/>
                    </a:cubicBezTo>
                    <a:cubicBezTo>
                      <a:pt x="602" y="74"/>
                      <a:pt x="604" y="74"/>
                      <a:pt x="604" y="70"/>
                    </a:cubicBezTo>
                    <a:cubicBezTo>
                      <a:pt x="604" y="67"/>
                      <a:pt x="601" y="66"/>
                      <a:pt x="601" y="64"/>
                    </a:cubicBezTo>
                    <a:cubicBezTo>
                      <a:pt x="601" y="61"/>
                      <a:pt x="602" y="56"/>
                      <a:pt x="604" y="56"/>
                    </a:cubicBezTo>
                    <a:cubicBezTo>
                      <a:pt x="606" y="56"/>
                      <a:pt x="607" y="59"/>
                      <a:pt x="607" y="64"/>
                    </a:cubicBezTo>
                    <a:cubicBezTo>
                      <a:pt x="607" y="70"/>
                      <a:pt x="611" y="72"/>
                      <a:pt x="611" y="75"/>
                    </a:cubicBezTo>
                    <a:cubicBezTo>
                      <a:pt x="611" y="79"/>
                      <a:pt x="613" y="80"/>
                      <a:pt x="613" y="83"/>
                    </a:cubicBezTo>
                    <a:cubicBezTo>
                      <a:pt x="613" y="86"/>
                      <a:pt x="610" y="88"/>
                      <a:pt x="610" y="94"/>
                    </a:cubicBezTo>
                    <a:cubicBezTo>
                      <a:pt x="610" y="96"/>
                      <a:pt x="609" y="100"/>
                      <a:pt x="608" y="100"/>
                    </a:cubicBezTo>
                    <a:cubicBezTo>
                      <a:pt x="606" y="100"/>
                      <a:pt x="606" y="100"/>
                      <a:pt x="606" y="96"/>
                    </a:cubicBezTo>
                    <a:cubicBezTo>
                      <a:pt x="606" y="93"/>
                      <a:pt x="607" y="88"/>
                      <a:pt x="607" y="85"/>
                    </a:cubicBezTo>
                    <a:cubicBezTo>
                      <a:pt x="607" y="81"/>
                      <a:pt x="602" y="76"/>
                      <a:pt x="599" y="76"/>
                    </a:cubicBezTo>
                    <a:cubicBezTo>
                      <a:pt x="595" y="76"/>
                      <a:pt x="594" y="70"/>
                      <a:pt x="591" y="70"/>
                    </a:cubicBezTo>
                    <a:cubicBezTo>
                      <a:pt x="588" y="70"/>
                      <a:pt x="588" y="73"/>
                      <a:pt x="586" y="73"/>
                    </a:cubicBezTo>
                    <a:cubicBezTo>
                      <a:pt x="585" y="73"/>
                      <a:pt x="583" y="73"/>
                      <a:pt x="583" y="71"/>
                    </a:cubicBezTo>
                    <a:cubicBezTo>
                      <a:pt x="583" y="69"/>
                      <a:pt x="581" y="68"/>
                      <a:pt x="581" y="64"/>
                    </a:cubicBezTo>
                    <a:cubicBezTo>
                      <a:pt x="581" y="59"/>
                      <a:pt x="586" y="58"/>
                      <a:pt x="586" y="51"/>
                    </a:cubicBezTo>
                    <a:cubicBezTo>
                      <a:pt x="586" y="48"/>
                      <a:pt x="587" y="46"/>
                      <a:pt x="584" y="46"/>
                    </a:cubicBezTo>
                    <a:cubicBezTo>
                      <a:pt x="582" y="46"/>
                      <a:pt x="581" y="50"/>
                      <a:pt x="581" y="52"/>
                    </a:cubicBezTo>
                    <a:cubicBezTo>
                      <a:pt x="581" y="54"/>
                      <a:pt x="579" y="54"/>
                      <a:pt x="577" y="54"/>
                    </a:cubicBezTo>
                    <a:cubicBezTo>
                      <a:pt x="573" y="54"/>
                      <a:pt x="569" y="56"/>
                      <a:pt x="569" y="60"/>
                    </a:cubicBezTo>
                    <a:cubicBezTo>
                      <a:pt x="569" y="64"/>
                      <a:pt x="573" y="68"/>
                      <a:pt x="575" y="68"/>
                    </a:cubicBezTo>
                    <a:cubicBezTo>
                      <a:pt x="578" y="68"/>
                      <a:pt x="579" y="68"/>
                      <a:pt x="579" y="70"/>
                    </a:cubicBezTo>
                    <a:cubicBezTo>
                      <a:pt x="579" y="72"/>
                      <a:pt x="577" y="76"/>
                      <a:pt x="577" y="79"/>
                    </a:cubicBezTo>
                    <a:cubicBezTo>
                      <a:pt x="577" y="82"/>
                      <a:pt x="574" y="83"/>
                      <a:pt x="574" y="85"/>
                    </a:cubicBezTo>
                    <a:cubicBezTo>
                      <a:pt x="574" y="88"/>
                      <a:pt x="572" y="88"/>
                      <a:pt x="569" y="88"/>
                    </a:cubicBezTo>
                    <a:cubicBezTo>
                      <a:pt x="565" y="88"/>
                      <a:pt x="566" y="85"/>
                      <a:pt x="568" y="84"/>
                    </a:cubicBezTo>
                    <a:cubicBezTo>
                      <a:pt x="571" y="82"/>
                      <a:pt x="573" y="79"/>
                      <a:pt x="572" y="78"/>
                    </a:cubicBezTo>
                    <a:cubicBezTo>
                      <a:pt x="571" y="77"/>
                      <a:pt x="569" y="79"/>
                      <a:pt x="567" y="79"/>
                    </a:cubicBezTo>
                    <a:cubicBezTo>
                      <a:pt x="566" y="80"/>
                      <a:pt x="566" y="79"/>
                      <a:pt x="566" y="76"/>
                    </a:cubicBezTo>
                    <a:cubicBezTo>
                      <a:pt x="566" y="73"/>
                      <a:pt x="565" y="69"/>
                      <a:pt x="563" y="69"/>
                    </a:cubicBezTo>
                    <a:cubicBezTo>
                      <a:pt x="560" y="69"/>
                      <a:pt x="560" y="71"/>
                      <a:pt x="558" y="71"/>
                    </a:cubicBezTo>
                    <a:cubicBezTo>
                      <a:pt x="556" y="71"/>
                      <a:pt x="554" y="71"/>
                      <a:pt x="554" y="69"/>
                    </a:cubicBezTo>
                    <a:cubicBezTo>
                      <a:pt x="554" y="67"/>
                      <a:pt x="556" y="66"/>
                      <a:pt x="556" y="64"/>
                    </a:cubicBezTo>
                    <a:cubicBezTo>
                      <a:pt x="556" y="62"/>
                      <a:pt x="555" y="61"/>
                      <a:pt x="553" y="61"/>
                    </a:cubicBezTo>
                    <a:cubicBezTo>
                      <a:pt x="551" y="61"/>
                      <a:pt x="551" y="57"/>
                      <a:pt x="547" y="57"/>
                    </a:cubicBezTo>
                    <a:cubicBezTo>
                      <a:pt x="543" y="57"/>
                      <a:pt x="540" y="60"/>
                      <a:pt x="540" y="66"/>
                    </a:cubicBezTo>
                    <a:cubicBezTo>
                      <a:pt x="540" y="71"/>
                      <a:pt x="540" y="75"/>
                      <a:pt x="536" y="75"/>
                    </a:cubicBezTo>
                    <a:cubicBezTo>
                      <a:pt x="533" y="75"/>
                      <a:pt x="530" y="79"/>
                      <a:pt x="527" y="79"/>
                    </a:cubicBezTo>
                    <a:cubicBezTo>
                      <a:pt x="524" y="79"/>
                      <a:pt x="521" y="82"/>
                      <a:pt x="521" y="84"/>
                    </a:cubicBezTo>
                    <a:cubicBezTo>
                      <a:pt x="521" y="87"/>
                      <a:pt x="518" y="90"/>
                      <a:pt x="515" y="91"/>
                    </a:cubicBezTo>
                    <a:cubicBezTo>
                      <a:pt x="511" y="92"/>
                      <a:pt x="512" y="91"/>
                      <a:pt x="512" y="90"/>
                    </a:cubicBezTo>
                    <a:cubicBezTo>
                      <a:pt x="512" y="87"/>
                      <a:pt x="517" y="84"/>
                      <a:pt x="517" y="82"/>
                    </a:cubicBezTo>
                    <a:cubicBezTo>
                      <a:pt x="517" y="80"/>
                      <a:pt x="516" y="78"/>
                      <a:pt x="514" y="78"/>
                    </a:cubicBezTo>
                    <a:cubicBezTo>
                      <a:pt x="508" y="78"/>
                      <a:pt x="512" y="85"/>
                      <a:pt x="503" y="85"/>
                    </a:cubicBezTo>
                    <a:cubicBezTo>
                      <a:pt x="498" y="85"/>
                      <a:pt x="496" y="82"/>
                      <a:pt x="490" y="82"/>
                    </a:cubicBezTo>
                    <a:cubicBezTo>
                      <a:pt x="485" y="82"/>
                      <a:pt x="484" y="84"/>
                      <a:pt x="484" y="87"/>
                    </a:cubicBezTo>
                    <a:cubicBezTo>
                      <a:pt x="484" y="89"/>
                      <a:pt x="482" y="90"/>
                      <a:pt x="480" y="93"/>
                    </a:cubicBezTo>
                    <a:cubicBezTo>
                      <a:pt x="478" y="96"/>
                      <a:pt x="478" y="99"/>
                      <a:pt x="480" y="101"/>
                    </a:cubicBezTo>
                    <a:cubicBezTo>
                      <a:pt x="481" y="104"/>
                      <a:pt x="481" y="105"/>
                      <a:pt x="479" y="107"/>
                    </a:cubicBezTo>
                    <a:cubicBezTo>
                      <a:pt x="477" y="109"/>
                      <a:pt x="478" y="110"/>
                      <a:pt x="480" y="112"/>
                    </a:cubicBezTo>
                    <a:cubicBezTo>
                      <a:pt x="482" y="114"/>
                      <a:pt x="480" y="116"/>
                      <a:pt x="479" y="116"/>
                    </a:cubicBezTo>
                    <a:cubicBezTo>
                      <a:pt x="477" y="116"/>
                      <a:pt x="478" y="114"/>
                      <a:pt x="475" y="114"/>
                    </a:cubicBezTo>
                    <a:cubicBezTo>
                      <a:pt x="473" y="114"/>
                      <a:pt x="472" y="116"/>
                      <a:pt x="472" y="119"/>
                    </a:cubicBezTo>
                    <a:cubicBezTo>
                      <a:pt x="472" y="122"/>
                      <a:pt x="471" y="123"/>
                      <a:pt x="467" y="123"/>
                    </a:cubicBezTo>
                    <a:cubicBezTo>
                      <a:pt x="463" y="123"/>
                      <a:pt x="461" y="124"/>
                      <a:pt x="461" y="128"/>
                    </a:cubicBezTo>
                    <a:cubicBezTo>
                      <a:pt x="461" y="133"/>
                      <a:pt x="460" y="136"/>
                      <a:pt x="459" y="136"/>
                    </a:cubicBezTo>
                    <a:cubicBezTo>
                      <a:pt x="457" y="136"/>
                      <a:pt x="457" y="135"/>
                      <a:pt x="455" y="135"/>
                    </a:cubicBezTo>
                    <a:cubicBezTo>
                      <a:pt x="453" y="135"/>
                      <a:pt x="452" y="135"/>
                      <a:pt x="452" y="138"/>
                    </a:cubicBezTo>
                    <a:cubicBezTo>
                      <a:pt x="452" y="141"/>
                      <a:pt x="457" y="143"/>
                      <a:pt x="457" y="147"/>
                    </a:cubicBezTo>
                    <a:cubicBezTo>
                      <a:pt x="457" y="150"/>
                      <a:pt x="462" y="155"/>
                      <a:pt x="465" y="155"/>
                    </a:cubicBezTo>
                    <a:cubicBezTo>
                      <a:pt x="467" y="155"/>
                      <a:pt x="466" y="156"/>
                      <a:pt x="464" y="157"/>
                    </a:cubicBezTo>
                    <a:cubicBezTo>
                      <a:pt x="462" y="157"/>
                      <a:pt x="458" y="160"/>
                      <a:pt x="457" y="160"/>
                    </a:cubicBezTo>
                    <a:cubicBezTo>
                      <a:pt x="455" y="160"/>
                      <a:pt x="455" y="159"/>
                      <a:pt x="453" y="159"/>
                    </a:cubicBezTo>
                    <a:cubicBezTo>
                      <a:pt x="451" y="159"/>
                      <a:pt x="451" y="163"/>
                      <a:pt x="451" y="166"/>
                    </a:cubicBezTo>
                    <a:cubicBezTo>
                      <a:pt x="451" y="169"/>
                      <a:pt x="451" y="171"/>
                      <a:pt x="456" y="173"/>
                    </a:cubicBezTo>
                    <a:cubicBezTo>
                      <a:pt x="461" y="175"/>
                      <a:pt x="464" y="179"/>
                      <a:pt x="465" y="179"/>
                    </a:cubicBezTo>
                    <a:cubicBezTo>
                      <a:pt x="467" y="179"/>
                      <a:pt x="467" y="177"/>
                      <a:pt x="467" y="176"/>
                    </a:cubicBezTo>
                    <a:cubicBezTo>
                      <a:pt x="467" y="174"/>
                      <a:pt x="467" y="173"/>
                      <a:pt x="470" y="173"/>
                    </a:cubicBezTo>
                    <a:cubicBezTo>
                      <a:pt x="473" y="173"/>
                      <a:pt x="475" y="173"/>
                      <a:pt x="475" y="175"/>
                    </a:cubicBezTo>
                    <a:cubicBezTo>
                      <a:pt x="475" y="177"/>
                      <a:pt x="479" y="178"/>
                      <a:pt x="479" y="179"/>
                    </a:cubicBezTo>
                    <a:cubicBezTo>
                      <a:pt x="479" y="181"/>
                      <a:pt x="479" y="182"/>
                      <a:pt x="476" y="182"/>
                    </a:cubicBezTo>
                    <a:cubicBezTo>
                      <a:pt x="473" y="182"/>
                      <a:pt x="473" y="180"/>
                      <a:pt x="470" y="180"/>
                    </a:cubicBezTo>
                    <a:cubicBezTo>
                      <a:pt x="467" y="180"/>
                      <a:pt x="465" y="182"/>
                      <a:pt x="465" y="183"/>
                    </a:cubicBezTo>
                    <a:cubicBezTo>
                      <a:pt x="465" y="184"/>
                      <a:pt x="464" y="185"/>
                      <a:pt x="464" y="187"/>
                    </a:cubicBezTo>
                    <a:cubicBezTo>
                      <a:pt x="464" y="189"/>
                      <a:pt x="465" y="191"/>
                      <a:pt x="469" y="191"/>
                    </a:cubicBezTo>
                    <a:cubicBezTo>
                      <a:pt x="472" y="191"/>
                      <a:pt x="476" y="192"/>
                      <a:pt x="476" y="193"/>
                    </a:cubicBezTo>
                    <a:cubicBezTo>
                      <a:pt x="476" y="195"/>
                      <a:pt x="475" y="196"/>
                      <a:pt x="472" y="196"/>
                    </a:cubicBezTo>
                    <a:cubicBezTo>
                      <a:pt x="469" y="196"/>
                      <a:pt x="463" y="191"/>
                      <a:pt x="459" y="191"/>
                    </a:cubicBezTo>
                    <a:cubicBezTo>
                      <a:pt x="456" y="191"/>
                      <a:pt x="457" y="194"/>
                      <a:pt x="452" y="194"/>
                    </a:cubicBezTo>
                    <a:cubicBezTo>
                      <a:pt x="447" y="194"/>
                      <a:pt x="448" y="191"/>
                      <a:pt x="445" y="191"/>
                    </a:cubicBezTo>
                    <a:cubicBezTo>
                      <a:pt x="442" y="191"/>
                      <a:pt x="440" y="197"/>
                      <a:pt x="438" y="197"/>
                    </a:cubicBezTo>
                    <a:cubicBezTo>
                      <a:pt x="435" y="197"/>
                      <a:pt x="437" y="195"/>
                      <a:pt x="434" y="195"/>
                    </a:cubicBezTo>
                    <a:cubicBezTo>
                      <a:pt x="431" y="195"/>
                      <a:pt x="430" y="197"/>
                      <a:pt x="430" y="198"/>
                    </a:cubicBezTo>
                    <a:cubicBezTo>
                      <a:pt x="430" y="200"/>
                      <a:pt x="430" y="201"/>
                      <a:pt x="433" y="201"/>
                    </a:cubicBezTo>
                    <a:cubicBezTo>
                      <a:pt x="436" y="201"/>
                      <a:pt x="443" y="211"/>
                      <a:pt x="447" y="211"/>
                    </a:cubicBezTo>
                    <a:cubicBezTo>
                      <a:pt x="449" y="211"/>
                      <a:pt x="454" y="217"/>
                      <a:pt x="457" y="219"/>
                    </a:cubicBezTo>
                    <a:cubicBezTo>
                      <a:pt x="460" y="221"/>
                      <a:pt x="459" y="223"/>
                      <a:pt x="457" y="223"/>
                    </a:cubicBezTo>
                    <a:cubicBezTo>
                      <a:pt x="454" y="223"/>
                      <a:pt x="451" y="220"/>
                      <a:pt x="448" y="217"/>
                    </a:cubicBezTo>
                    <a:cubicBezTo>
                      <a:pt x="446" y="215"/>
                      <a:pt x="444" y="214"/>
                      <a:pt x="440" y="214"/>
                    </a:cubicBezTo>
                    <a:cubicBezTo>
                      <a:pt x="436" y="214"/>
                      <a:pt x="433" y="214"/>
                      <a:pt x="433" y="216"/>
                    </a:cubicBezTo>
                    <a:cubicBezTo>
                      <a:pt x="433" y="218"/>
                      <a:pt x="438" y="218"/>
                      <a:pt x="441" y="218"/>
                    </a:cubicBezTo>
                    <a:cubicBezTo>
                      <a:pt x="444" y="218"/>
                      <a:pt x="446" y="221"/>
                      <a:pt x="448" y="222"/>
                    </a:cubicBezTo>
                    <a:cubicBezTo>
                      <a:pt x="450" y="224"/>
                      <a:pt x="451" y="226"/>
                      <a:pt x="448" y="226"/>
                    </a:cubicBezTo>
                    <a:cubicBezTo>
                      <a:pt x="445" y="226"/>
                      <a:pt x="442" y="225"/>
                      <a:pt x="440" y="225"/>
                    </a:cubicBezTo>
                    <a:cubicBezTo>
                      <a:pt x="437" y="225"/>
                      <a:pt x="438" y="221"/>
                      <a:pt x="433" y="221"/>
                    </a:cubicBezTo>
                    <a:cubicBezTo>
                      <a:pt x="431" y="221"/>
                      <a:pt x="429" y="219"/>
                      <a:pt x="425" y="219"/>
                    </a:cubicBezTo>
                    <a:cubicBezTo>
                      <a:pt x="420" y="219"/>
                      <a:pt x="417" y="218"/>
                      <a:pt x="411" y="218"/>
                    </a:cubicBezTo>
                    <a:cubicBezTo>
                      <a:pt x="405" y="218"/>
                      <a:pt x="404" y="223"/>
                      <a:pt x="401" y="225"/>
                    </a:cubicBezTo>
                    <a:cubicBezTo>
                      <a:pt x="398" y="227"/>
                      <a:pt x="396" y="231"/>
                      <a:pt x="393" y="231"/>
                    </a:cubicBezTo>
                    <a:cubicBezTo>
                      <a:pt x="390" y="231"/>
                      <a:pt x="389" y="235"/>
                      <a:pt x="389" y="238"/>
                    </a:cubicBezTo>
                    <a:cubicBezTo>
                      <a:pt x="389" y="241"/>
                      <a:pt x="386" y="243"/>
                      <a:pt x="383" y="243"/>
                    </a:cubicBezTo>
                    <a:cubicBezTo>
                      <a:pt x="377" y="243"/>
                      <a:pt x="377" y="243"/>
                      <a:pt x="377" y="243"/>
                    </a:cubicBezTo>
                    <a:cubicBezTo>
                      <a:pt x="377" y="246"/>
                      <a:pt x="377" y="246"/>
                      <a:pt x="377" y="246"/>
                    </a:cubicBezTo>
                    <a:cubicBezTo>
                      <a:pt x="377" y="249"/>
                      <a:pt x="381" y="249"/>
                      <a:pt x="381" y="252"/>
                    </a:cubicBezTo>
                    <a:cubicBezTo>
                      <a:pt x="381" y="254"/>
                      <a:pt x="378" y="253"/>
                      <a:pt x="378" y="256"/>
                    </a:cubicBezTo>
                    <a:cubicBezTo>
                      <a:pt x="378" y="258"/>
                      <a:pt x="388" y="265"/>
                      <a:pt x="392" y="265"/>
                    </a:cubicBezTo>
                    <a:cubicBezTo>
                      <a:pt x="395" y="265"/>
                      <a:pt x="398" y="269"/>
                      <a:pt x="399" y="269"/>
                    </a:cubicBezTo>
                    <a:cubicBezTo>
                      <a:pt x="401" y="269"/>
                      <a:pt x="401" y="269"/>
                      <a:pt x="401" y="271"/>
                    </a:cubicBezTo>
                    <a:cubicBezTo>
                      <a:pt x="401" y="274"/>
                      <a:pt x="406" y="274"/>
                      <a:pt x="410" y="274"/>
                    </a:cubicBezTo>
                    <a:cubicBezTo>
                      <a:pt x="415" y="274"/>
                      <a:pt x="418" y="276"/>
                      <a:pt x="424" y="276"/>
                    </a:cubicBezTo>
                    <a:cubicBezTo>
                      <a:pt x="431" y="276"/>
                      <a:pt x="444" y="272"/>
                      <a:pt x="444" y="272"/>
                    </a:cubicBezTo>
                    <a:cubicBezTo>
                      <a:pt x="444" y="274"/>
                      <a:pt x="444" y="274"/>
                      <a:pt x="444" y="274"/>
                    </a:cubicBezTo>
                    <a:cubicBezTo>
                      <a:pt x="444" y="276"/>
                      <a:pt x="444" y="279"/>
                      <a:pt x="446" y="279"/>
                    </a:cubicBezTo>
                    <a:cubicBezTo>
                      <a:pt x="449" y="279"/>
                      <a:pt x="451" y="274"/>
                      <a:pt x="455" y="274"/>
                    </a:cubicBezTo>
                    <a:cubicBezTo>
                      <a:pt x="458" y="274"/>
                      <a:pt x="459" y="272"/>
                      <a:pt x="461" y="272"/>
                    </a:cubicBezTo>
                    <a:cubicBezTo>
                      <a:pt x="463" y="272"/>
                      <a:pt x="464" y="272"/>
                      <a:pt x="464" y="275"/>
                    </a:cubicBezTo>
                    <a:cubicBezTo>
                      <a:pt x="464" y="278"/>
                      <a:pt x="461" y="279"/>
                      <a:pt x="458" y="281"/>
                    </a:cubicBezTo>
                    <a:cubicBezTo>
                      <a:pt x="455" y="283"/>
                      <a:pt x="451" y="286"/>
                      <a:pt x="450" y="288"/>
                    </a:cubicBezTo>
                    <a:cubicBezTo>
                      <a:pt x="450" y="290"/>
                      <a:pt x="448" y="294"/>
                      <a:pt x="450" y="294"/>
                    </a:cubicBezTo>
                    <a:cubicBezTo>
                      <a:pt x="453" y="294"/>
                      <a:pt x="456" y="285"/>
                      <a:pt x="461" y="285"/>
                    </a:cubicBezTo>
                    <a:cubicBezTo>
                      <a:pt x="464" y="285"/>
                      <a:pt x="469" y="278"/>
                      <a:pt x="473" y="273"/>
                    </a:cubicBezTo>
                    <a:cubicBezTo>
                      <a:pt x="477" y="268"/>
                      <a:pt x="483" y="265"/>
                      <a:pt x="484" y="265"/>
                    </a:cubicBezTo>
                    <a:cubicBezTo>
                      <a:pt x="486" y="265"/>
                      <a:pt x="486" y="266"/>
                      <a:pt x="486" y="269"/>
                    </a:cubicBezTo>
                    <a:cubicBezTo>
                      <a:pt x="486" y="273"/>
                      <a:pt x="483" y="275"/>
                      <a:pt x="483" y="277"/>
                    </a:cubicBezTo>
                    <a:cubicBezTo>
                      <a:pt x="483" y="279"/>
                      <a:pt x="483" y="280"/>
                      <a:pt x="488" y="280"/>
                    </a:cubicBezTo>
                    <a:cubicBezTo>
                      <a:pt x="493" y="280"/>
                      <a:pt x="498" y="272"/>
                      <a:pt x="502" y="272"/>
                    </a:cubicBezTo>
                    <a:cubicBezTo>
                      <a:pt x="505" y="272"/>
                      <a:pt x="508" y="268"/>
                      <a:pt x="509" y="268"/>
                    </a:cubicBezTo>
                    <a:cubicBezTo>
                      <a:pt x="511" y="268"/>
                      <a:pt x="512" y="268"/>
                      <a:pt x="515" y="267"/>
                    </a:cubicBezTo>
                    <a:cubicBezTo>
                      <a:pt x="517" y="266"/>
                      <a:pt x="517" y="266"/>
                      <a:pt x="517" y="268"/>
                    </a:cubicBezTo>
                    <a:cubicBezTo>
                      <a:pt x="517" y="270"/>
                      <a:pt x="521" y="271"/>
                      <a:pt x="521" y="274"/>
                    </a:cubicBezTo>
                    <a:cubicBezTo>
                      <a:pt x="521" y="278"/>
                      <a:pt x="519" y="279"/>
                      <a:pt x="517" y="279"/>
                    </a:cubicBezTo>
                    <a:cubicBezTo>
                      <a:pt x="515" y="279"/>
                      <a:pt x="514" y="274"/>
                      <a:pt x="512" y="274"/>
                    </a:cubicBezTo>
                    <a:cubicBezTo>
                      <a:pt x="511" y="274"/>
                      <a:pt x="511" y="275"/>
                      <a:pt x="511" y="277"/>
                    </a:cubicBezTo>
                    <a:cubicBezTo>
                      <a:pt x="511" y="279"/>
                      <a:pt x="512" y="280"/>
                      <a:pt x="510" y="282"/>
                    </a:cubicBezTo>
                    <a:cubicBezTo>
                      <a:pt x="507" y="284"/>
                      <a:pt x="508" y="285"/>
                      <a:pt x="505" y="288"/>
                    </a:cubicBezTo>
                    <a:cubicBezTo>
                      <a:pt x="502" y="290"/>
                      <a:pt x="502" y="292"/>
                      <a:pt x="502" y="296"/>
                    </a:cubicBezTo>
                    <a:cubicBezTo>
                      <a:pt x="502" y="300"/>
                      <a:pt x="499" y="304"/>
                      <a:pt x="495" y="304"/>
                    </a:cubicBezTo>
                    <a:cubicBezTo>
                      <a:pt x="492" y="304"/>
                      <a:pt x="490" y="307"/>
                      <a:pt x="490" y="309"/>
                    </a:cubicBezTo>
                    <a:cubicBezTo>
                      <a:pt x="490" y="311"/>
                      <a:pt x="491" y="311"/>
                      <a:pt x="491" y="313"/>
                    </a:cubicBezTo>
                    <a:cubicBezTo>
                      <a:pt x="491" y="317"/>
                      <a:pt x="487" y="325"/>
                      <a:pt x="480" y="325"/>
                    </a:cubicBezTo>
                    <a:cubicBezTo>
                      <a:pt x="473" y="325"/>
                      <a:pt x="468" y="330"/>
                      <a:pt x="463" y="330"/>
                    </a:cubicBezTo>
                    <a:cubicBezTo>
                      <a:pt x="458" y="330"/>
                      <a:pt x="458" y="333"/>
                      <a:pt x="454" y="333"/>
                    </a:cubicBezTo>
                    <a:cubicBezTo>
                      <a:pt x="452" y="333"/>
                      <a:pt x="454" y="328"/>
                      <a:pt x="449" y="328"/>
                    </a:cubicBezTo>
                    <a:cubicBezTo>
                      <a:pt x="447" y="328"/>
                      <a:pt x="444" y="331"/>
                      <a:pt x="444" y="334"/>
                    </a:cubicBezTo>
                    <a:cubicBezTo>
                      <a:pt x="444" y="336"/>
                      <a:pt x="445" y="336"/>
                      <a:pt x="445" y="339"/>
                    </a:cubicBezTo>
                    <a:cubicBezTo>
                      <a:pt x="445" y="342"/>
                      <a:pt x="441" y="345"/>
                      <a:pt x="438" y="348"/>
                    </a:cubicBezTo>
                    <a:cubicBezTo>
                      <a:pt x="435" y="350"/>
                      <a:pt x="434" y="353"/>
                      <a:pt x="432" y="353"/>
                    </a:cubicBezTo>
                    <a:cubicBezTo>
                      <a:pt x="430" y="353"/>
                      <a:pt x="430" y="351"/>
                      <a:pt x="428" y="351"/>
                    </a:cubicBezTo>
                    <a:cubicBezTo>
                      <a:pt x="426" y="351"/>
                      <a:pt x="425" y="351"/>
                      <a:pt x="425" y="354"/>
                    </a:cubicBezTo>
                    <a:cubicBezTo>
                      <a:pt x="425" y="357"/>
                      <a:pt x="421" y="359"/>
                      <a:pt x="418" y="359"/>
                    </a:cubicBezTo>
                    <a:cubicBezTo>
                      <a:pt x="415" y="359"/>
                      <a:pt x="414" y="361"/>
                      <a:pt x="414" y="362"/>
                    </a:cubicBezTo>
                    <a:cubicBezTo>
                      <a:pt x="414" y="363"/>
                      <a:pt x="412" y="364"/>
                      <a:pt x="410" y="364"/>
                    </a:cubicBezTo>
                    <a:cubicBezTo>
                      <a:pt x="407" y="364"/>
                      <a:pt x="403" y="363"/>
                      <a:pt x="403" y="369"/>
                    </a:cubicBezTo>
                    <a:cubicBezTo>
                      <a:pt x="403" y="374"/>
                      <a:pt x="408" y="374"/>
                      <a:pt x="408" y="376"/>
                    </a:cubicBezTo>
                    <a:cubicBezTo>
                      <a:pt x="408" y="379"/>
                      <a:pt x="409" y="381"/>
                      <a:pt x="410" y="381"/>
                    </a:cubicBezTo>
                    <a:cubicBezTo>
                      <a:pt x="413" y="381"/>
                      <a:pt x="412" y="376"/>
                      <a:pt x="417" y="376"/>
                    </a:cubicBezTo>
                    <a:cubicBezTo>
                      <a:pt x="420" y="376"/>
                      <a:pt x="420" y="375"/>
                      <a:pt x="427" y="375"/>
                    </a:cubicBezTo>
                    <a:cubicBezTo>
                      <a:pt x="433" y="375"/>
                      <a:pt x="434" y="379"/>
                      <a:pt x="436" y="379"/>
                    </a:cubicBezTo>
                    <a:cubicBezTo>
                      <a:pt x="438" y="379"/>
                      <a:pt x="439" y="380"/>
                      <a:pt x="439" y="381"/>
                    </a:cubicBezTo>
                    <a:cubicBezTo>
                      <a:pt x="439" y="383"/>
                      <a:pt x="439" y="384"/>
                      <a:pt x="438" y="384"/>
                    </a:cubicBezTo>
                    <a:cubicBezTo>
                      <a:pt x="436" y="384"/>
                      <a:pt x="435" y="382"/>
                      <a:pt x="433" y="382"/>
                    </a:cubicBezTo>
                    <a:cubicBezTo>
                      <a:pt x="428" y="382"/>
                      <a:pt x="429" y="378"/>
                      <a:pt x="426" y="379"/>
                    </a:cubicBezTo>
                    <a:cubicBezTo>
                      <a:pt x="423" y="381"/>
                      <a:pt x="427" y="385"/>
                      <a:pt x="431" y="388"/>
                    </a:cubicBezTo>
                    <a:cubicBezTo>
                      <a:pt x="435" y="391"/>
                      <a:pt x="439" y="389"/>
                      <a:pt x="441" y="392"/>
                    </a:cubicBezTo>
                    <a:cubicBezTo>
                      <a:pt x="444" y="396"/>
                      <a:pt x="442" y="396"/>
                      <a:pt x="438" y="396"/>
                    </a:cubicBezTo>
                    <a:cubicBezTo>
                      <a:pt x="434" y="396"/>
                      <a:pt x="430" y="399"/>
                      <a:pt x="428" y="399"/>
                    </a:cubicBezTo>
                    <a:cubicBezTo>
                      <a:pt x="425" y="399"/>
                      <a:pt x="425" y="396"/>
                      <a:pt x="421" y="396"/>
                    </a:cubicBezTo>
                    <a:cubicBezTo>
                      <a:pt x="418" y="396"/>
                      <a:pt x="415" y="401"/>
                      <a:pt x="415" y="403"/>
                    </a:cubicBezTo>
                    <a:cubicBezTo>
                      <a:pt x="415" y="404"/>
                      <a:pt x="417" y="405"/>
                      <a:pt x="419" y="405"/>
                    </a:cubicBezTo>
                    <a:cubicBezTo>
                      <a:pt x="422" y="405"/>
                      <a:pt x="422" y="406"/>
                      <a:pt x="424" y="410"/>
                    </a:cubicBezTo>
                    <a:cubicBezTo>
                      <a:pt x="426" y="415"/>
                      <a:pt x="432" y="417"/>
                      <a:pt x="434" y="418"/>
                    </a:cubicBezTo>
                    <a:cubicBezTo>
                      <a:pt x="436" y="419"/>
                      <a:pt x="435" y="422"/>
                      <a:pt x="433" y="422"/>
                    </a:cubicBezTo>
                    <a:cubicBezTo>
                      <a:pt x="431" y="422"/>
                      <a:pt x="431" y="420"/>
                      <a:pt x="429" y="420"/>
                    </a:cubicBezTo>
                    <a:cubicBezTo>
                      <a:pt x="426" y="420"/>
                      <a:pt x="426" y="422"/>
                      <a:pt x="424" y="422"/>
                    </a:cubicBezTo>
                    <a:cubicBezTo>
                      <a:pt x="422" y="422"/>
                      <a:pt x="421" y="421"/>
                      <a:pt x="421" y="420"/>
                    </a:cubicBezTo>
                    <a:cubicBezTo>
                      <a:pt x="421" y="417"/>
                      <a:pt x="409" y="413"/>
                      <a:pt x="409" y="408"/>
                    </a:cubicBezTo>
                    <a:cubicBezTo>
                      <a:pt x="409" y="404"/>
                      <a:pt x="405" y="398"/>
                      <a:pt x="401" y="398"/>
                    </a:cubicBezTo>
                    <a:cubicBezTo>
                      <a:pt x="396" y="398"/>
                      <a:pt x="396" y="400"/>
                      <a:pt x="391" y="400"/>
                    </a:cubicBezTo>
                    <a:cubicBezTo>
                      <a:pt x="387" y="400"/>
                      <a:pt x="387" y="397"/>
                      <a:pt x="384" y="397"/>
                    </a:cubicBezTo>
                    <a:cubicBezTo>
                      <a:pt x="378" y="397"/>
                      <a:pt x="375" y="403"/>
                      <a:pt x="371" y="403"/>
                    </a:cubicBezTo>
                    <a:cubicBezTo>
                      <a:pt x="367" y="403"/>
                      <a:pt x="367" y="400"/>
                      <a:pt x="362" y="400"/>
                    </a:cubicBezTo>
                    <a:cubicBezTo>
                      <a:pt x="357" y="400"/>
                      <a:pt x="351" y="391"/>
                      <a:pt x="345" y="391"/>
                    </a:cubicBezTo>
                    <a:cubicBezTo>
                      <a:pt x="340" y="391"/>
                      <a:pt x="337" y="390"/>
                      <a:pt x="330" y="390"/>
                    </a:cubicBezTo>
                    <a:cubicBezTo>
                      <a:pt x="324" y="390"/>
                      <a:pt x="322" y="391"/>
                      <a:pt x="321" y="395"/>
                    </a:cubicBezTo>
                    <a:cubicBezTo>
                      <a:pt x="320" y="399"/>
                      <a:pt x="318" y="402"/>
                      <a:pt x="318" y="405"/>
                    </a:cubicBezTo>
                    <a:cubicBezTo>
                      <a:pt x="318" y="408"/>
                      <a:pt x="314" y="416"/>
                      <a:pt x="311" y="419"/>
                    </a:cubicBezTo>
                    <a:cubicBezTo>
                      <a:pt x="308" y="422"/>
                      <a:pt x="310" y="426"/>
                      <a:pt x="308" y="429"/>
                    </a:cubicBezTo>
                    <a:cubicBezTo>
                      <a:pt x="307" y="432"/>
                      <a:pt x="306" y="439"/>
                      <a:pt x="304" y="439"/>
                    </a:cubicBezTo>
                    <a:cubicBezTo>
                      <a:pt x="303" y="439"/>
                      <a:pt x="303" y="438"/>
                      <a:pt x="303" y="434"/>
                    </a:cubicBezTo>
                    <a:cubicBezTo>
                      <a:pt x="303" y="430"/>
                      <a:pt x="301" y="429"/>
                      <a:pt x="300" y="426"/>
                    </a:cubicBezTo>
                    <a:cubicBezTo>
                      <a:pt x="299" y="422"/>
                      <a:pt x="295" y="422"/>
                      <a:pt x="291" y="420"/>
                    </a:cubicBezTo>
                    <a:cubicBezTo>
                      <a:pt x="286" y="418"/>
                      <a:pt x="289" y="414"/>
                      <a:pt x="291" y="413"/>
                    </a:cubicBezTo>
                    <a:cubicBezTo>
                      <a:pt x="292" y="411"/>
                      <a:pt x="292" y="408"/>
                      <a:pt x="291" y="406"/>
                    </a:cubicBezTo>
                    <a:cubicBezTo>
                      <a:pt x="289" y="404"/>
                      <a:pt x="291" y="402"/>
                      <a:pt x="291" y="399"/>
                    </a:cubicBezTo>
                    <a:cubicBezTo>
                      <a:pt x="291" y="395"/>
                      <a:pt x="290" y="393"/>
                      <a:pt x="288" y="393"/>
                    </a:cubicBezTo>
                    <a:cubicBezTo>
                      <a:pt x="286" y="393"/>
                      <a:pt x="286" y="396"/>
                      <a:pt x="284" y="396"/>
                    </a:cubicBezTo>
                    <a:cubicBezTo>
                      <a:pt x="282" y="396"/>
                      <a:pt x="282" y="396"/>
                      <a:pt x="282" y="392"/>
                    </a:cubicBezTo>
                    <a:cubicBezTo>
                      <a:pt x="282" y="388"/>
                      <a:pt x="281" y="384"/>
                      <a:pt x="276" y="384"/>
                    </a:cubicBezTo>
                    <a:cubicBezTo>
                      <a:pt x="271" y="384"/>
                      <a:pt x="268" y="378"/>
                      <a:pt x="264" y="378"/>
                    </a:cubicBezTo>
                    <a:cubicBezTo>
                      <a:pt x="260" y="378"/>
                      <a:pt x="257" y="387"/>
                      <a:pt x="254" y="387"/>
                    </a:cubicBezTo>
                    <a:cubicBezTo>
                      <a:pt x="251" y="387"/>
                      <a:pt x="249" y="383"/>
                      <a:pt x="246" y="383"/>
                    </a:cubicBezTo>
                    <a:cubicBezTo>
                      <a:pt x="240" y="383"/>
                      <a:pt x="240" y="383"/>
                      <a:pt x="240" y="383"/>
                    </a:cubicBezTo>
                    <a:cubicBezTo>
                      <a:pt x="234" y="383"/>
                      <a:pt x="232" y="378"/>
                      <a:pt x="229" y="378"/>
                    </a:cubicBezTo>
                    <a:cubicBezTo>
                      <a:pt x="226" y="378"/>
                      <a:pt x="227" y="380"/>
                      <a:pt x="224" y="380"/>
                    </a:cubicBezTo>
                    <a:cubicBezTo>
                      <a:pt x="222" y="380"/>
                      <a:pt x="222" y="379"/>
                      <a:pt x="220" y="379"/>
                    </a:cubicBezTo>
                    <a:cubicBezTo>
                      <a:pt x="219" y="379"/>
                      <a:pt x="219" y="381"/>
                      <a:pt x="217" y="381"/>
                    </a:cubicBezTo>
                    <a:cubicBezTo>
                      <a:pt x="215" y="381"/>
                      <a:pt x="213" y="378"/>
                      <a:pt x="209" y="378"/>
                    </a:cubicBezTo>
                    <a:cubicBezTo>
                      <a:pt x="205" y="378"/>
                      <a:pt x="205" y="377"/>
                      <a:pt x="200" y="377"/>
                    </a:cubicBezTo>
                    <a:cubicBezTo>
                      <a:pt x="196" y="377"/>
                      <a:pt x="196" y="380"/>
                      <a:pt x="193" y="380"/>
                    </a:cubicBezTo>
                    <a:cubicBezTo>
                      <a:pt x="187" y="380"/>
                      <a:pt x="176" y="369"/>
                      <a:pt x="167" y="369"/>
                    </a:cubicBezTo>
                    <a:cubicBezTo>
                      <a:pt x="159" y="369"/>
                      <a:pt x="151" y="378"/>
                      <a:pt x="151" y="381"/>
                    </a:cubicBezTo>
                    <a:cubicBezTo>
                      <a:pt x="151" y="383"/>
                      <a:pt x="153" y="385"/>
                      <a:pt x="155" y="385"/>
                    </a:cubicBezTo>
                    <a:cubicBezTo>
                      <a:pt x="158" y="385"/>
                      <a:pt x="160" y="387"/>
                      <a:pt x="163" y="387"/>
                    </a:cubicBezTo>
                    <a:cubicBezTo>
                      <a:pt x="167" y="387"/>
                      <a:pt x="167" y="388"/>
                      <a:pt x="167" y="389"/>
                    </a:cubicBezTo>
                    <a:cubicBezTo>
                      <a:pt x="167" y="390"/>
                      <a:pt x="167" y="392"/>
                      <a:pt x="170" y="394"/>
                    </a:cubicBezTo>
                    <a:cubicBezTo>
                      <a:pt x="172" y="395"/>
                      <a:pt x="175" y="399"/>
                      <a:pt x="171" y="399"/>
                    </a:cubicBezTo>
                    <a:cubicBezTo>
                      <a:pt x="166" y="399"/>
                      <a:pt x="165" y="392"/>
                      <a:pt x="158" y="392"/>
                    </a:cubicBezTo>
                    <a:cubicBezTo>
                      <a:pt x="152" y="392"/>
                      <a:pt x="149" y="399"/>
                      <a:pt x="149" y="404"/>
                    </a:cubicBezTo>
                    <a:cubicBezTo>
                      <a:pt x="149" y="410"/>
                      <a:pt x="146" y="409"/>
                      <a:pt x="146" y="412"/>
                    </a:cubicBezTo>
                    <a:cubicBezTo>
                      <a:pt x="146" y="415"/>
                      <a:pt x="145" y="415"/>
                      <a:pt x="141" y="415"/>
                    </a:cubicBezTo>
                    <a:cubicBezTo>
                      <a:pt x="137" y="415"/>
                      <a:pt x="140" y="414"/>
                      <a:pt x="133" y="414"/>
                    </a:cubicBezTo>
                    <a:cubicBezTo>
                      <a:pt x="127" y="414"/>
                      <a:pt x="126" y="404"/>
                      <a:pt x="128" y="404"/>
                    </a:cubicBezTo>
                    <a:cubicBezTo>
                      <a:pt x="131" y="404"/>
                      <a:pt x="131" y="410"/>
                      <a:pt x="138" y="410"/>
                    </a:cubicBezTo>
                    <a:cubicBezTo>
                      <a:pt x="143" y="410"/>
                      <a:pt x="144" y="405"/>
                      <a:pt x="144" y="401"/>
                    </a:cubicBezTo>
                    <a:cubicBezTo>
                      <a:pt x="144" y="397"/>
                      <a:pt x="140" y="396"/>
                      <a:pt x="134" y="396"/>
                    </a:cubicBezTo>
                    <a:cubicBezTo>
                      <a:pt x="128" y="396"/>
                      <a:pt x="128" y="382"/>
                      <a:pt x="123" y="382"/>
                    </a:cubicBezTo>
                    <a:cubicBezTo>
                      <a:pt x="119" y="382"/>
                      <a:pt x="119" y="391"/>
                      <a:pt x="113" y="391"/>
                    </a:cubicBezTo>
                    <a:cubicBezTo>
                      <a:pt x="108" y="391"/>
                      <a:pt x="106" y="400"/>
                      <a:pt x="106" y="402"/>
                    </a:cubicBezTo>
                    <a:cubicBezTo>
                      <a:pt x="106" y="404"/>
                      <a:pt x="101" y="404"/>
                      <a:pt x="101" y="406"/>
                    </a:cubicBezTo>
                    <a:cubicBezTo>
                      <a:pt x="101" y="409"/>
                      <a:pt x="103" y="411"/>
                      <a:pt x="105" y="411"/>
                    </a:cubicBezTo>
                    <a:cubicBezTo>
                      <a:pt x="108" y="411"/>
                      <a:pt x="110" y="410"/>
                      <a:pt x="110" y="412"/>
                    </a:cubicBezTo>
                    <a:cubicBezTo>
                      <a:pt x="110" y="415"/>
                      <a:pt x="109" y="416"/>
                      <a:pt x="106" y="417"/>
                    </a:cubicBezTo>
                    <a:cubicBezTo>
                      <a:pt x="102" y="419"/>
                      <a:pt x="105" y="422"/>
                      <a:pt x="104" y="424"/>
                    </a:cubicBezTo>
                    <a:cubicBezTo>
                      <a:pt x="102" y="428"/>
                      <a:pt x="95" y="443"/>
                      <a:pt x="95" y="451"/>
                    </a:cubicBezTo>
                    <a:cubicBezTo>
                      <a:pt x="95" y="456"/>
                      <a:pt x="101" y="458"/>
                      <a:pt x="104" y="458"/>
                    </a:cubicBezTo>
                    <a:cubicBezTo>
                      <a:pt x="108" y="458"/>
                      <a:pt x="109" y="458"/>
                      <a:pt x="109" y="455"/>
                    </a:cubicBezTo>
                    <a:cubicBezTo>
                      <a:pt x="109" y="453"/>
                      <a:pt x="108" y="451"/>
                      <a:pt x="106" y="449"/>
                    </a:cubicBezTo>
                    <a:cubicBezTo>
                      <a:pt x="103" y="448"/>
                      <a:pt x="103" y="446"/>
                      <a:pt x="105" y="446"/>
                    </a:cubicBezTo>
                    <a:cubicBezTo>
                      <a:pt x="107" y="446"/>
                      <a:pt x="107" y="446"/>
                      <a:pt x="107" y="444"/>
                    </a:cubicBezTo>
                    <a:cubicBezTo>
                      <a:pt x="107" y="442"/>
                      <a:pt x="109" y="442"/>
                      <a:pt x="109" y="439"/>
                    </a:cubicBezTo>
                    <a:cubicBezTo>
                      <a:pt x="109" y="436"/>
                      <a:pt x="106" y="437"/>
                      <a:pt x="106" y="435"/>
                    </a:cubicBezTo>
                    <a:cubicBezTo>
                      <a:pt x="106" y="432"/>
                      <a:pt x="108" y="431"/>
                      <a:pt x="110" y="431"/>
                    </a:cubicBezTo>
                    <a:cubicBezTo>
                      <a:pt x="112" y="431"/>
                      <a:pt x="112" y="431"/>
                      <a:pt x="114" y="431"/>
                    </a:cubicBezTo>
                    <a:cubicBezTo>
                      <a:pt x="115" y="430"/>
                      <a:pt x="113" y="428"/>
                      <a:pt x="113" y="427"/>
                    </a:cubicBezTo>
                    <a:cubicBezTo>
                      <a:pt x="113" y="426"/>
                      <a:pt x="113" y="424"/>
                      <a:pt x="114" y="424"/>
                    </a:cubicBezTo>
                    <a:cubicBezTo>
                      <a:pt x="116" y="424"/>
                      <a:pt x="116" y="426"/>
                      <a:pt x="118" y="426"/>
                    </a:cubicBezTo>
                    <a:cubicBezTo>
                      <a:pt x="120" y="426"/>
                      <a:pt x="121" y="425"/>
                      <a:pt x="121" y="423"/>
                    </a:cubicBezTo>
                    <a:cubicBezTo>
                      <a:pt x="121" y="420"/>
                      <a:pt x="119" y="419"/>
                      <a:pt x="119" y="417"/>
                    </a:cubicBezTo>
                    <a:cubicBezTo>
                      <a:pt x="119" y="415"/>
                      <a:pt x="119" y="411"/>
                      <a:pt x="121" y="411"/>
                    </a:cubicBezTo>
                    <a:cubicBezTo>
                      <a:pt x="124" y="411"/>
                      <a:pt x="127" y="417"/>
                      <a:pt x="129" y="420"/>
                    </a:cubicBezTo>
                    <a:cubicBezTo>
                      <a:pt x="132" y="423"/>
                      <a:pt x="135" y="421"/>
                      <a:pt x="135" y="425"/>
                    </a:cubicBezTo>
                    <a:cubicBezTo>
                      <a:pt x="135" y="428"/>
                      <a:pt x="131" y="426"/>
                      <a:pt x="130" y="428"/>
                    </a:cubicBezTo>
                    <a:cubicBezTo>
                      <a:pt x="129" y="430"/>
                      <a:pt x="134" y="433"/>
                      <a:pt x="135" y="434"/>
                    </a:cubicBezTo>
                    <a:cubicBezTo>
                      <a:pt x="137" y="435"/>
                      <a:pt x="135" y="438"/>
                      <a:pt x="133" y="438"/>
                    </a:cubicBezTo>
                    <a:cubicBezTo>
                      <a:pt x="132" y="438"/>
                      <a:pt x="132" y="440"/>
                      <a:pt x="133" y="441"/>
                    </a:cubicBezTo>
                    <a:cubicBezTo>
                      <a:pt x="134" y="443"/>
                      <a:pt x="135" y="446"/>
                      <a:pt x="138" y="446"/>
                    </a:cubicBezTo>
                    <a:cubicBezTo>
                      <a:pt x="141" y="446"/>
                      <a:pt x="141" y="449"/>
                      <a:pt x="138" y="449"/>
                    </a:cubicBezTo>
                    <a:cubicBezTo>
                      <a:pt x="135" y="449"/>
                      <a:pt x="126" y="453"/>
                      <a:pt x="126" y="456"/>
                    </a:cubicBezTo>
                    <a:cubicBezTo>
                      <a:pt x="126" y="459"/>
                      <a:pt x="130" y="463"/>
                      <a:pt x="130" y="465"/>
                    </a:cubicBezTo>
                    <a:cubicBezTo>
                      <a:pt x="130" y="467"/>
                      <a:pt x="129" y="469"/>
                      <a:pt x="134" y="469"/>
                    </a:cubicBezTo>
                    <a:cubicBezTo>
                      <a:pt x="140" y="469"/>
                      <a:pt x="146" y="461"/>
                      <a:pt x="146" y="460"/>
                    </a:cubicBezTo>
                    <a:cubicBezTo>
                      <a:pt x="146" y="458"/>
                      <a:pt x="145" y="456"/>
                      <a:pt x="146" y="456"/>
                    </a:cubicBezTo>
                    <a:cubicBezTo>
                      <a:pt x="148" y="456"/>
                      <a:pt x="148" y="455"/>
                      <a:pt x="148" y="453"/>
                    </a:cubicBezTo>
                    <a:cubicBezTo>
                      <a:pt x="148" y="451"/>
                      <a:pt x="151" y="450"/>
                      <a:pt x="154" y="450"/>
                    </a:cubicBezTo>
                    <a:cubicBezTo>
                      <a:pt x="158" y="450"/>
                      <a:pt x="157" y="453"/>
                      <a:pt x="155" y="453"/>
                    </a:cubicBezTo>
                    <a:cubicBezTo>
                      <a:pt x="154" y="453"/>
                      <a:pt x="153" y="455"/>
                      <a:pt x="153" y="458"/>
                    </a:cubicBezTo>
                    <a:cubicBezTo>
                      <a:pt x="153" y="460"/>
                      <a:pt x="148" y="461"/>
                      <a:pt x="148" y="463"/>
                    </a:cubicBezTo>
                    <a:cubicBezTo>
                      <a:pt x="148" y="465"/>
                      <a:pt x="150" y="465"/>
                      <a:pt x="150" y="467"/>
                    </a:cubicBezTo>
                    <a:cubicBezTo>
                      <a:pt x="150" y="469"/>
                      <a:pt x="149" y="470"/>
                      <a:pt x="147" y="470"/>
                    </a:cubicBezTo>
                    <a:cubicBezTo>
                      <a:pt x="145" y="470"/>
                      <a:pt x="143" y="472"/>
                      <a:pt x="143" y="475"/>
                    </a:cubicBezTo>
                    <a:cubicBezTo>
                      <a:pt x="143" y="478"/>
                      <a:pt x="141" y="477"/>
                      <a:pt x="141" y="480"/>
                    </a:cubicBezTo>
                    <a:cubicBezTo>
                      <a:pt x="141" y="484"/>
                      <a:pt x="143" y="486"/>
                      <a:pt x="144" y="486"/>
                    </a:cubicBezTo>
                    <a:cubicBezTo>
                      <a:pt x="145" y="487"/>
                      <a:pt x="145" y="489"/>
                      <a:pt x="147" y="489"/>
                    </a:cubicBezTo>
                    <a:cubicBezTo>
                      <a:pt x="150" y="489"/>
                      <a:pt x="153" y="490"/>
                      <a:pt x="153" y="493"/>
                    </a:cubicBezTo>
                    <a:cubicBezTo>
                      <a:pt x="153" y="496"/>
                      <a:pt x="154" y="496"/>
                      <a:pt x="154" y="501"/>
                    </a:cubicBezTo>
                    <a:cubicBezTo>
                      <a:pt x="154" y="505"/>
                      <a:pt x="156" y="509"/>
                      <a:pt x="158" y="509"/>
                    </a:cubicBezTo>
                    <a:cubicBezTo>
                      <a:pt x="161" y="509"/>
                      <a:pt x="159" y="504"/>
                      <a:pt x="160" y="504"/>
                    </a:cubicBezTo>
                    <a:cubicBezTo>
                      <a:pt x="161" y="504"/>
                      <a:pt x="163" y="504"/>
                      <a:pt x="163" y="507"/>
                    </a:cubicBezTo>
                    <a:cubicBezTo>
                      <a:pt x="163" y="509"/>
                      <a:pt x="166" y="509"/>
                      <a:pt x="166" y="515"/>
                    </a:cubicBezTo>
                    <a:cubicBezTo>
                      <a:pt x="166" y="518"/>
                      <a:pt x="166" y="523"/>
                      <a:pt x="164" y="523"/>
                    </a:cubicBezTo>
                    <a:cubicBezTo>
                      <a:pt x="161" y="523"/>
                      <a:pt x="162" y="517"/>
                      <a:pt x="162" y="516"/>
                    </a:cubicBezTo>
                    <a:cubicBezTo>
                      <a:pt x="162" y="514"/>
                      <a:pt x="158" y="512"/>
                      <a:pt x="155" y="510"/>
                    </a:cubicBezTo>
                    <a:cubicBezTo>
                      <a:pt x="153" y="509"/>
                      <a:pt x="150" y="508"/>
                      <a:pt x="146" y="508"/>
                    </a:cubicBezTo>
                    <a:cubicBezTo>
                      <a:pt x="143" y="508"/>
                      <a:pt x="139" y="508"/>
                      <a:pt x="139" y="510"/>
                    </a:cubicBezTo>
                    <a:cubicBezTo>
                      <a:pt x="139" y="519"/>
                      <a:pt x="139" y="519"/>
                      <a:pt x="139" y="519"/>
                    </a:cubicBezTo>
                    <a:cubicBezTo>
                      <a:pt x="139" y="522"/>
                      <a:pt x="135" y="521"/>
                      <a:pt x="135" y="530"/>
                    </a:cubicBezTo>
                    <a:cubicBezTo>
                      <a:pt x="135" y="534"/>
                      <a:pt x="133" y="534"/>
                      <a:pt x="133" y="537"/>
                    </a:cubicBezTo>
                    <a:cubicBezTo>
                      <a:pt x="133" y="540"/>
                      <a:pt x="137" y="542"/>
                      <a:pt x="141" y="542"/>
                    </a:cubicBezTo>
                    <a:cubicBezTo>
                      <a:pt x="144" y="542"/>
                      <a:pt x="145" y="540"/>
                      <a:pt x="151" y="539"/>
                    </a:cubicBezTo>
                    <a:cubicBezTo>
                      <a:pt x="157" y="538"/>
                      <a:pt x="165" y="535"/>
                      <a:pt x="167" y="532"/>
                    </a:cubicBezTo>
                    <a:cubicBezTo>
                      <a:pt x="169" y="529"/>
                      <a:pt x="171" y="529"/>
                      <a:pt x="175" y="529"/>
                    </a:cubicBezTo>
                    <a:cubicBezTo>
                      <a:pt x="184" y="529"/>
                      <a:pt x="184" y="529"/>
                      <a:pt x="184" y="529"/>
                    </a:cubicBezTo>
                    <a:cubicBezTo>
                      <a:pt x="189" y="529"/>
                      <a:pt x="192" y="531"/>
                      <a:pt x="203" y="531"/>
                    </a:cubicBezTo>
                    <a:cubicBezTo>
                      <a:pt x="210" y="531"/>
                      <a:pt x="211" y="530"/>
                      <a:pt x="211" y="533"/>
                    </a:cubicBezTo>
                    <a:cubicBezTo>
                      <a:pt x="211" y="535"/>
                      <a:pt x="209" y="536"/>
                      <a:pt x="209" y="539"/>
                    </a:cubicBezTo>
                    <a:cubicBezTo>
                      <a:pt x="209" y="541"/>
                      <a:pt x="212" y="541"/>
                      <a:pt x="212" y="543"/>
                    </a:cubicBezTo>
                    <a:cubicBezTo>
                      <a:pt x="212" y="545"/>
                      <a:pt x="210" y="544"/>
                      <a:pt x="210" y="546"/>
                    </a:cubicBezTo>
                    <a:cubicBezTo>
                      <a:pt x="210" y="548"/>
                      <a:pt x="209" y="548"/>
                      <a:pt x="206" y="548"/>
                    </a:cubicBezTo>
                    <a:cubicBezTo>
                      <a:pt x="203" y="548"/>
                      <a:pt x="202" y="549"/>
                      <a:pt x="202" y="550"/>
                    </a:cubicBezTo>
                    <a:cubicBezTo>
                      <a:pt x="202" y="552"/>
                      <a:pt x="204" y="552"/>
                      <a:pt x="204" y="554"/>
                    </a:cubicBezTo>
                    <a:cubicBezTo>
                      <a:pt x="204" y="556"/>
                      <a:pt x="199" y="556"/>
                      <a:pt x="199" y="558"/>
                    </a:cubicBezTo>
                    <a:cubicBezTo>
                      <a:pt x="199" y="560"/>
                      <a:pt x="202" y="560"/>
                      <a:pt x="203" y="560"/>
                    </a:cubicBezTo>
                    <a:cubicBezTo>
                      <a:pt x="207" y="560"/>
                      <a:pt x="208" y="564"/>
                      <a:pt x="211" y="564"/>
                    </a:cubicBezTo>
                    <a:cubicBezTo>
                      <a:pt x="214" y="564"/>
                      <a:pt x="215" y="563"/>
                      <a:pt x="215" y="566"/>
                    </a:cubicBezTo>
                    <a:cubicBezTo>
                      <a:pt x="215" y="569"/>
                      <a:pt x="206" y="573"/>
                      <a:pt x="203" y="573"/>
                    </a:cubicBezTo>
                    <a:cubicBezTo>
                      <a:pt x="200" y="573"/>
                      <a:pt x="200" y="572"/>
                      <a:pt x="198" y="572"/>
                    </a:cubicBezTo>
                    <a:cubicBezTo>
                      <a:pt x="196" y="572"/>
                      <a:pt x="196" y="573"/>
                      <a:pt x="193" y="573"/>
                    </a:cubicBezTo>
                    <a:cubicBezTo>
                      <a:pt x="191" y="573"/>
                      <a:pt x="190" y="571"/>
                      <a:pt x="186" y="571"/>
                    </a:cubicBezTo>
                    <a:cubicBezTo>
                      <a:pt x="182" y="571"/>
                      <a:pt x="178" y="575"/>
                      <a:pt x="172" y="575"/>
                    </a:cubicBezTo>
                    <a:cubicBezTo>
                      <a:pt x="168" y="575"/>
                      <a:pt x="168" y="571"/>
                      <a:pt x="164" y="571"/>
                    </a:cubicBezTo>
                    <a:cubicBezTo>
                      <a:pt x="161" y="571"/>
                      <a:pt x="144" y="578"/>
                      <a:pt x="141" y="579"/>
                    </a:cubicBezTo>
                    <a:cubicBezTo>
                      <a:pt x="138" y="580"/>
                      <a:pt x="139" y="584"/>
                      <a:pt x="139" y="588"/>
                    </a:cubicBezTo>
                    <a:cubicBezTo>
                      <a:pt x="139" y="593"/>
                      <a:pt x="135" y="597"/>
                      <a:pt x="135" y="601"/>
                    </a:cubicBezTo>
                    <a:cubicBezTo>
                      <a:pt x="135" y="605"/>
                      <a:pt x="136" y="606"/>
                      <a:pt x="136" y="613"/>
                    </a:cubicBezTo>
                    <a:cubicBezTo>
                      <a:pt x="136" y="620"/>
                      <a:pt x="143" y="618"/>
                      <a:pt x="143" y="626"/>
                    </a:cubicBezTo>
                    <a:cubicBezTo>
                      <a:pt x="143" y="629"/>
                      <a:pt x="143" y="632"/>
                      <a:pt x="141" y="632"/>
                    </a:cubicBezTo>
                    <a:cubicBezTo>
                      <a:pt x="139" y="632"/>
                      <a:pt x="136" y="636"/>
                      <a:pt x="131" y="636"/>
                    </a:cubicBezTo>
                    <a:cubicBezTo>
                      <a:pt x="125" y="636"/>
                      <a:pt x="125" y="632"/>
                      <a:pt x="118" y="632"/>
                    </a:cubicBezTo>
                    <a:cubicBezTo>
                      <a:pt x="115" y="632"/>
                      <a:pt x="115" y="634"/>
                      <a:pt x="112" y="634"/>
                    </a:cubicBezTo>
                    <a:cubicBezTo>
                      <a:pt x="107" y="634"/>
                      <a:pt x="107" y="634"/>
                      <a:pt x="107" y="634"/>
                    </a:cubicBezTo>
                    <a:cubicBezTo>
                      <a:pt x="107" y="643"/>
                      <a:pt x="115" y="642"/>
                      <a:pt x="115" y="645"/>
                    </a:cubicBezTo>
                    <a:cubicBezTo>
                      <a:pt x="115" y="647"/>
                      <a:pt x="114" y="647"/>
                      <a:pt x="109" y="647"/>
                    </a:cubicBezTo>
                    <a:cubicBezTo>
                      <a:pt x="104" y="647"/>
                      <a:pt x="94" y="646"/>
                      <a:pt x="94" y="646"/>
                    </a:cubicBezTo>
                    <a:cubicBezTo>
                      <a:pt x="94" y="650"/>
                      <a:pt x="93" y="651"/>
                      <a:pt x="90" y="651"/>
                    </a:cubicBezTo>
                    <a:cubicBezTo>
                      <a:pt x="87" y="651"/>
                      <a:pt x="85" y="649"/>
                      <a:pt x="82" y="649"/>
                    </a:cubicBezTo>
                    <a:cubicBezTo>
                      <a:pt x="78" y="649"/>
                      <a:pt x="74" y="652"/>
                      <a:pt x="74" y="654"/>
                    </a:cubicBezTo>
                    <a:cubicBezTo>
                      <a:pt x="74" y="655"/>
                      <a:pt x="75" y="657"/>
                      <a:pt x="77" y="657"/>
                    </a:cubicBezTo>
                    <a:cubicBezTo>
                      <a:pt x="79" y="657"/>
                      <a:pt x="81" y="655"/>
                      <a:pt x="83" y="655"/>
                    </a:cubicBezTo>
                    <a:cubicBezTo>
                      <a:pt x="85" y="655"/>
                      <a:pt x="85" y="655"/>
                      <a:pt x="85" y="658"/>
                    </a:cubicBezTo>
                    <a:cubicBezTo>
                      <a:pt x="85" y="661"/>
                      <a:pt x="91" y="663"/>
                      <a:pt x="91" y="664"/>
                    </a:cubicBezTo>
                    <a:cubicBezTo>
                      <a:pt x="91" y="666"/>
                      <a:pt x="89" y="665"/>
                      <a:pt x="89" y="667"/>
                    </a:cubicBezTo>
                    <a:cubicBezTo>
                      <a:pt x="89" y="669"/>
                      <a:pt x="91" y="669"/>
                      <a:pt x="91" y="670"/>
                    </a:cubicBezTo>
                    <a:cubicBezTo>
                      <a:pt x="91" y="671"/>
                      <a:pt x="91" y="673"/>
                      <a:pt x="93" y="673"/>
                    </a:cubicBezTo>
                    <a:cubicBezTo>
                      <a:pt x="96" y="673"/>
                      <a:pt x="100" y="681"/>
                      <a:pt x="100" y="683"/>
                    </a:cubicBezTo>
                    <a:cubicBezTo>
                      <a:pt x="100" y="685"/>
                      <a:pt x="104" y="683"/>
                      <a:pt x="104" y="686"/>
                    </a:cubicBezTo>
                    <a:cubicBezTo>
                      <a:pt x="104" y="688"/>
                      <a:pt x="101" y="692"/>
                      <a:pt x="97" y="692"/>
                    </a:cubicBezTo>
                    <a:cubicBezTo>
                      <a:pt x="93" y="692"/>
                      <a:pt x="93" y="687"/>
                      <a:pt x="89" y="687"/>
                    </a:cubicBezTo>
                    <a:cubicBezTo>
                      <a:pt x="85" y="687"/>
                      <a:pt x="79" y="694"/>
                      <a:pt x="79" y="696"/>
                    </a:cubicBezTo>
                    <a:cubicBezTo>
                      <a:pt x="79" y="699"/>
                      <a:pt x="77" y="698"/>
                      <a:pt x="77" y="700"/>
                    </a:cubicBezTo>
                    <a:cubicBezTo>
                      <a:pt x="77" y="701"/>
                      <a:pt x="77" y="703"/>
                      <a:pt x="80" y="703"/>
                    </a:cubicBezTo>
                    <a:cubicBezTo>
                      <a:pt x="82" y="703"/>
                      <a:pt x="83" y="700"/>
                      <a:pt x="86" y="700"/>
                    </a:cubicBezTo>
                    <a:cubicBezTo>
                      <a:pt x="89" y="700"/>
                      <a:pt x="87" y="705"/>
                      <a:pt x="90" y="705"/>
                    </a:cubicBezTo>
                    <a:cubicBezTo>
                      <a:pt x="93" y="705"/>
                      <a:pt x="92" y="702"/>
                      <a:pt x="97" y="702"/>
                    </a:cubicBezTo>
                    <a:cubicBezTo>
                      <a:pt x="99" y="702"/>
                      <a:pt x="98" y="699"/>
                      <a:pt x="100" y="699"/>
                    </a:cubicBezTo>
                    <a:cubicBezTo>
                      <a:pt x="102" y="699"/>
                      <a:pt x="102" y="700"/>
                      <a:pt x="103" y="702"/>
                    </a:cubicBezTo>
                    <a:cubicBezTo>
                      <a:pt x="104" y="703"/>
                      <a:pt x="106" y="703"/>
                      <a:pt x="106" y="705"/>
                    </a:cubicBezTo>
                    <a:cubicBezTo>
                      <a:pt x="106" y="709"/>
                      <a:pt x="109" y="715"/>
                      <a:pt x="119" y="715"/>
                    </a:cubicBezTo>
                    <a:cubicBezTo>
                      <a:pt x="122" y="715"/>
                      <a:pt x="122" y="718"/>
                      <a:pt x="124" y="718"/>
                    </a:cubicBezTo>
                    <a:cubicBezTo>
                      <a:pt x="126" y="718"/>
                      <a:pt x="126" y="715"/>
                      <a:pt x="129" y="715"/>
                    </a:cubicBezTo>
                    <a:cubicBezTo>
                      <a:pt x="131" y="715"/>
                      <a:pt x="130" y="712"/>
                      <a:pt x="133" y="712"/>
                    </a:cubicBezTo>
                    <a:cubicBezTo>
                      <a:pt x="135" y="712"/>
                      <a:pt x="134" y="715"/>
                      <a:pt x="136" y="715"/>
                    </a:cubicBezTo>
                    <a:cubicBezTo>
                      <a:pt x="138" y="715"/>
                      <a:pt x="139" y="713"/>
                      <a:pt x="139" y="710"/>
                    </a:cubicBezTo>
                    <a:cubicBezTo>
                      <a:pt x="139" y="707"/>
                      <a:pt x="136" y="704"/>
                      <a:pt x="136" y="703"/>
                    </a:cubicBezTo>
                    <a:cubicBezTo>
                      <a:pt x="136" y="701"/>
                      <a:pt x="138" y="701"/>
                      <a:pt x="141" y="701"/>
                    </a:cubicBezTo>
                    <a:cubicBezTo>
                      <a:pt x="144" y="701"/>
                      <a:pt x="141" y="702"/>
                      <a:pt x="141" y="705"/>
                    </a:cubicBezTo>
                    <a:cubicBezTo>
                      <a:pt x="141" y="707"/>
                      <a:pt x="142" y="708"/>
                      <a:pt x="145" y="708"/>
                    </a:cubicBezTo>
                    <a:cubicBezTo>
                      <a:pt x="148" y="708"/>
                      <a:pt x="151" y="705"/>
                      <a:pt x="153" y="703"/>
                    </a:cubicBezTo>
                    <a:cubicBezTo>
                      <a:pt x="155" y="701"/>
                      <a:pt x="157" y="701"/>
                      <a:pt x="157" y="703"/>
                    </a:cubicBezTo>
                    <a:cubicBezTo>
                      <a:pt x="157" y="705"/>
                      <a:pt x="155" y="704"/>
                      <a:pt x="155" y="707"/>
                    </a:cubicBezTo>
                    <a:cubicBezTo>
                      <a:pt x="155" y="712"/>
                      <a:pt x="161" y="708"/>
                      <a:pt x="161" y="710"/>
                    </a:cubicBezTo>
                    <a:cubicBezTo>
                      <a:pt x="161" y="713"/>
                      <a:pt x="157" y="716"/>
                      <a:pt x="154" y="716"/>
                    </a:cubicBezTo>
                    <a:cubicBezTo>
                      <a:pt x="151" y="716"/>
                      <a:pt x="146" y="720"/>
                      <a:pt x="143" y="720"/>
                    </a:cubicBezTo>
                    <a:cubicBezTo>
                      <a:pt x="140" y="720"/>
                      <a:pt x="137" y="721"/>
                      <a:pt x="137" y="723"/>
                    </a:cubicBezTo>
                    <a:cubicBezTo>
                      <a:pt x="137" y="725"/>
                      <a:pt x="139" y="725"/>
                      <a:pt x="139" y="726"/>
                    </a:cubicBezTo>
                    <a:cubicBezTo>
                      <a:pt x="139" y="728"/>
                      <a:pt x="138" y="728"/>
                      <a:pt x="138" y="729"/>
                    </a:cubicBezTo>
                    <a:cubicBezTo>
                      <a:pt x="138" y="730"/>
                      <a:pt x="135" y="733"/>
                      <a:pt x="135" y="735"/>
                    </a:cubicBezTo>
                    <a:cubicBezTo>
                      <a:pt x="135" y="738"/>
                      <a:pt x="137" y="739"/>
                      <a:pt x="139" y="739"/>
                    </a:cubicBezTo>
                    <a:cubicBezTo>
                      <a:pt x="142" y="739"/>
                      <a:pt x="143" y="736"/>
                      <a:pt x="147" y="736"/>
                    </a:cubicBezTo>
                    <a:cubicBezTo>
                      <a:pt x="151" y="736"/>
                      <a:pt x="150" y="739"/>
                      <a:pt x="153" y="740"/>
                    </a:cubicBezTo>
                    <a:cubicBezTo>
                      <a:pt x="155" y="740"/>
                      <a:pt x="159" y="745"/>
                      <a:pt x="163" y="745"/>
                    </a:cubicBezTo>
                    <a:cubicBezTo>
                      <a:pt x="166" y="745"/>
                      <a:pt x="165" y="743"/>
                      <a:pt x="171" y="743"/>
                    </a:cubicBezTo>
                    <a:cubicBezTo>
                      <a:pt x="174" y="743"/>
                      <a:pt x="174" y="736"/>
                      <a:pt x="177" y="732"/>
                    </a:cubicBezTo>
                    <a:cubicBezTo>
                      <a:pt x="180" y="728"/>
                      <a:pt x="179" y="723"/>
                      <a:pt x="184" y="722"/>
                    </a:cubicBezTo>
                    <a:cubicBezTo>
                      <a:pt x="188" y="720"/>
                      <a:pt x="189" y="716"/>
                      <a:pt x="191" y="716"/>
                    </a:cubicBezTo>
                    <a:cubicBezTo>
                      <a:pt x="193" y="716"/>
                      <a:pt x="195" y="718"/>
                      <a:pt x="195" y="721"/>
                    </a:cubicBezTo>
                    <a:cubicBezTo>
                      <a:pt x="195" y="724"/>
                      <a:pt x="193" y="726"/>
                      <a:pt x="193" y="728"/>
                    </a:cubicBezTo>
                    <a:cubicBezTo>
                      <a:pt x="193" y="730"/>
                      <a:pt x="188" y="730"/>
                      <a:pt x="188" y="732"/>
                    </a:cubicBezTo>
                    <a:cubicBezTo>
                      <a:pt x="188" y="734"/>
                      <a:pt x="188" y="735"/>
                      <a:pt x="193" y="735"/>
                    </a:cubicBezTo>
                    <a:cubicBezTo>
                      <a:pt x="197" y="735"/>
                      <a:pt x="200" y="732"/>
                      <a:pt x="200" y="730"/>
                    </a:cubicBezTo>
                    <a:cubicBezTo>
                      <a:pt x="200" y="729"/>
                      <a:pt x="198" y="729"/>
                      <a:pt x="198" y="727"/>
                    </a:cubicBezTo>
                    <a:cubicBezTo>
                      <a:pt x="198" y="726"/>
                      <a:pt x="199" y="725"/>
                      <a:pt x="201" y="725"/>
                    </a:cubicBezTo>
                    <a:cubicBezTo>
                      <a:pt x="203" y="725"/>
                      <a:pt x="206" y="727"/>
                      <a:pt x="206" y="731"/>
                    </a:cubicBezTo>
                    <a:cubicBezTo>
                      <a:pt x="206" y="734"/>
                      <a:pt x="205" y="737"/>
                      <a:pt x="202" y="737"/>
                    </a:cubicBezTo>
                    <a:cubicBezTo>
                      <a:pt x="199" y="737"/>
                      <a:pt x="197" y="737"/>
                      <a:pt x="197" y="740"/>
                    </a:cubicBezTo>
                    <a:cubicBezTo>
                      <a:pt x="197" y="743"/>
                      <a:pt x="199" y="748"/>
                      <a:pt x="199" y="752"/>
                    </a:cubicBezTo>
                    <a:cubicBezTo>
                      <a:pt x="199" y="756"/>
                      <a:pt x="194" y="759"/>
                      <a:pt x="194" y="763"/>
                    </a:cubicBezTo>
                    <a:cubicBezTo>
                      <a:pt x="194" y="767"/>
                      <a:pt x="198" y="769"/>
                      <a:pt x="201" y="769"/>
                    </a:cubicBezTo>
                    <a:cubicBezTo>
                      <a:pt x="205" y="769"/>
                      <a:pt x="206" y="764"/>
                      <a:pt x="206" y="760"/>
                    </a:cubicBezTo>
                    <a:cubicBezTo>
                      <a:pt x="206" y="756"/>
                      <a:pt x="208" y="753"/>
                      <a:pt x="209" y="753"/>
                    </a:cubicBezTo>
                    <a:cubicBezTo>
                      <a:pt x="211" y="753"/>
                      <a:pt x="211" y="753"/>
                      <a:pt x="211" y="756"/>
                    </a:cubicBezTo>
                    <a:cubicBezTo>
                      <a:pt x="211" y="758"/>
                      <a:pt x="209" y="758"/>
                      <a:pt x="209" y="760"/>
                    </a:cubicBezTo>
                    <a:cubicBezTo>
                      <a:pt x="209" y="763"/>
                      <a:pt x="211" y="763"/>
                      <a:pt x="211" y="766"/>
                    </a:cubicBezTo>
                    <a:cubicBezTo>
                      <a:pt x="211" y="770"/>
                      <a:pt x="217" y="773"/>
                      <a:pt x="220" y="773"/>
                    </a:cubicBezTo>
                    <a:cubicBezTo>
                      <a:pt x="224" y="773"/>
                      <a:pt x="231" y="772"/>
                      <a:pt x="239" y="772"/>
                    </a:cubicBezTo>
                    <a:cubicBezTo>
                      <a:pt x="247" y="772"/>
                      <a:pt x="257" y="769"/>
                      <a:pt x="264" y="769"/>
                    </a:cubicBezTo>
                    <a:cubicBezTo>
                      <a:pt x="271" y="769"/>
                      <a:pt x="284" y="768"/>
                      <a:pt x="292" y="768"/>
                    </a:cubicBezTo>
                    <a:cubicBezTo>
                      <a:pt x="299" y="768"/>
                      <a:pt x="308" y="764"/>
                      <a:pt x="313" y="764"/>
                    </a:cubicBezTo>
                    <a:cubicBezTo>
                      <a:pt x="319" y="764"/>
                      <a:pt x="322" y="759"/>
                      <a:pt x="326" y="759"/>
                    </a:cubicBezTo>
                    <a:cubicBezTo>
                      <a:pt x="339" y="759"/>
                      <a:pt x="339" y="759"/>
                      <a:pt x="339" y="759"/>
                    </a:cubicBezTo>
                    <a:cubicBezTo>
                      <a:pt x="343" y="759"/>
                      <a:pt x="344" y="759"/>
                      <a:pt x="344" y="761"/>
                    </a:cubicBezTo>
                    <a:cubicBezTo>
                      <a:pt x="344" y="763"/>
                      <a:pt x="343" y="765"/>
                      <a:pt x="341" y="765"/>
                    </a:cubicBezTo>
                    <a:cubicBezTo>
                      <a:pt x="338" y="765"/>
                      <a:pt x="336" y="764"/>
                      <a:pt x="336" y="768"/>
                    </a:cubicBezTo>
                    <a:cubicBezTo>
                      <a:pt x="336" y="771"/>
                      <a:pt x="333" y="771"/>
                      <a:pt x="333" y="772"/>
                    </a:cubicBezTo>
                    <a:cubicBezTo>
                      <a:pt x="333" y="774"/>
                      <a:pt x="329" y="774"/>
                      <a:pt x="329" y="776"/>
                    </a:cubicBezTo>
                    <a:cubicBezTo>
                      <a:pt x="329" y="778"/>
                      <a:pt x="331" y="779"/>
                      <a:pt x="334" y="779"/>
                    </a:cubicBezTo>
                    <a:cubicBezTo>
                      <a:pt x="337" y="779"/>
                      <a:pt x="337" y="782"/>
                      <a:pt x="340" y="782"/>
                    </a:cubicBezTo>
                    <a:cubicBezTo>
                      <a:pt x="343" y="782"/>
                      <a:pt x="344" y="780"/>
                      <a:pt x="346" y="779"/>
                    </a:cubicBezTo>
                    <a:cubicBezTo>
                      <a:pt x="348" y="778"/>
                      <a:pt x="350" y="778"/>
                      <a:pt x="350" y="780"/>
                    </a:cubicBezTo>
                    <a:cubicBezTo>
                      <a:pt x="350" y="782"/>
                      <a:pt x="342" y="784"/>
                      <a:pt x="342" y="794"/>
                    </a:cubicBezTo>
                    <a:cubicBezTo>
                      <a:pt x="342" y="798"/>
                      <a:pt x="343" y="798"/>
                      <a:pt x="343" y="800"/>
                    </a:cubicBezTo>
                    <a:cubicBezTo>
                      <a:pt x="343" y="803"/>
                      <a:pt x="349" y="805"/>
                      <a:pt x="344" y="805"/>
                    </a:cubicBezTo>
                    <a:cubicBezTo>
                      <a:pt x="341" y="805"/>
                      <a:pt x="340" y="801"/>
                      <a:pt x="338" y="801"/>
                    </a:cubicBezTo>
                    <a:cubicBezTo>
                      <a:pt x="337" y="801"/>
                      <a:pt x="336" y="800"/>
                      <a:pt x="336" y="798"/>
                    </a:cubicBezTo>
                    <a:cubicBezTo>
                      <a:pt x="336" y="796"/>
                      <a:pt x="336" y="794"/>
                      <a:pt x="334" y="794"/>
                    </a:cubicBezTo>
                    <a:cubicBezTo>
                      <a:pt x="332" y="794"/>
                      <a:pt x="330" y="795"/>
                      <a:pt x="325" y="795"/>
                    </a:cubicBezTo>
                    <a:cubicBezTo>
                      <a:pt x="320" y="795"/>
                      <a:pt x="314" y="795"/>
                      <a:pt x="314" y="796"/>
                    </a:cubicBezTo>
                    <a:cubicBezTo>
                      <a:pt x="314" y="797"/>
                      <a:pt x="316" y="798"/>
                      <a:pt x="320" y="798"/>
                    </a:cubicBezTo>
                    <a:cubicBezTo>
                      <a:pt x="324" y="798"/>
                      <a:pt x="326" y="799"/>
                      <a:pt x="328" y="800"/>
                    </a:cubicBezTo>
                    <a:cubicBezTo>
                      <a:pt x="330" y="801"/>
                      <a:pt x="330" y="803"/>
                      <a:pt x="327" y="803"/>
                    </a:cubicBezTo>
                    <a:cubicBezTo>
                      <a:pt x="323" y="803"/>
                      <a:pt x="317" y="799"/>
                      <a:pt x="310" y="799"/>
                    </a:cubicBezTo>
                    <a:cubicBezTo>
                      <a:pt x="307" y="799"/>
                      <a:pt x="301" y="799"/>
                      <a:pt x="301" y="801"/>
                    </a:cubicBezTo>
                    <a:cubicBezTo>
                      <a:pt x="301" y="803"/>
                      <a:pt x="305" y="804"/>
                      <a:pt x="306" y="804"/>
                    </a:cubicBezTo>
                    <a:cubicBezTo>
                      <a:pt x="308" y="804"/>
                      <a:pt x="308" y="807"/>
                      <a:pt x="305" y="807"/>
                    </a:cubicBezTo>
                    <a:cubicBezTo>
                      <a:pt x="302" y="807"/>
                      <a:pt x="300" y="810"/>
                      <a:pt x="295" y="810"/>
                    </a:cubicBezTo>
                    <a:cubicBezTo>
                      <a:pt x="290" y="810"/>
                      <a:pt x="280" y="800"/>
                      <a:pt x="274" y="800"/>
                    </a:cubicBezTo>
                    <a:cubicBezTo>
                      <a:pt x="269" y="800"/>
                      <a:pt x="267" y="805"/>
                      <a:pt x="267" y="808"/>
                    </a:cubicBezTo>
                    <a:cubicBezTo>
                      <a:pt x="267" y="811"/>
                      <a:pt x="265" y="811"/>
                      <a:pt x="265" y="814"/>
                    </a:cubicBezTo>
                    <a:cubicBezTo>
                      <a:pt x="265" y="821"/>
                      <a:pt x="252" y="825"/>
                      <a:pt x="252" y="830"/>
                    </a:cubicBezTo>
                    <a:cubicBezTo>
                      <a:pt x="252" y="835"/>
                      <a:pt x="243" y="845"/>
                      <a:pt x="243" y="848"/>
                    </a:cubicBezTo>
                    <a:cubicBezTo>
                      <a:pt x="243" y="851"/>
                      <a:pt x="242" y="853"/>
                      <a:pt x="240" y="855"/>
                    </a:cubicBezTo>
                    <a:cubicBezTo>
                      <a:pt x="237" y="858"/>
                      <a:pt x="235" y="862"/>
                      <a:pt x="235" y="865"/>
                    </a:cubicBezTo>
                    <a:cubicBezTo>
                      <a:pt x="235" y="869"/>
                      <a:pt x="226" y="872"/>
                      <a:pt x="226" y="875"/>
                    </a:cubicBezTo>
                    <a:cubicBezTo>
                      <a:pt x="226" y="878"/>
                      <a:pt x="227" y="879"/>
                      <a:pt x="228" y="879"/>
                    </a:cubicBezTo>
                    <a:cubicBezTo>
                      <a:pt x="230" y="879"/>
                      <a:pt x="230" y="878"/>
                      <a:pt x="234" y="878"/>
                    </a:cubicBezTo>
                    <a:cubicBezTo>
                      <a:pt x="237" y="878"/>
                      <a:pt x="239" y="880"/>
                      <a:pt x="242" y="880"/>
                    </a:cubicBezTo>
                    <a:cubicBezTo>
                      <a:pt x="245" y="880"/>
                      <a:pt x="247" y="877"/>
                      <a:pt x="249" y="877"/>
                    </a:cubicBezTo>
                    <a:cubicBezTo>
                      <a:pt x="251" y="877"/>
                      <a:pt x="251" y="878"/>
                      <a:pt x="251" y="879"/>
                    </a:cubicBezTo>
                    <a:cubicBezTo>
                      <a:pt x="251" y="882"/>
                      <a:pt x="250" y="883"/>
                      <a:pt x="247" y="886"/>
                    </a:cubicBezTo>
                    <a:cubicBezTo>
                      <a:pt x="244" y="890"/>
                      <a:pt x="240" y="893"/>
                      <a:pt x="237" y="895"/>
                    </a:cubicBezTo>
                    <a:cubicBezTo>
                      <a:pt x="234" y="897"/>
                      <a:pt x="234" y="899"/>
                      <a:pt x="234" y="903"/>
                    </a:cubicBezTo>
                    <a:cubicBezTo>
                      <a:pt x="234" y="906"/>
                      <a:pt x="232" y="905"/>
                      <a:pt x="232" y="909"/>
                    </a:cubicBezTo>
                    <a:cubicBezTo>
                      <a:pt x="232" y="913"/>
                      <a:pt x="232" y="914"/>
                      <a:pt x="229" y="916"/>
                    </a:cubicBezTo>
                    <a:cubicBezTo>
                      <a:pt x="226" y="918"/>
                      <a:pt x="227" y="921"/>
                      <a:pt x="224" y="923"/>
                    </a:cubicBezTo>
                    <a:cubicBezTo>
                      <a:pt x="222" y="924"/>
                      <a:pt x="221" y="925"/>
                      <a:pt x="221" y="930"/>
                    </a:cubicBezTo>
                    <a:cubicBezTo>
                      <a:pt x="221" y="935"/>
                      <a:pt x="218" y="934"/>
                      <a:pt x="218" y="936"/>
                    </a:cubicBezTo>
                    <a:cubicBezTo>
                      <a:pt x="218" y="938"/>
                      <a:pt x="219" y="938"/>
                      <a:pt x="219" y="940"/>
                    </a:cubicBezTo>
                    <a:cubicBezTo>
                      <a:pt x="219" y="942"/>
                      <a:pt x="218" y="945"/>
                      <a:pt x="215" y="945"/>
                    </a:cubicBezTo>
                    <a:cubicBezTo>
                      <a:pt x="212" y="945"/>
                      <a:pt x="212" y="948"/>
                      <a:pt x="210" y="948"/>
                    </a:cubicBezTo>
                    <a:cubicBezTo>
                      <a:pt x="207" y="948"/>
                      <a:pt x="208" y="944"/>
                      <a:pt x="203" y="944"/>
                    </a:cubicBezTo>
                    <a:cubicBezTo>
                      <a:pt x="198" y="944"/>
                      <a:pt x="191" y="950"/>
                      <a:pt x="191" y="955"/>
                    </a:cubicBezTo>
                    <a:cubicBezTo>
                      <a:pt x="191" y="959"/>
                      <a:pt x="182" y="961"/>
                      <a:pt x="182" y="965"/>
                    </a:cubicBezTo>
                    <a:cubicBezTo>
                      <a:pt x="182" y="967"/>
                      <a:pt x="182" y="969"/>
                      <a:pt x="179" y="969"/>
                    </a:cubicBezTo>
                    <a:cubicBezTo>
                      <a:pt x="176" y="969"/>
                      <a:pt x="173" y="972"/>
                      <a:pt x="172" y="975"/>
                    </a:cubicBezTo>
                    <a:cubicBezTo>
                      <a:pt x="171" y="977"/>
                      <a:pt x="169" y="979"/>
                      <a:pt x="166" y="981"/>
                    </a:cubicBezTo>
                    <a:cubicBezTo>
                      <a:pt x="163" y="983"/>
                      <a:pt x="162" y="986"/>
                      <a:pt x="159" y="987"/>
                    </a:cubicBezTo>
                    <a:cubicBezTo>
                      <a:pt x="156" y="988"/>
                      <a:pt x="152" y="990"/>
                      <a:pt x="152" y="993"/>
                    </a:cubicBezTo>
                    <a:cubicBezTo>
                      <a:pt x="152" y="995"/>
                      <a:pt x="149" y="998"/>
                      <a:pt x="145" y="998"/>
                    </a:cubicBezTo>
                    <a:cubicBezTo>
                      <a:pt x="139" y="998"/>
                      <a:pt x="133" y="1004"/>
                      <a:pt x="129" y="1004"/>
                    </a:cubicBezTo>
                    <a:cubicBezTo>
                      <a:pt x="125" y="1004"/>
                      <a:pt x="121" y="1008"/>
                      <a:pt x="121" y="1009"/>
                    </a:cubicBezTo>
                    <a:cubicBezTo>
                      <a:pt x="121" y="1011"/>
                      <a:pt x="123" y="1012"/>
                      <a:pt x="125" y="1012"/>
                    </a:cubicBezTo>
                    <a:cubicBezTo>
                      <a:pt x="126" y="1012"/>
                      <a:pt x="128" y="1013"/>
                      <a:pt x="132" y="1013"/>
                    </a:cubicBezTo>
                    <a:cubicBezTo>
                      <a:pt x="135" y="1013"/>
                      <a:pt x="139" y="1009"/>
                      <a:pt x="144" y="1009"/>
                    </a:cubicBezTo>
                    <a:cubicBezTo>
                      <a:pt x="148" y="1009"/>
                      <a:pt x="149" y="1010"/>
                      <a:pt x="152" y="1010"/>
                    </a:cubicBezTo>
                    <a:cubicBezTo>
                      <a:pt x="154" y="1010"/>
                      <a:pt x="154" y="1008"/>
                      <a:pt x="156" y="1008"/>
                    </a:cubicBezTo>
                    <a:cubicBezTo>
                      <a:pt x="163" y="1008"/>
                      <a:pt x="164" y="1003"/>
                      <a:pt x="166" y="1003"/>
                    </a:cubicBezTo>
                    <a:cubicBezTo>
                      <a:pt x="168" y="1003"/>
                      <a:pt x="168" y="1005"/>
                      <a:pt x="170" y="1005"/>
                    </a:cubicBezTo>
                    <a:cubicBezTo>
                      <a:pt x="172" y="1005"/>
                      <a:pt x="173" y="1003"/>
                      <a:pt x="173" y="1000"/>
                    </a:cubicBezTo>
                    <a:cubicBezTo>
                      <a:pt x="173" y="995"/>
                      <a:pt x="179" y="994"/>
                      <a:pt x="181" y="994"/>
                    </a:cubicBezTo>
                    <a:cubicBezTo>
                      <a:pt x="183" y="994"/>
                      <a:pt x="185" y="992"/>
                      <a:pt x="193" y="992"/>
                    </a:cubicBezTo>
                    <a:cubicBezTo>
                      <a:pt x="198" y="992"/>
                      <a:pt x="197" y="990"/>
                      <a:pt x="199" y="988"/>
                    </a:cubicBezTo>
                    <a:cubicBezTo>
                      <a:pt x="201" y="987"/>
                      <a:pt x="204" y="987"/>
                      <a:pt x="204" y="984"/>
                    </a:cubicBezTo>
                    <a:cubicBezTo>
                      <a:pt x="204" y="980"/>
                      <a:pt x="201" y="980"/>
                      <a:pt x="201" y="978"/>
                    </a:cubicBezTo>
                    <a:cubicBezTo>
                      <a:pt x="201" y="976"/>
                      <a:pt x="203" y="974"/>
                      <a:pt x="205" y="974"/>
                    </a:cubicBezTo>
                    <a:cubicBezTo>
                      <a:pt x="208" y="974"/>
                      <a:pt x="208" y="975"/>
                      <a:pt x="208" y="979"/>
                    </a:cubicBezTo>
                    <a:cubicBezTo>
                      <a:pt x="208" y="982"/>
                      <a:pt x="211" y="988"/>
                      <a:pt x="215" y="988"/>
                    </a:cubicBezTo>
                    <a:cubicBezTo>
                      <a:pt x="218" y="988"/>
                      <a:pt x="224" y="993"/>
                      <a:pt x="228" y="993"/>
                    </a:cubicBezTo>
                    <a:cubicBezTo>
                      <a:pt x="231" y="993"/>
                      <a:pt x="233" y="996"/>
                      <a:pt x="239" y="996"/>
                    </a:cubicBezTo>
                    <a:cubicBezTo>
                      <a:pt x="242" y="996"/>
                      <a:pt x="246" y="992"/>
                      <a:pt x="248" y="992"/>
                    </a:cubicBezTo>
                    <a:cubicBezTo>
                      <a:pt x="250" y="992"/>
                      <a:pt x="251" y="990"/>
                      <a:pt x="257" y="990"/>
                    </a:cubicBezTo>
                    <a:cubicBezTo>
                      <a:pt x="260" y="990"/>
                      <a:pt x="261" y="988"/>
                      <a:pt x="262" y="988"/>
                    </a:cubicBezTo>
                    <a:cubicBezTo>
                      <a:pt x="263" y="987"/>
                      <a:pt x="267" y="986"/>
                      <a:pt x="267" y="989"/>
                    </a:cubicBezTo>
                    <a:cubicBezTo>
                      <a:pt x="267" y="992"/>
                      <a:pt x="254" y="996"/>
                      <a:pt x="254" y="999"/>
                    </a:cubicBezTo>
                    <a:cubicBezTo>
                      <a:pt x="254" y="1001"/>
                      <a:pt x="256" y="1004"/>
                      <a:pt x="261" y="1004"/>
                    </a:cubicBezTo>
                    <a:cubicBezTo>
                      <a:pt x="267" y="1004"/>
                      <a:pt x="269" y="998"/>
                      <a:pt x="271" y="995"/>
                    </a:cubicBezTo>
                    <a:cubicBezTo>
                      <a:pt x="273" y="993"/>
                      <a:pt x="274" y="993"/>
                      <a:pt x="275" y="992"/>
                    </a:cubicBezTo>
                    <a:cubicBezTo>
                      <a:pt x="277" y="991"/>
                      <a:pt x="285" y="992"/>
                      <a:pt x="291" y="992"/>
                    </a:cubicBezTo>
                    <a:cubicBezTo>
                      <a:pt x="296" y="992"/>
                      <a:pt x="298" y="987"/>
                      <a:pt x="301" y="982"/>
                    </a:cubicBezTo>
                    <a:cubicBezTo>
                      <a:pt x="304" y="977"/>
                      <a:pt x="310" y="974"/>
                      <a:pt x="313" y="967"/>
                    </a:cubicBezTo>
                    <a:cubicBezTo>
                      <a:pt x="317" y="960"/>
                      <a:pt x="321" y="956"/>
                      <a:pt x="321" y="954"/>
                    </a:cubicBezTo>
                    <a:cubicBezTo>
                      <a:pt x="321" y="951"/>
                      <a:pt x="320" y="951"/>
                      <a:pt x="320" y="949"/>
                    </a:cubicBezTo>
                    <a:cubicBezTo>
                      <a:pt x="320" y="945"/>
                      <a:pt x="331" y="941"/>
                      <a:pt x="334" y="939"/>
                    </a:cubicBezTo>
                    <a:cubicBezTo>
                      <a:pt x="337" y="937"/>
                      <a:pt x="337" y="940"/>
                      <a:pt x="337" y="944"/>
                    </a:cubicBezTo>
                    <a:cubicBezTo>
                      <a:pt x="337" y="947"/>
                      <a:pt x="339" y="949"/>
                      <a:pt x="339" y="953"/>
                    </a:cubicBezTo>
                    <a:cubicBezTo>
                      <a:pt x="339" y="957"/>
                      <a:pt x="341" y="957"/>
                      <a:pt x="341" y="960"/>
                    </a:cubicBezTo>
                    <a:cubicBezTo>
                      <a:pt x="341" y="964"/>
                      <a:pt x="335" y="966"/>
                      <a:pt x="335" y="968"/>
                    </a:cubicBezTo>
                    <a:cubicBezTo>
                      <a:pt x="335" y="969"/>
                      <a:pt x="336" y="970"/>
                      <a:pt x="338" y="970"/>
                    </a:cubicBezTo>
                    <a:cubicBezTo>
                      <a:pt x="344" y="970"/>
                      <a:pt x="350" y="967"/>
                      <a:pt x="355" y="967"/>
                    </a:cubicBezTo>
                    <a:cubicBezTo>
                      <a:pt x="361" y="967"/>
                      <a:pt x="363" y="970"/>
                      <a:pt x="369" y="970"/>
                    </a:cubicBezTo>
                    <a:cubicBezTo>
                      <a:pt x="372" y="970"/>
                      <a:pt x="375" y="973"/>
                      <a:pt x="379" y="973"/>
                    </a:cubicBezTo>
                    <a:cubicBezTo>
                      <a:pt x="383" y="973"/>
                      <a:pt x="381" y="975"/>
                      <a:pt x="379" y="975"/>
                    </a:cubicBezTo>
                    <a:cubicBezTo>
                      <a:pt x="377" y="975"/>
                      <a:pt x="376" y="979"/>
                      <a:pt x="372" y="979"/>
                    </a:cubicBezTo>
                    <a:cubicBezTo>
                      <a:pt x="368" y="979"/>
                      <a:pt x="368" y="975"/>
                      <a:pt x="365" y="975"/>
                    </a:cubicBezTo>
                    <a:cubicBezTo>
                      <a:pt x="363" y="975"/>
                      <a:pt x="362" y="977"/>
                      <a:pt x="357" y="977"/>
                    </a:cubicBezTo>
                    <a:cubicBezTo>
                      <a:pt x="351" y="977"/>
                      <a:pt x="344" y="980"/>
                      <a:pt x="339" y="980"/>
                    </a:cubicBezTo>
                    <a:cubicBezTo>
                      <a:pt x="333" y="980"/>
                      <a:pt x="329" y="993"/>
                      <a:pt x="327" y="993"/>
                    </a:cubicBezTo>
                    <a:cubicBezTo>
                      <a:pt x="324" y="993"/>
                      <a:pt x="324" y="990"/>
                      <a:pt x="322" y="990"/>
                    </a:cubicBezTo>
                    <a:cubicBezTo>
                      <a:pt x="320" y="990"/>
                      <a:pt x="321" y="993"/>
                      <a:pt x="318" y="993"/>
                    </a:cubicBezTo>
                    <a:cubicBezTo>
                      <a:pt x="316" y="993"/>
                      <a:pt x="317" y="989"/>
                      <a:pt x="314" y="989"/>
                    </a:cubicBezTo>
                    <a:cubicBezTo>
                      <a:pt x="310" y="989"/>
                      <a:pt x="310" y="994"/>
                      <a:pt x="304" y="994"/>
                    </a:cubicBezTo>
                    <a:cubicBezTo>
                      <a:pt x="300" y="994"/>
                      <a:pt x="298" y="996"/>
                      <a:pt x="295" y="996"/>
                    </a:cubicBezTo>
                    <a:cubicBezTo>
                      <a:pt x="293" y="996"/>
                      <a:pt x="286" y="1001"/>
                      <a:pt x="283" y="1001"/>
                    </a:cubicBezTo>
                    <a:cubicBezTo>
                      <a:pt x="280" y="1001"/>
                      <a:pt x="275" y="1007"/>
                      <a:pt x="272" y="1007"/>
                    </a:cubicBezTo>
                    <a:cubicBezTo>
                      <a:pt x="268" y="1007"/>
                      <a:pt x="265" y="1010"/>
                      <a:pt x="262" y="1010"/>
                    </a:cubicBezTo>
                    <a:cubicBezTo>
                      <a:pt x="259" y="1010"/>
                      <a:pt x="259" y="1009"/>
                      <a:pt x="254" y="1009"/>
                    </a:cubicBezTo>
                    <a:cubicBezTo>
                      <a:pt x="249" y="1009"/>
                      <a:pt x="248" y="1005"/>
                      <a:pt x="244" y="1005"/>
                    </a:cubicBezTo>
                    <a:cubicBezTo>
                      <a:pt x="241" y="1005"/>
                      <a:pt x="240" y="1007"/>
                      <a:pt x="238" y="1007"/>
                    </a:cubicBezTo>
                    <a:cubicBezTo>
                      <a:pt x="237" y="1007"/>
                      <a:pt x="237" y="1005"/>
                      <a:pt x="232" y="1005"/>
                    </a:cubicBezTo>
                    <a:cubicBezTo>
                      <a:pt x="226" y="1005"/>
                      <a:pt x="226" y="1011"/>
                      <a:pt x="222" y="1011"/>
                    </a:cubicBezTo>
                    <a:cubicBezTo>
                      <a:pt x="218" y="1011"/>
                      <a:pt x="216" y="1009"/>
                      <a:pt x="210" y="1009"/>
                    </a:cubicBezTo>
                    <a:cubicBezTo>
                      <a:pt x="203" y="1009"/>
                      <a:pt x="202" y="1007"/>
                      <a:pt x="191" y="1007"/>
                    </a:cubicBezTo>
                    <a:cubicBezTo>
                      <a:pt x="185" y="1007"/>
                      <a:pt x="179" y="1015"/>
                      <a:pt x="179" y="1018"/>
                    </a:cubicBezTo>
                    <a:cubicBezTo>
                      <a:pt x="179" y="1021"/>
                      <a:pt x="178" y="1020"/>
                      <a:pt x="178" y="1026"/>
                    </a:cubicBezTo>
                    <a:cubicBezTo>
                      <a:pt x="178" y="1036"/>
                      <a:pt x="178" y="1036"/>
                      <a:pt x="178" y="1036"/>
                    </a:cubicBezTo>
                    <a:cubicBezTo>
                      <a:pt x="181" y="1036"/>
                      <a:pt x="181" y="1036"/>
                      <a:pt x="181" y="1036"/>
                    </a:cubicBezTo>
                    <a:cubicBezTo>
                      <a:pt x="183" y="1036"/>
                      <a:pt x="184" y="1037"/>
                      <a:pt x="186" y="1038"/>
                    </a:cubicBezTo>
                    <a:cubicBezTo>
                      <a:pt x="188" y="1039"/>
                      <a:pt x="187" y="1042"/>
                      <a:pt x="186" y="1042"/>
                    </a:cubicBezTo>
                    <a:cubicBezTo>
                      <a:pt x="184" y="1042"/>
                      <a:pt x="181" y="1040"/>
                      <a:pt x="175" y="1040"/>
                    </a:cubicBezTo>
                    <a:cubicBezTo>
                      <a:pt x="164" y="1040"/>
                      <a:pt x="162" y="1052"/>
                      <a:pt x="155" y="1052"/>
                    </a:cubicBezTo>
                    <a:cubicBezTo>
                      <a:pt x="150" y="1052"/>
                      <a:pt x="144" y="1059"/>
                      <a:pt x="138" y="1059"/>
                    </a:cubicBezTo>
                    <a:cubicBezTo>
                      <a:pt x="135" y="1059"/>
                      <a:pt x="135" y="1058"/>
                      <a:pt x="131" y="1058"/>
                    </a:cubicBezTo>
                    <a:cubicBezTo>
                      <a:pt x="127" y="1058"/>
                      <a:pt x="118" y="1059"/>
                      <a:pt x="118" y="1064"/>
                    </a:cubicBezTo>
                    <a:cubicBezTo>
                      <a:pt x="118" y="1069"/>
                      <a:pt x="128" y="1071"/>
                      <a:pt x="134" y="1071"/>
                    </a:cubicBezTo>
                    <a:cubicBezTo>
                      <a:pt x="139" y="1071"/>
                      <a:pt x="142" y="1073"/>
                      <a:pt x="142" y="1076"/>
                    </a:cubicBezTo>
                    <a:cubicBezTo>
                      <a:pt x="142" y="1080"/>
                      <a:pt x="143" y="1088"/>
                      <a:pt x="143" y="1093"/>
                    </a:cubicBezTo>
                    <a:cubicBezTo>
                      <a:pt x="143" y="1098"/>
                      <a:pt x="137" y="1104"/>
                      <a:pt x="134" y="1104"/>
                    </a:cubicBezTo>
                    <a:cubicBezTo>
                      <a:pt x="132" y="1104"/>
                      <a:pt x="129" y="1104"/>
                      <a:pt x="129" y="1106"/>
                    </a:cubicBezTo>
                    <a:cubicBezTo>
                      <a:pt x="129" y="1111"/>
                      <a:pt x="132" y="1114"/>
                      <a:pt x="134" y="1114"/>
                    </a:cubicBezTo>
                    <a:cubicBezTo>
                      <a:pt x="138" y="1114"/>
                      <a:pt x="138" y="1113"/>
                      <a:pt x="142" y="1113"/>
                    </a:cubicBezTo>
                    <a:cubicBezTo>
                      <a:pt x="146" y="1113"/>
                      <a:pt x="150" y="1114"/>
                      <a:pt x="154" y="1114"/>
                    </a:cubicBezTo>
                    <a:cubicBezTo>
                      <a:pt x="158" y="1114"/>
                      <a:pt x="162" y="1116"/>
                      <a:pt x="162" y="1119"/>
                    </a:cubicBezTo>
                    <a:cubicBezTo>
                      <a:pt x="162" y="1122"/>
                      <a:pt x="162" y="1124"/>
                      <a:pt x="160" y="1124"/>
                    </a:cubicBezTo>
                    <a:cubicBezTo>
                      <a:pt x="157" y="1124"/>
                      <a:pt x="157" y="1123"/>
                      <a:pt x="155" y="1123"/>
                    </a:cubicBezTo>
                    <a:cubicBezTo>
                      <a:pt x="152" y="1123"/>
                      <a:pt x="151" y="1125"/>
                      <a:pt x="147" y="1125"/>
                    </a:cubicBezTo>
                    <a:cubicBezTo>
                      <a:pt x="144" y="1125"/>
                      <a:pt x="146" y="1120"/>
                      <a:pt x="143" y="1120"/>
                    </a:cubicBezTo>
                    <a:cubicBezTo>
                      <a:pt x="140" y="1120"/>
                      <a:pt x="142" y="1128"/>
                      <a:pt x="125" y="1128"/>
                    </a:cubicBezTo>
                    <a:cubicBezTo>
                      <a:pt x="111" y="1128"/>
                      <a:pt x="101" y="1118"/>
                      <a:pt x="101" y="1116"/>
                    </a:cubicBezTo>
                    <a:cubicBezTo>
                      <a:pt x="101" y="1114"/>
                      <a:pt x="102" y="1109"/>
                      <a:pt x="102" y="1105"/>
                    </a:cubicBezTo>
                    <a:cubicBezTo>
                      <a:pt x="102" y="1101"/>
                      <a:pt x="103" y="1098"/>
                      <a:pt x="102" y="1098"/>
                    </a:cubicBezTo>
                    <a:cubicBezTo>
                      <a:pt x="101" y="1098"/>
                      <a:pt x="101" y="1100"/>
                      <a:pt x="99" y="1100"/>
                    </a:cubicBezTo>
                    <a:cubicBezTo>
                      <a:pt x="97" y="1100"/>
                      <a:pt x="97" y="1098"/>
                      <a:pt x="95" y="1098"/>
                    </a:cubicBezTo>
                    <a:cubicBezTo>
                      <a:pt x="94" y="1098"/>
                      <a:pt x="93" y="1098"/>
                      <a:pt x="93" y="1101"/>
                    </a:cubicBezTo>
                    <a:cubicBezTo>
                      <a:pt x="93" y="1103"/>
                      <a:pt x="97" y="1103"/>
                      <a:pt x="97" y="1109"/>
                    </a:cubicBezTo>
                    <a:cubicBezTo>
                      <a:pt x="97" y="1116"/>
                      <a:pt x="88" y="1123"/>
                      <a:pt x="80" y="1123"/>
                    </a:cubicBezTo>
                    <a:cubicBezTo>
                      <a:pt x="76" y="1123"/>
                      <a:pt x="74" y="1126"/>
                      <a:pt x="71" y="1126"/>
                    </a:cubicBezTo>
                    <a:cubicBezTo>
                      <a:pt x="69" y="1126"/>
                      <a:pt x="68" y="1125"/>
                      <a:pt x="68" y="1122"/>
                    </a:cubicBezTo>
                    <a:cubicBezTo>
                      <a:pt x="68" y="1120"/>
                      <a:pt x="71" y="1116"/>
                      <a:pt x="71" y="1111"/>
                    </a:cubicBezTo>
                    <a:cubicBezTo>
                      <a:pt x="71" y="1109"/>
                      <a:pt x="71" y="1106"/>
                      <a:pt x="69" y="1106"/>
                    </a:cubicBezTo>
                    <a:cubicBezTo>
                      <a:pt x="66" y="1106"/>
                      <a:pt x="65" y="1108"/>
                      <a:pt x="62" y="1108"/>
                    </a:cubicBezTo>
                    <a:cubicBezTo>
                      <a:pt x="59" y="1108"/>
                      <a:pt x="58" y="1110"/>
                      <a:pt x="54" y="1110"/>
                    </a:cubicBezTo>
                    <a:cubicBezTo>
                      <a:pt x="47" y="1110"/>
                      <a:pt x="40" y="1116"/>
                      <a:pt x="40" y="1119"/>
                    </a:cubicBezTo>
                    <a:cubicBezTo>
                      <a:pt x="40" y="1122"/>
                      <a:pt x="36" y="1125"/>
                      <a:pt x="28" y="1125"/>
                    </a:cubicBezTo>
                    <a:cubicBezTo>
                      <a:pt x="23" y="1125"/>
                      <a:pt x="22" y="1132"/>
                      <a:pt x="24" y="1133"/>
                    </a:cubicBezTo>
                    <a:cubicBezTo>
                      <a:pt x="25" y="1135"/>
                      <a:pt x="25" y="1138"/>
                      <a:pt x="23" y="1139"/>
                    </a:cubicBezTo>
                    <a:cubicBezTo>
                      <a:pt x="21" y="1140"/>
                      <a:pt x="21" y="1142"/>
                      <a:pt x="23" y="1144"/>
                    </a:cubicBezTo>
                    <a:cubicBezTo>
                      <a:pt x="24" y="1146"/>
                      <a:pt x="23" y="1147"/>
                      <a:pt x="20" y="1147"/>
                    </a:cubicBezTo>
                    <a:cubicBezTo>
                      <a:pt x="18" y="1147"/>
                      <a:pt x="14" y="1144"/>
                      <a:pt x="14" y="1141"/>
                    </a:cubicBezTo>
                    <a:cubicBezTo>
                      <a:pt x="14" y="1139"/>
                      <a:pt x="14" y="1136"/>
                      <a:pt x="12" y="1136"/>
                    </a:cubicBezTo>
                    <a:cubicBezTo>
                      <a:pt x="10" y="1136"/>
                      <a:pt x="10" y="1138"/>
                      <a:pt x="8" y="1139"/>
                    </a:cubicBezTo>
                    <a:cubicBezTo>
                      <a:pt x="5" y="1140"/>
                      <a:pt x="1" y="1141"/>
                      <a:pt x="1" y="1144"/>
                    </a:cubicBezTo>
                    <a:cubicBezTo>
                      <a:pt x="1" y="1147"/>
                      <a:pt x="5" y="1146"/>
                      <a:pt x="5" y="1148"/>
                    </a:cubicBezTo>
                    <a:cubicBezTo>
                      <a:pt x="5" y="1151"/>
                      <a:pt x="0" y="1152"/>
                      <a:pt x="0" y="1155"/>
                    </a:cubicBezTo>
                    <a:cubicBezTo>
                      <a:pt x="0" y="1166"/>
                      <a:pt x="0" y="1166"/>
                      <a:pt x="0" y="1166"/>
                    </a:cubicBezTo>
                    <a:cubicBezTo>
                      <a:pt x="0" y="1170"/>
                      <a:pt x="3" y="1174"/>
                      <a:pt x="8" y="1174"/>
                    </a:cubicBezTo>
                    <a:cubicBezTo>
                      <a:pt x="13" y="1174"/>
                      <a:pt x="16" y="1171"/>
                      <a:pt x="20" y="1171"/>
                    </a:cubicBezTo>
                    <a:cubicBezTo>
                      <a:pt x="23" y="1171"/>
                      <a:pt x="25" y="1171"/>
                      <a:pt x="25" y="1170"/>
                    </a:cubicBezTo>
                    <a:cubicBezTo>
                      <a:pt x="25" y="1167"/>
                      <a:pt x="23" y="1167"/>
                      <a:pt x="23" y="1166"/>
                    </a:cubicBezTo>
                    <a:cubicBezTo>
                      <a:pt x="23" y="1164"/>
                      <a:pt x="22" y="1164"/>
                      <a:pt x="25" y="1164"/>
                    </a:cubicBezTo>
                    <a:cubicBezTo>
                      <a:pt x="28" y="1164"/>
                      <a:pt x="33" y="1170"/>
                      <a:pt x="39" y="1170"/>
                    </a:cubicBezTo>
                    <a:cubicBezTo>
                      <a:pt x="42" y="1170"/>
                      <a:pt x="44" y="1171"/>
                      <a:pt x="44" y="1168"/>
                    </a:cubicBezTo>
                    <a:cubicBezTo>
                      <a:pt x="44" y="1166"/>
                      <a:pt x="38" y="1166"/>
                      <a:pt x="38" y="1164"/>
                    </a:cubicBezTo>
                    <a:cubicBezTo>
                      <a:pt x="38" y="1161"/>
                      <a:pt x="40" y="1161"/>
                      <a:pt x="44" y="1161"/>
                    </a:cubicBezTo>
                    <a:cubicBezTo>
                      <a:pt x="47" y="1161"/>
                      <a:pt x="47" y="1167"/>
                      <a:pt x="51" y="1167"/>
                    </a:cubicBezTo>
                    <a:cubicBezTo>
                      <a:pt x="54" y="1167"/>
                      <a:pt x="53" y="1164"/>
                      <a:pt x="56" y="1164"/>
                    </a:cubicBezTo>
                    <a:cubicBezTo>
                      <a:pt x="59" y="1164"/>
                      <a:pt x="59" y="1171"/>
                      <a:pt x="63" y="1171"/>
                    </a:cubicBezTo>
                    <a:cubicBezTo>
                      <a:pt x="66" y="1171"/>
                      <a:pt x="66" y="1169"/>
                      <a:pt x="71" y="1169"/>
                    </a:cubicBezTo>
                    <a:cubicBezTo>
                      <a:pt x="81" y="1169"/>
                      <a:pt x="94" y="1160"/>
                      <a:pt x="104" y="1160"/>
                    </a:cubicBezTo>
                    <a:cubicBezTo>
                      <a:pt x="109" y="1160"/>
                      <a:pt x="112" y="1166"/>
                      <a:pt x="112" y="1168"/>
                    </a:cubicBezTo>
                    <a:cubicBezTo>
                      <a:pt x="112" y="1170"/>
                      <a:pt x="114" y="1172"/>
                      <a:pt x="115" y="1172"/>
                    </a:cubicBezTo>
                    <a:cubicBezTo>
                      <a:pt x="116" y="1172"/>
                      <a:pt x="117" y="1171"/>
                      <a:pt x="117" y="1170"/>
                    </a:cubicBezTo>
                    <a:cubicBezTo>
                      <a:pt x="117" y="1167"/>
                      <a:pt x="114" y="1162"/>
                      <a:pt x="114" y="1161"/>
                    </a:cubicBezTo>
                    <a:cubicBezTo>
                      <a:pt x="114" y="1159"/>
                      <a:pt x="115" y="1159"/>
                      <a:pt x="119" y="1159"/>
                    </a:cubicBezTo>
                    <a:cubicBezTo>
                      <a:pt x="123" y="1159"/>
                      <a:pt x="124" y="1157"/>
                      <a:pt x="129" y="1157"/>
                    </a:cubicBezTo>
                    <a:cubicBezTo>
                      <a:pt x="137" y="1157"/>
                      <a:pt x="138" y="1163"/>
                      <a:pt x="140" y="1163"/>
                    </a:cubicBezTo>
                    <a:cubicBezTo>
                      <a:pt x="143" y="1163"/>
                      <a:pt x="143" y="1161"/>
                      <a:pt x="146" y="1161"/>
                    </a:cubicBezTo>
                    <a:cubicBezTo>
                      <a:pt x="150" y="1161"/>
                      <a:pt x="153" y="1167"/>
                      <a:pt x="152" y="1168"/>
                    </a:cubicBezTo>
                    <a:cubicBezTo>
                      <a:pt x="151" y="1169"/>
                      <a:pt x="149" y="1167"/>
                      <a:pt x="145" y="1167"/>
                    </a:cubicBezTo>
                    <a:cubicBezTo>
                      <a:pt x="139" y="1167"/>
                      <a:pt x="136" y="1171"/>
                      <a:pt x="131" y="1171"/>
                    </a:cubicBezTo>
                    <a:cubicBezTo>
                      <a:pt x="127" y="1171"/>
                      <a:pt x="127" y="1165"/>
                      <a:pt x="125" y="1165"/>
                    </a:cubicBezTo>
                    <a:cubicBezTo>
                      <a:pt x="123" y="1165"/>
                      <a:pt x="124" y="1168"/>
                      <a:pt x="124" y="1173"/>
                    </a:cubicBezTo>
                    <a:cubicBezTo>
                      <a:pt x="124" y="1177"/>
                      <a:pt x="119" y="1177"/>
                      <a:pt x="119" y="1179"/>
                    </a:cubicBezTo>
                    <a:cubicBezTo>
                      <a:pt x="119" y="1182"/>
                      <a:pt x="120" y="1181"/>
                      <a:pt x="120" y="1183"/>
                    </a:cubicBezTo>
                    <a:cubicBezTo>
                      <a:pt x="120" y="1185"/>
                      <a:pt x="120" y="1187"/>
                      <a:pt x="119" y="1187"/>
                    </a:cubicBezTo>
                    <a:cubicBezTo>
                      <a:pt x="117" y="1187"/>
                      <a:pt x="117" y="1185"/>
                      <a:pt x="116" y="1185"/>
                    </a:cubicBezTo>
                    <a:cubicBezTo>
                      <a:pt x="114" y="1185"/>
                      <a:pt x="115" y="1187"/>
                      <a:pt x="113" y="1187"/>
                    </a:cubicBezTo>
                    <a:cubicBezTo>
                      <a:pt x="112" y="1187"/>
                      <a:pt x="112" y="1186"/>
                      <a:pt x="112" y="1184"/>
                    </a:cubicBezTo>
                    <a:cubicBezTo>
                      <a:pt x="112" y="1183"/>
                      <a:pt x="113" y="1179"/>
                      <a:pt x="111" y="1179"/>
                    </a:cubicBezTo>
                    <a:cubicBezTo>
                      <a:pt x="109" y="1179"/>
                      <a:pt x="107" y="1184"/>
                      <a:pt x="107" y="1190"/>
                    </a:cubicBezTo>
                    <a:cubicBezTo>
                      <a:pt x="107" y="1195"/>
                      <a:pt x="96" y="1197"/>
                      <a:pt x="92" y="1197"/>
                    </a:cubicBezTo>
                    <a:cubicBezTo>
                      <a:pt x="83" y="1197"/>
                      <a:pt x="81" y="1200"/>
                      <a:pt x="77" y="1200"/>
                    </a:cubicBezTo>
                    <a:cubicBezTo>
                      <a:pt x="73" y="1200"/>
                      <a:pt x="69" y="1205"/>
                      <a:pt x="65" y="1205"/>
                    </a:cubicBezTo>
                    <a:cubicBezTo>
                      <a:pt x="62" y="1205"/>
                      <a:pt x="57" y="1209"/>
                      <a:pt x="57" y="1210"/>
                    </a:cubicBezTo>
                    <a:cubicBezTo>
                      <a:pt x="57" y="1211"/>
                      <a:pt x="56" y="1211"/>
                      <a:pt x="51" y="1211"/>
                    </a:cubicBezTo>
                    <a:cubicBezTo>
                      <a:pt x="47" y="1211"/>
                      <a:pt x="44" y="1213"/>
                      <a:pt x="44" y="1216"/>
                    </a:cubicBezTo>
                    <a:cubicBezTo>
                      <a:pt x="44" y="1219"/>
                      <a:pt x="44" y="1222"/>
                      <a:pt x="41" y="1222"/>
                    </a:cubicBezTo>
                    <a:cubicBezTo>
                      <a:pt x="37" y="1222"/>
                      <a:pt x="34" y="1223"/>
                      <a:pt x="34" y="1225"/>
                    </a:cubicBezTo>
                    <a:cubicBezTo>
                      <a:pt x="34" y="1227"/>
                      <a:pt x="35" y="1227"/>
                      <a:pt x="37" y="1227"/>
                    </a:cubicBezTo>
                    <a:cubicBezTo>
                      <a:pt x="40" y="1227"/>
                      <a:pt x="42" y="1232"/>
                      <a:pt x="42" y="1234"/>
                    </a:cubicBezTo>
                    <a:cubicBezTo>
                      <a:pt x="42" y="1236"/>
                      <a:pt x="44" y="1237"/>
                      <a:pt x="46" y="1238"/>
                    </a:cubicBezTo>
                    <a:cubicBezTo>
                      <a:pt x="48" y="1239"/>
                      <a:pt x="47" y="1244"/>
                      <a:pt x="45" y="1244"/>
                    </a:cubicBezTo>
                    <a:cubicBezTo>
                      <a:pt x="43" y="1244"/>
                      <a:pt x="44" y="1242"/>
                      <a:pt x="42" y="1242"/>
                    </a:cubicBezTo>
                    <a:cubicBezTo>
                      <a:pt x="38" y="1242"/>
                      <a:pt x="38" y="1247"/>
                      <a:pt x="34" y="1247"/>
                    </a:cubicBezTo>
                    <a:cubicBezTo>
                      <a:pt x="30" y="1247"/>
                      <a:pt x="23" y="1251"/>
                      <a:pt x="20" y="1251"/>
                    </a:cubicBezTo>
                    <a:cubicBezTo>
                      <a:pt x="17" y="1251"/>
                      <a:pt x="15" y="1251"/>
                      <a:pt x="15" y="1253"/>
                    </a:cubicBezTo>
                    <a:cubicBezTo>
                      <a:pt x="15" y="1254"/>
                      <a:pt x="17" y="1254"/>
                      <a:pt x="17" y="1256"/>
                    </a:cubicBezTo>
                    <a:cubicBezTo>
                      <a:pt x="17" y="1258"/>
                      <a:pt x="15" y="1260"/>
                      <a:pt x="15" y="1263"/>
                    </a:cubicBezTo>
                    <a:cubicBezTo>
                      <a:pt x="15" y="1265"/>
                      <a:pt x="19" y="1266"/>
                      <a:pt x="21" y="1266"/>
                    </a:cubicBezTo>
                    <a:cubicBezTo>
                      <a:pt x="26" y="1266"/>
                      <a:pt x="26" y="1269"/>
                      <a:pt x="26" y="1273"/>
                    </a:cubicBezTo>
                    <a:cubicBezTo>
                      <a:pt x="26" y="1276"/>
                      <a:pt x="24" y="1278"/>
                      <a:pt x="24" y="1281"/>
                    </a:cubicBezTo>
                    <a:cubicBezTo>
                      <a:pt x="24" y="1284"/>
                      <a:pt x="24" y="1286"/>
                      <a:pt x="27" y="1286"/>
                    </a:cubicBezTo>
                    <a:cubicBezTo>
                      <a:pt x="30" y="1286"/>
                      <a:pt x="35" y="1278"/>
                      <a:pt x="37" y="1278"/>
                    </a:cubicBezTo>
                    <a:cubicBezTo>
                      <a:pt x="40" y="1278"/>
                      <a:pt x="41" y="1276"/>
                      <a:pt x="41" y="1274"/>
                    </a:cubicBezTo>
                    <a:cubicBezTo>
                      <a:pt x="41" y="1272"/>
                      <a:pt x="49" y="1265"/>
                      <a:pt x="53" y="1265"/>
                    </a:cubicBezTo>
                    <a:cubicBezTo>
                      <a:pt x="57" y="1265"/>
                      <a:pt x="58" y="1266"/>
                      <a:pt x="58" y="1269"/>
                    </a:cubicBezTo>
                    <a:cubicBezTo>
                      <a:pt x="58" y="1271"/>
                      <a:pt x="62" y="1272"/>
                      <a:pt x="62" y="1277"/>
                    </a:cubicBezTo>
                    <a:cubicBezTo>
                      <a:pt x="62" y="1282"/>
                      <a:pt x="59" y="1288"/>
                      <a:pt x="56" y="1288"/>
                    </a:cubicBezTo>
                    <a:cubicBezTo>
                      <a:pt x="53" y="1288"/>
                      <a:pt x="50" y="1288"/>
                      <a:pt x="50" y="1290"/>
                    </a:cubicBezTo>
                    <a:cubicBezTo>
                      <a:pt x="50" y="1291"/>
                      <a:pt x="52" y="1291"/>
                      <a:pt x="57" y="1291"/>
                    </a:cubicBezTo>
                    <a:cubicBezTo>
                      <a:pt x="61" y="1291"/>
                      <a:pt x="63" y="1298"/>
                      <a:pt x="69" y="1298"/>
                    </a:cubicBezTo>
                    <a:cubicBezTo>
                      <a:pt x="74" y="1298"/>
                      <a:pt x="71" y="1305"/>
                      <a:pt x="73" y="1305"/>
                    </a:cubicBezTo>
                    <a:cubicBezTo>
                      <a:pt x="75" y="1305"/>
                      <a:pt x="75" y="1303"/>
                      <a:pt x="76" y="1301"/>
                    </a:cubicBezTo>
                    <a:cubicBezTo>
                      <a:pt x="78" y="1299"/>
                      <a:pt x="80" y="1299"/>
                      <a:pt x="85" y="1297"/>
                    </a:cubicBezTo>
                    <a:cubicBezTo>
                      <a:pt x="90" y="1295"/>
                      <a:pt x="88" y="1292"/>
                      <a:pt x="91" y="1292"/>
                    </a:cubicBezTo>
                    <a:cubicBezTo>
                      <a:pt x="99" y="1292"/>
                      <a:pt x="99" y="1292"/>
                      <a:pt x="99" y="1292"/>
                    </a:cubicBezTo>
                    <a:cubicBezTo>
                      <a:pt x="104" y="1292"/>
                      <a:pt x="102" y="1288"/>
                      <a:pt x="105" y="1288"/>
                    </a:cubicBezTo>
                    <a:cubicBezTo>
                      <a:pt x="109" y="1288"/>
                      <a:pt x="110" y="1283"/>
                      <a:pt x="113" y="1283"/>
                    </a:cubicBezTo>
                    <a:cubicBezTo>
                      <a:pt x="117" y="1283"/>
                      <a:pt x="117" y="1281"/>
                      <a:pt x="121" y="1281"/>
                    </a:cubicBezTo>
                    <a:cubicBezTo>
                      <a:pt x="124" y="1281"/>
                      <a:pt x="124" y="1277"/>
                      <a:pt x="126" y="1277"/>
                    </a:cubicBezTo>
                    <a:cubicBezTo>
                      <a:pt x="128" y="1277"/>
                      <a:pt x="128" y="1278"/>
                      <a:pt x="128" y="1279"/>
                    </a:cubicBezTo>
                    <a:cubicBezTo>
                      <a:pt x="128" y="1281"/>
                      <a:pt x="129" y="1282"/>
                      <a:pt x="131" y="1282"/>
                    </a:cubicBezTo>
                    <a:cubicBezTo>
                      <a:pt x="134" y="1282"/>
                      <a:pt x="138" y="1281"/>
                      <a:pt x="138" y="1279"/>
                    </a:cubicBezTo>
                    <a:cubicBezTo>
                      <a:pt x="138" y="1276"/>
                      <a:pt x="138" y="1275"/>
                      <a:pt x="141" y="1275"/>
                    </a:cubicBezTo>
                    <a:cubicBezTo>
                      <a:pt x="145" y="1275"/>
                      <a:pt x="144" y="1276"/>
                      <a:pt x="145" y="1276"/>
                    </a:cubicBezTo>
                    <a:cubicBezTo>
                      <a:pt x="149" y="1276"/>
                      <a:pt x="151" y="1269"/>
                      <a:pt x="156" y="1269"/>
                    </a:cubicBezTo>
                    <a:cubicBezTo>
                      <a:pt x="159" y="1269"/>
                      <a:pt x="159" y="1267"/>
                      <a:pt x="166" y="1264"/>
                    </a:cubicBezTo>
                    <a:cubicBezTo>
                      <a:pt x="173" y="1262"/>
                      <a:pt x="178" y="1260"/>
                      <a:pt x="180" y="1260"/>
                    </a:cubicBezTo>
                    <a:cubicBezTo>
                      <a:pt x="183" y="1260"/>
                      <a:pt x="183" y="1260"/>
                      <a:pt x="185" y="1260"/>
                    </a:cubicBezTo>
                    <a:cubicBezTo>
                      <a:pt x="186" y="1260"/>
                      <a:pt x="187" y="1260"/>
                      <a:pt x="189" y="1260"/>
                    </a:cubicBezTo>
                    <a:cubicBezTo>
                      <a:pt x="191" y="1260"/>
                      <a:pt x="193" y="1258"/>
                      <a:pt x="193" y="1260"/>
                    </a:cubicBezTo>
                    <a:cubicBezTo>
                      <a:pt x="193" y="1262"/>
                      <a:pt x="185" y="1265"/>
                      <a:pt x="179" y="1268"/>
                    </a:cubicBezTo>
                    <a:cubicBezTo>
                      <a:pt x="173" y="1271"/>
                      <a:pt x="167" y="1272"/>
                      <a:pt x="163" y="1272"/>
                    </a:cubicBezTo>
                    <a:cubicBezTo>
                      <a:pt x="158" y="1272"/>
                      <a:pt x="157" y="1276"/>
                      <a:pt x="155" y="1278"/>
                    </a:cubicBezTo>
                    <a:cubicBezTo>
                      <a:pt x="153" y="1279"/>
                      <a:pt x="152" y="1281"/>
                      <a:pt x="150" y="1284"/>
                    </a:cubicBezTo>
                    <a:cubicBezTo>
                      <a:pt x="147" y="1288"/>
                      <a:pt x="143" y="1287"/>
                      <a:pt x="143" y="1291"/>
                    </a:cubicBezTo>
                    <a:cubicBezTo>
                      <a:pt x="143" y="1294"/>
                      <a:pt x="147" y="1293"/>
                      <a:pt x="147" y="1295"/>
                    </a:cubicBezTo>
                    <a:cubicBezTo>
                      <a:pt x="147" y="1297"/>
                      <a:pt x="140" y="1296"/>
                      <a:pt x="137" y="1296"/>
                    </a:cubicBezTo>
                    <a:cubicBezTo>
                      <a:pt x="134" y="1296"/>
                      <a:pt x="133" y="1297"/>
                      <a:pt x="133" y="1298"/>
                    </a:cubicBezTo>
                    <a:cubicBezTo>
                      <a:pt x="133" y="1299"/>
                      <a:pt x="132" y="1302"/>
                      <a:pt x="130" y="1302"/>
                    </a:cubicBezTo>
                    <a:cubicBezTo>
                      <a:pt x="128" y="1302"/>
                      <a:pt x="128" y="1303"/>
                      <a:pt x="126" y="1305"/>
                    </a:cubicBezTo>
                    <a:cubicBezTo>
                      <a:pt x="125" y="1307"/>
                      <a:pt x="125" y="1304"/>
                      <a:pt x="125" y="1302"/>
                    </a:cubicBezTo>
                    <a:cubicBezTo>
                      <a:pt x="125" y="1300"/>
                      <a:pt x="125" y="1298"/>
                      <a:pt x="122" y="1298"/>
                    </a:cubicBezTo>
                    <a:cubicBezTo>
                      <a:pt x="118" y="1298"/>
                      <a:pt x="115" y="1306"/>
                      <a:pt x="111" y="1306"/>
                    </a:cubicBezTo>
                    <a:cubicBezTo>
                      <a:pt x="106" y="1306"/>
                      <a:pt x="101" y="1311"/>
                      <a:pt x="101" y="1312"/>
                    </a:cubicBezTo>
                    <a:cubicBezTo>
                      <a:pt x="101" y="1314"/>
                      <a:pt x="102" y="1315"/>
                      <a:pt x="105" y="1315"/>
                    </a:cubicBezTo>
                    <a:cubicBezTo>
                      <a:pt x="107" y="1315"/>
                      <a:pt x="108" y="1315"/>
                      <a:pt x="108" y="1317"/>
                    </a:cubicBezTo>
                    <a:cubicBezTo>
                      <a:pt x="108" y="1319"/>
                      <a:pt x="105" y="1326"/>
                      <a:pt x="101" y="1326"/>
                    </a:cubicBezTo>
                    <a:cubicBezTo>
                      <a:pt x="98" y="1326"/>
                      <a:pt x="96" y="1329"/>
                      <a:pt x="93" y="1329"/>
                    </a:cubicBezTo>
                    <a:cubicBezTo>
                      <a:pt x="82" y="1329"/>
                      <a:pt x="82" y="1329"/>
                      <a:pt x="82" y="1329"/>
                    </a:cubicBezTo>
                    <a:cubicBezTo>
                      <a:pt x="76" y="1329"/>
                      <a:pt x="76" y="1334"/>
                      <a:pt x="81" y="1334"/>
                    </a:cubicBezTo>
                    <a:cubicBezTo>
                      <a:pt x="84" y="1334"/>
                      <a:pt x="86" y="1337"/>
                      <a:pt x="86" y="1340"/>
                    </a:cubicBezTo>
                    <a:cubicBezTo>
                      <a:pt x="86" y="1344"/>
                      <a:pt x="84" y="1346"/>
                      <a:pt x="80" y="1346"/>
                    </a:cubicBezTo>
                    <a:cubicBezTo>
                      <a:pt x="77" y="1346"/>
                      <a:pt x="74" y="1349"/>
                      <a:pt x="69" y="1349"/>
                    </a:cubicBezTo>
                    <a:cubicBezTo>
                      <a:pt x="67" y="1349"/>
                      <a:pt x="66" y="1349"/>
                      <a:pt x="66" y="1351"/>
                    </a:cubicBezTo>
                    <a:cubicBezTo>
                      <a:pt x="66" y="1353"/>
                      <a:pt x="66" y="1354"/>
                      <a:pt x="65" y="1355"/>
                    </a:cubicBezTo>
                    <a:cubicBezTo>
                      <a:pt x="63" y="1358"/>
                      <a:pt x="62" y="1360"/>
                      <a:pt x="63" y="1360"/>
                    </a:cubicBezTo>
                    <a:cubicBezTo>
                      <a:pt x="64" y="1361"/>
                      <a:pt x="65" y="1361"/>
                      <a:pt x="67" y="1358"/>
                    </a:cubicBezTo>
                    <a:cubicBezTo>
                      <a:pt x="69" y="1356"/>
                      <a:pt x="70" y="1356"/>
                      <a:pt x="74" y="1356"/>
                    </a:cubicBezTo>
                    <a:cubicBezTo>
                      <a:pt x="77" y="1356"/>
                      <a:pt x="77" y="1353"/>
                      <a:pt x="80" y="1353"/>
                    </a:cubicBezTo>
                    <a:cubicBezTo>
                      <a:pt x="85" y="1353"/>
                      <a:pt x="85" y="1357"/>
                      <a:pt x="91" y="1357"/>
                    </a:cubicBezTo>
                    <a:cubicBezTo>
                      <a:pt x="94" y="1357"/>
                      <a:pt x="95" y="1355"/>
                      <a:pt x="98" y="1355"/>
                    </a:cubicBezTo>
                    <a:cubicBezTo>
                      <a:pt x="102" y="1355"/>
                      <a:pt x="102" y="1349"/>
                      <a:pt x="104" y="1349"/>
                    </a:cubicBezTo>
                    <a:cubicBezTo>
                      <a:pt x="107" y="1349"/>
                      <a:pt x="106" y="1351"/>
                      <a:pt x="110" y="1351"/>
                    </a:cubicBezTo>
                    <a:cubicBezTo>
                      <a:pt x="114" y="1351"/>
                      <a:pt x="115" y="1347"/>
                      <a:pt x="115" y="1344"/>
                    </a:cubicBezTo>
                    <a:cubicBezTo>
                      <a:pt x="115" y="1342"/>
                      <a:pt x="117" y="1342"/>
                      <a:pt x="118" y="1340"/>
                    </a:cubicBezTo>
                    <a:cubicBezTo>
                      <a:pt x="119" y="1339"/>
                      <a:pt x="122" y="1338"/>
                      <a:pt x="127" y="1338"/>
                    </a:cubicBezTo>
                    <a:cubicBezTo>
                      <a:pt x="133" y="1338"/>
                      <a:pt x="133" y="1336"/>
                      <a:pt x="135" y="1336"/>
                    </a:cubicBezTo>
                    <a:cubicBezTo>
                      <a:pt x="138" y="1336"/>
                      <a:pt x="138" y="1337"/>
                      <a:pt x="141" y="1337"/>
                    </a:cubicBezTo>
                    <a:cubicBezTo>
                      <a:pt x="147" y="1337"/>
                      <a:pt x="153" y="1333"/>
                      <a:pt x="158" y="1333"/>
                    </a:cubicBezTo>
                    <a:cubicBezTo>
                      <a:pt x="162" y="1333"/>
                      <a:pt x="158" y="1331"/>
                      <a:pt x="172" y="1331"/>
                    </a:cubicBezTo>
                    <a:cubicBezTo>
                      <a:pt x="178" y="1331"/>
                      <a:pt x="183" y="1325"/>
                      <a:pt x="186" y="1325"/>
                    </a:cubicBezTo>
                    <a:cubicBezTo>
                      <a:pt x="188" y="1325"/>
                      <a:pt x="190" y="1324"/>
                      <a:pt x="190" y="1322"/>
                    </a:cubicBezTo>
                    <a:cubicBezTo>
                      <a:pt x="190" y="1320"/>
                      <a:pt x="192" y="1318"/>
                      <a:pt x="195" y="1318"/>
                    </a:cubicBezTo>
                    <a:cubicBezTo>
                      <a:pt x="198" y="1318"/>
                      <a:pt x="199" y="1314"/>
                      <a:pt x="199" y="1313"/>
                    </a:cubicBezTo>
                    <a:cubicBezTo>
                      <a:pt x="199" y="1311"/>
                      <a:pt x="198" y="1310"/>
                      <a:pt x="198" y="1307"/>
                    </a:cubicBezTo>
                    <a:cubicBezTo>
                      <a:pt x="198" y="1305"/>
                      <a:pt x="197" y="1301"/>
                      <a:pt x="200" y="1301"/>
                    </a:cubicBezTo>
                    <a:cubicBezTo>
                      <a:pt x="203" y="1301"/>
                      <a:pt x="206" y="1307"/>
                      <a:pt x="206" y="1310"/>
                    </a:cubicBezTo>
                    <a:cubicBezTo>
                      <a:pt x="206" y="1313"/>
                      <a:pt x="210" y="1313"/>
                      <a:pt x="210" y="1315"/>
                    </a:cubicBezTo>
                    <a:cubicBezTo>
                      <a:pt x="210" y="1317"/>
                      <a:pt x="211" y="1317"/>
                      <a:pt x="216" y="1317"/>
                    </a:cubicBezTo>
                    <a:cubicBezTo>
                      <a:pt x="220" y="1317"/>
                      <a:pt x="218" y="1313"/>
                      <a:pt x="221" y="1313"/>
                    </a:cubicBezTo>
                    <a:cubicBezTo>
                      <a:pt x="223" y="1313"/>
                      <a:pt x="223" y="1314"/>
                      <a:pt x="223" y="1317"/>
                    </a:cubicBezTo>
                    <a:cubicBezTo>
                      <a:pt x="223" y="1320"/>
                      <a:pt x="221" y="1322"/>
                      <a:pt x="221" y="1325"/>
                    </a:cubicBezTo>
                    <a:cubicBezTo>
                      <a:pt x="221" y="1328"/>
                      <a:pt x="220" y="1330"/>
                      <a:pt x="216" y="1330"/>
                    </a:cubicBezTo>
                    <a:cubicBezTo>
                      <a:pt x="211" y="1331"/>
                      <a:pt x="207" y="1335"/>
                      <a:pt x="204" y="1335"/>
                    </a:cubicBezTo>
                    <a:cubicBezTo>
                      <a:pt x="197" y="1335"/>
                      <a:pt x="188" y="1339"/>
                      <a:pt x="188" y="1341"/>
                    </a:cubicBezTo>
                    <a:cubicBezTo>
                      <a:pt x="188" y="1343"/>
                      <a:pt x="183" y="1345"/>
                      <a:pt x="180" y="1345"/>
                    </a:cubicBezTo>
                    <a:cubicBezTo>
                      <a:pt x="177" y="1345"/>
                      <a:pt x="169" y="1348"/>
                      <a:pt x="169" y="1350"/>
                    </a:cubicBezTo>
                    <a:cubicBezTo>
                      <a:pt x="169" y="1352"/>
                      <a:pt x="161" y="1356"/>
                      <a:pt x="159" y="1356"/>
                    </a:cubicBezTo>
                    <a:cubicBezTo>
                      <a:pt x="156" y="1356"/>
                      <a:pt x="147" y="1363"/>
                      <a:pt x="147" y="1366"/>
                    </a:cubicBezTo>
                    <a:cubicBezTo>
                      <a:pt x="147" y="1368"/>
                      <a:pt x="142" y="1371"/>
                      <a:pt x="139" y="1372"/>
                    </a:cubicBezTo>
                    <a:cubicBezTo>
                      <a:pt x="136" y="1372"/>
                      <a:pt x="134" y="1373"/>
                      <a:pt x="134" y="1375"/>
                    </a:cubicBezTo>
                    <a:cubicBezTo>
                      <a:pt x="134" y="1376"/>
                      <a:pt x="135" y="1377"/>
                      <a:pt x="138" y="1377"/>
                    </a:cubicBezTo>
                    <a:cubicBezTo>
                      <a:pt x="140" y="1377"/>
                      <a:pt x="142" y="1376"/>
                      <a:pt x="144" y="1376"/>
                    </a:cubicBezTo>
                    <a:cubicBezTo>
                      <a:pt x="146" y="1376"/>
                      <a:pt x="148" y="1375"/>
                      <a:pt x="150" y="1373"/>
                    </a:cubicBezTo>
                    <a:cubicBezTo>
                      <a:pt x="152" y="1372"/>
                      <a:pt x="153" y="1370"/>
                      <a:pt x="155" y="1370"/>
                    </a:cubicBezTo>
                    <a:cubicBezTo>
                      <a:pt x="158" y="1370"/>
                      <a:pt x="159" y="1367"/>
                      <a:pt x="161" y="1367"/>
                    </a:cubicBezTo>
                    <a:cubicBezTo>
                      <a:pt x="164" y="1367"/>
                      <a:pt x="166" y="1364"/>
                      <a:pt x="168" y="1364"/>
                    </a:cubicBezTo>
                    <a:cubicBezTo>
                      <a:pt x="170" y="1364"/>
                      <a:pt x="175" y="1360"/>
                      <a:pt x="176" y="1360"/>
                    </a:cubicBezTo>
                    <a:cubicBezTo>
                      <a:pt x="178" y="1360"/>
                      <a:pt x="179" y="1358"/>
                      <a:pt x="182" y="1358"/>
                    </a:cubicBezTo>
                    <a:cubicBezTo>
                      <a:pt x="186" y="1358"/>
                      <a:pt x="189" y="1351"/>
                      <a:pt x="197" y="1351"/>
                    </a:cubicBezTo>
                    <a:cubicBezTo>
                      <a:pt x="200" y="1351"/>
                      <a:pt x="199" y="1355"/>
                      <a:pt x="197" y="1355"/>
                    </a:cubicBezTo>
                    <a:cubicBezTo>
                      <a:pt x="195" y="1355"/>
                      <a:pt x="191" y="1356"/>
                      <a:pt x="190" y="1359"/>
                    </a:cubicBezTo>
                    <a:cubicBezTo>
                      <a:pt x="190" y="1362"/>
                      <a:pt x="188" y="1363"/>
                      <a:pt x="186" y="1363"/>
                    </a:cubicBezTo>
                    <a:cubicBezTo>
                      <a:pt x="185" y="1363"/>
                      <a:pt x="183" y="1363"/>
                      <a:pt x="183" y="1366"/>
                    </a:cubicBezTo>
                    <a:cubicBezTo>
                      <a:pt x="183" y="1369"/>
                      <a:pt x="178" y="1368"/>
                      <a:pt x="178" y="1370"/>
                    </a:cubicBezTo>
                    <a:cubicBezTo>
                      <a:pt x="178" y="1373"/>
                      <a:pt x="176" y="1375"/>
                      <a:pt x="174" y="1375"/>
                    </a:cubicBezTo>
                    <a:cubicBezTo>
                      <a:pt x="173" y="1375"/>
                      <a:pt x="163" y="1382"/>
                      <a:pt x="159" y="1382"/>
                    </a:cubicBezTo>
                    <a:cubicBezTo>
                      <a:pt x="155" y="1382"/>
                      <a:pt x="157" y="1386"/>
                      <a:pt x="153" y="1386"/>
                    </a:cubicBezTo>
                    <a:cubicBezTo>
                      <a:pt x="150" y="1386"/>
                      <a:pt x="149" y="1388"/>
                      <a:pt x="149" y="1389"/>
                    </a:cubicBezTo>
                    <a:cubicBezTo>
                      <a:pt x="149" y="1391"/>
                      <a:pt x="148" y="1392"/>
                      <a:pt x="146" y="1392"/>
                    </a:cubicBezTo>
                    <a:cubicBezTo>
                      <a:pt x="144" y="1392"/>
                      <a:pt x="141" y="1396"/>
                      <a:pt x="139" y="1396"/>
                    </a:cubicBezTo>
                    <a:cubicBezTo>
                      <a:pt x="137" y="1396"/>
                      <a:pt x="134" y="1397"/>
                      <a:pt x="134" y="1399"/>
                    </a:cubicBezTo>
                    <a:cubicBezTo>
                      <a:pt x="134" y="1401"/>
                      <a:pt x="135" y="1402"/>
                      <a:pt x="137" y="1402"/>
                    </a:cubicBezTo>
                    <a:cubicBezTo>
                      <a:pt x="139" y="1402"/>
                      <a:pt x="139" y="1404"/>
                      <a:pt x="139" y="1408"/>
                    </a:cubicBezTo>
                    <a:cubicBezTo>
                      <a:pt x="139" y="1411"/>
                      <a:pt x="140" y="1412"/>
                      <a:pt x="143" y="1412"/>
                    </a:cubicBezTo>
                    <a:cubicBezTo>
                      <a:pt x="146" y="1412"/>
                      <a:pt x="145" y="1407"/>
                      <a:pt x="147" y="1407"/>
                    </a:cubicBezTo>
                    <a:cubicBezTo>
                      <a:pt x="150" y="1407"/>
                      <a:pt x="148" y="1410"/>
                      <a:pt x="151" y="1410"/>
                    </a:cubicBezTo>
                    <a:cubicBezTo>
                      <a:pt x="154" y="1410"/>
                      <a:pt x="156" y="1406"/>
                      <a:pt x="160" y="1406"/>
                    </a:cubicBezTo>
                    <a:cubicBezTo>
                      <a:pt x="162" y="1406"/>
                      <a:pt x="163" y="1405"/>
                      <a:pt x="163" y="1403"/>
                    </a:cubicBezTo>
                    <a:cubicBezTo>
                      <a:pt x="163" y="1401"/>
                      <a:pt x="164" y="1399"/>
                      <a:pt x="165" y="1397"/>
                    </a:cubicBezTo>
                    <a:cubicBezTo>
                      <a:pt x="166" y="1394"/>
                      <a:pt x="168" y="1392"/>
                      <a:pt x="172" y="1392"/>
                    </a:cubicBezTo>
                    <a:cubicBezTo>
                      <a:pt x="176" y="1392"/>
                      <a:pt x="173" y="1387"/>
                      <a:pt x="176" y="1387"/>
                    </a:cubicBezTo>
                    <a:cubicBezTo>
                      <a:pt x="179" y="1387"/>
                      <a:pt x="178" y="1393"/>
                      <a:pt x="180" y="1393"/>
                    </a:cubicBezTo>
                    <a:cubicBezTo>
                      <a:pt x="182" y="1393"/>
                      <a:pt x="181" y="1397"/>
                      <a:pt x="185" y="1397"/>
                    </a:cubicBezTo>
                    <a:cubicBezTo>
                      <a:pt x="188" y="1397"/>
                      <a:pt x="191" y="1391"/>
                      <a:pt x="192" y="1391"/>
                    </a:cubicBezTo>
                    <a:cubicBezTo>
                      <a:pt x="194" y="1391"/>
                      <a:pt x="194" y="1392"/>
                      <a:pt x="193" y="1394"/>
                    </a:cubicBezTo>
                    <a:cubicBezTo>
                      <a:pt x="193" y="1396"/>
                      <a:pt x="194" y="1398"/>
                      <a:pt x="196" y="1398"/>
                    </a:cubicBezTo>
                    <a:cubicBezTo>
                      <a:pt x="197" y="1398"/>
                      <a:pt x="198" y="1397"/>
                      <a:pt x="198" y="1395"/>
                    </a:cubicBezTo>
                    <a:cubicBezTo>
                      <a:pt x="198" y="1393"/>
                      <a:pt x="197" y="1394"/>
                      <a:pt x="197" y="1392"/>
                    </a:cubicBezTo>
                    <a:cubicBezTo>
                      <a:pt x="197" y="1390"/>
                      <a:pt x="198" y="1390"/>
                      <a:pt x="198" y="1388"/>
                    </a:cubicBezTo>
                    <a:cubicBezTo>
                      <a:pt x="198" y="1386"/>
                      <a:pt x="198" y="1384"/>
                      <a:pt x="200" y="1384"/>
                    </a:cubicBezTo>
                    <a:cubicBezTo>
                      <a:pt x="203" y="1384"/>
                      <a:pt x="201" y="1388"/>
                      <a:pt x="206" y="1388"/>
                    </a:cubicBezTo>
                    <a:cubicBezTo>
                      <a:pt x="211" y="1388"/>
                      <a:pt x="215" y="1382"/>
                      <a:pt x="217" y="1382"/>
                    </a:cubicBezTo>
                    <a:cubicBezTo>
                      <a:pt x="219" y="1382"/>
                      <a:pt x="219" y="1382"/>
                      <a:pt x="222" y="1381"/>
                    </a:cubicBezTo>
                    <a:cubicBezTo>
                      <a:pt x="224" y="1381"/>
                      <a:pt x="223" y="1377"/>
                      <a:pt x="222" y="1376"/>
                    </a:cubicBezTo>
                    <a:cubicBezTo>
                      <a:pt x="220" y="1375"/>
                      <a:pt x="220" y="1372"/>
                      <a:pt x="222" y="1372"/>
                    </a:cubicBezTo>
                    <a:cubicBezTo>
                      <a:pt x="223" y="1372"/>
                      <a:pt x="225" y="1374"/>
                      <a:pt x="228" y="1376"/>
                    </a:cubicBezTo>
                    <a:cubicBezTo>
                      <a:pt x="230" y="1377"/>
                      <a:pt x="232" y="1377"/>
                      <a:pt x="232" y="1381"/>
                    </a:cubicBezTo>
                    <a:cubicBezTo>
                      <a:pt x="232" y="1384"/>
                      <a:pt x="228" y="1385"/>
                      <a:pt x="228" y="1389"/>
                    </a:cubicBezTo>
                    <a:cubicBezTo>
                      <a:pt x="228" y="1392"/>
                      <a:pt x="230" y="1391"/>
                      <a:pt x="230" y="1394"/>
                    </a:cubicBezTo>
                    <a:cubicBezTo>
                      <a:pt x="230" y="1398"/>
                      <a:pt x="236" y="1398"/>
                      <a:pt x="236" y="1398"/>
                    </a:cubicBezTo>
                    <a:cubicBezTo>
                      <a:pt x="236" y="1401"/>
                      <a:pt x="236" y="1401"/>
                      <a:pt x="236" y="1401"/>
                    </a:cubicBezTo>
                    <a:cubicBezTo>
                      <a:pt x="236" y="1403"/>
                      <a:pt x="237" y="1406"/>
                      <a:pt x="240" y="1406"/>
                    </a:cubicBezTo>
                    <a:cubicBezTo>
                      <a:pt x="240" y="1406"/>
                      <a:pt x="242" y="1406"/>
                      <a:pt x="244" y="1405"/>
                    </a:cubicBezTo>
                    <a:cubicBezTo>
                      <a:pt x="248" y="1404"/>
                      <a:pt x="247" y="1402"/>
                      <a:pt x="250" y="1401"/>
                    </a:cubicBezTo>
                    <a:cubicBezTo>
                      <a:pt x="253" y="1400"/>
                      <a:pt x="255" y="1399"/>
                      <a:pt x="255" y="1397"/>
                    </a:cubicBezTo>
                    <a:cubicBezTo>
                      <a:pt x="255" y="1396"/>
                      <a:pt x="255" y="1394"/>
                      <a:pt x="258" y="1394"/>
                    </a:cubicBezTo>
                    <a:cubicBezTo>
                      <a:pt x="261" y="1394"/>
                      <a:pt x="262" y="1394"/>
                      <a:pt x="262" y="1395"/>
                    </a:cubicBezTo>
                    <a:cubicBezTo>
                      <a:pt x="262" y="1397"/>
                      <a:pt x="263" y="1398"/>
                      <a:pt x="266" y="1398"/>
                    </a:cubicBezTo>
                    <a:cubicBezTo>
                      <a:pt x="268" y="1398"/>
                      <a:pt x="268" y="1401"/>
                      <a:pt x="270" y="1401"/>
                    </a:cubicBezTo>
                    <a:cubicBezTo>
                      <a:pt x="273" y="1401"/>
                      <a:pt x="274" y="1399"/>
                      <a:pt x="274" y="1397"/>
                    </a:cubicBezTo>
                    <a:cubicBezTo>
                      <a:pt x="274" y="1396"/>
                      <a:pt x="275" y="1395"/>
                      <a:pt x="277" y="1395"/>
                    </a:cubicBezTo>
                    <a:cubicBezTo>
                      <a:pt x="280" y="1395"/>
                      <a:pt x="279" y="1390"/>
                      <a:pt x="279" y="1389"/>
                    </a:cubicBezTo>
                    <a:cubicBezTo>
                      <a:pt x="279" y="1387"/>
                      <a:pt x="278" y="1385"/>
                      <a:pt x="281" y="1385"/>
                    </a:cubicBezTo>
                    <a:cubicBezTo>
                      <a:pt x="284" y="1385"/>
                      <a:pt x="283" y="1388"/>
                      <a:pt x="287" y="1388"/>
                    </a:cubicBezTo>
                    <a:cubicBezTo>
                      <a:pt x="291" y="1388"/>
                      <a:pt x="298" y="1381"/>
                      <a:pt x="298" y="1379"/>
                    </a:cubicBezTo>
                    <a:cubicBezTo>
                      <a:pt x="298" y="1377"/>
                      <a:pt x="296" y="1376"/>
                      <a:pt x="294" y="1374"/>
                    </a:cubicBezTo>
                    <a:cubicBezTo>
                      <a:pt x="291" y="1372"/>
                      <a:pt x="294" y="1368"/>
                      <a:pt x="295" y="1368"/>
                    </a:cubicBezTo>
                    <a:cubicBezTo>
                      <a:pt x="299" y="1368"/>
                      <a:pt x="302" y="1375"/>
                      <a:pt x="306" y="1375"/>
                    </a:cubicBezTo>
                    <a:cubicBezTo>
                      <a:pt x="311" y="1375"/>
                      <a:pt x="312" y="1373"/>
                      <a:pt x="317" y="1373"/>
                    </a:cubicBezTo>
                    <a:cubicBezTo>
                      <a:pt x="319" y="1373"/>
                      <a:pt x="318" y="1369"/>
                      <a:pt x="321" y="1369"/>
                    </a:cubicBezTo>
                    <a:cubicBezTo>
                      <a:pt x="325" y="1369"/>
                      <a:pt x="332" y="1375"/>
                      <a:pt x="332" y="1378"/>
                    </a:cubicBezTo>
                    <a:cubicBezTo>
                      <a:pt x="332" y="1381"/>
                      <a:pt x="332" y="1384"/>
                      <a:pt x="335" y="1384"/>
                    </a:cubicBezTo>
                    <a:cubicBezTo>
                      <a:pt x="338" y="1384"/>
                      <a:pt x="335" y="1378"/>
                      <a:pt x="342" y="1378"/>
                    </a:cubicBezTo>
                    <a:cubicBezTo>
                      <a:pt x="345" y="1378"/>
                      <a:pt x="347" y="1377"/>
                      <a:pt x="347" y="1374"/>
                    </a:cubicBezTo>
                    <a:cubicBezTo>
                      <a:pt x="347" y="1371"/>
                      <a:pt x="349" y="1369"/>
                      <a:pt x="350" y="1369"/>
                    </a:cubicBezTo>
                    <a:cubicBezTo>
                      <a:pt x="351" y="1369"/>
                      <a:pt x="352" y="1369"/>
                      <a:pt x="352" y="1366"/>
                    </a:cubicBezTo>
                    <a:cubicBezTo>
                      <a:pt x="352" y="1363"/>
                      <a:pt x="355" y="1363"/>
                      <a:pt x="360" y="1363"/>
                    </a:cubicBezTo>
                    <a:cubicBezTo>
                      <a:pt x="366" y="1363"/>
                      <a:pt x="368" y="1365"/>
                      <a:pt x="370" y="1365"/>
                    </a:cubicBezTo>
                    <a:cubicBezTo>
                      <a:pt x="373" y="1365"/>
                      <a:pt x="373" y="1363"/>
                      <a:pt x="375" y="1363"/>
                    </a:cubicBezTo>
                    <a:cubicBezTo>
                      <a:pt x="376" y="1363"/>
                      <a:pt x="376" y="1364"/>
                      <a:pt x="376" y="1366"/>
                    </a:cubicBezTo>
                    <a:cubicBezTo>
                      <a:pt x="376" y="1368"/>
                      <a:pt x="376" y="1371"/>
                      <a:pt x="378" y="1371"/>
                    </a:cubicBezTo>
                    <a:cubicBezTo>
                      <a:pt x="380" y="1371"/>
                      <a:pt x="380" y="1368"/>
                      <a:pt x="383" y="1368"/>
                    </a:cubicBezTo>
                    <a:cubicBezTo>
                      <a:pt x="385" y="1368"/>
                      <a:pt x="385" y="1370"/>
                      <a:pt x="388" y="1370"/>
                    </a:cubicBezTo>
                    <a:cubicBezTo>
                      <a:pt x="392" y="1370"/>
                      <a:pt x="393" y="1369"/>
                      <a:pt x="393" y="1367"/>
                    </a:cubicBezTo>
                    <a:cubicBezTo>
                      <a:pt x="393" y="1364"/>
                      <a:pt x="391" y="1364"/>
                      <a:pt x="391" y="1361"/>
                    </a:cubicBezTo>
                    <a:cubicBezTo>
                      <a:pt x="391" y="1357"/>
                      <a:pt x="394" y="1359"/>
                      <a:pt x="394" y="1357"/>
                    </a:cubicBezTo>
                    <a:cubicBezTo>
                      <a:pt x="394" y="1355"/>
                      <a:pt x="393" y="1353"/>
                      <a:pt x="393" y="1351"/>
                    </a:cubicBezTo>
                    <a:cubicBezTo>
                      <a:pt x="393" y="1349"/>
                      <a:pt x="395" y="1346"/>
                      <a:pt x="400" y="1346"/>
                    </a:cubicBezTo>
                    <a:cubicBezTo>
                      <a:pt x="416" y="1346"/>
                      <a:pt x="416" y="1346"/>
                      <a:pt x="416" y="1346"/>
                    </a:cubicBezTo>
                    <a:cubicBezTo>
                      <a:pt x="421" y="1346"/>
                      <a:pt x="421" y="1352"/>
                      <a:pt x="423" y="1355"/>
                    </a:cubicBezTo>
                    <a:cubicBezTo>
                      <a:pt x="425" y="1357"/>
                      <a:pt x="427" y="1357"/>
                      <a:pt x="427" y="1356"/>
                    </a:cubicBezTo>
                    <a:cubicBezTo>
                      <a:pt x="427" y="1354"/>
                      <a:pt x="425" y="1353"/>
                      <a:pt x="425" y="1350"/>
                    </a:cubicBezTo>
                    <a:cubicBezTo>
                      <a:pt x="425" y="1348"/>
                      <a:pt x="424" y="1348"/>
                      <a:pt x="424" y="1343"/>
                    </a:cubicBezTo>
                    <a:cubicBezTo>
                      <a:pt x="424" y="1337"/>
                      <a:pt x="427" y="1331"/>
                      <a:pt x="429" y="1330"/>
                    </a:cubicBezTo>
                    <a:cubicBezTo>
                      <a:pt x="431" y="1329"/>
                      <a:pt x="432" y="1327"/>
                      <a:pt x="431" y="1326"/>
                    </a:cubicBezTo>
                    <a:cubicBezTo>
                      <a:pt x="429" y="1324"/>
                      <a:pt x="428" y="1322"/>
                      <a:pt x="430" y="1322"/>
                    </a:cubicBezTo>
                    <a:cubicBezTo>
                      <a:pt x="432" y="1322"/>
                      <a:pt x="435" y="1325"/>
                      <a:pt x="435" y="1327"/>
                    </a:cubicBezTo>
                    <a:cubicBezTo>
                      <a:pt x="435" y="1329"/>
                      <a:pt x="433" y="1332"/>
                      <a:pt x="438" y="1332"/>
                    </a:cubicBezTo>
                    <a:cubicBezTo>
                      <a:pt x="443" y="1332"/>
                      <a:pt x="442" y="1326"/>
                      <a:pt x="443" y="1326"/>
                    </a:cubicBezTo>
                    <a:cubicBezTo>
                      <a:pt x="445" y="1326"/>
                      <a:pt x="444" y="1328"/>
                      <a:pt x="446" y="1328"/>
                    </a:cubicBezTo>
                    <a:cubicBezTo>
                      <a:pt x="448" y="1328"/>
                      <a:pt x="449" y="1327"/>
                      <a:pt x="449" y="1325"/>
                    </a:cubicBezTo>
                    <a:cubicBezTo>
                      <a:pt x="449" y="1322"/>
                      <a:pt x="453" y="1323"/>
                      <a:pt x="455" y="1323"/>
                    </a:cubicBezTo>
                    <a:cubicBezTo>
                      <a:pt x="458" y="1323"/>
                      <a:pt x="459" y="1323"/>
                      <a:pt x="459" y="1321"/>
                    </a:cubicBezTo>
                    <a:cubicBezTo>
                      <a:pt x="459" y="1319"/>
                      <a:pt x="462" y="1319"/>
                      <a:pt x="466" y="1319"/>
                    </a:cubicBezTo>
                    <a:cubicBezTo>
                      <a:pt x="469" y="1319"/>
                      <a:pt x="470" y="1317"/>
                      <a:pt x="470" y="1315"/>
                    </a:cubicBezTo>
                    <a:cubicBezTo>
                      <a:pt x="470" y="1313"/>
                      <a:pt x="471" y="1312"/>
                      <a:pt x="473" y="1312"/>
                    </a:cubicBezTo>
                    <a:cubicBezTo>
                      <a:pt x="475" y="1312"/>
                      <a:pt x="476" y="1312"/>
                      <a:pt x="476" y="1309"/>
                    </a:cubicBezTo>
                    <a:cubicBezTo>
                      <a:pt x="476" y="1306"/>
                      <a:pt x="480" y="1304"/>
                      <a:pt x="480" y="1301"/>
                    </a:cubicBezTo>
                    <a:cubicBezTo>
                      <a:pt x="480" y="1298"/>
                      <a:pt x="478" y="1298"/>
                      <a:pt x="478" y="1295"/>
                    </a:cubicBezTo>
                    <a:cubicBezTo>
                      <a:pt x="478" y="1293"/>
                      <a:pt x="483" y="1291"/>
                      <a:pt x="483" y="1286"/>
                    </a:cubicBezTo>
                    <a:cubicBezTo>
                      <a:pt x="483" y="1283"/>
                      <a:pt x="479" y="1282"/>
                      <a:pt x="479" y="1278"/>
                    </a:cubicBezTo>
                    <a:cubicBezTo>
                      <a:pt x="479" y="1275"/>
                      <a:pt x="475" y="1274"/>
                      <a:pt x="475" y="1269"/>
                    </a:cubicBezTo>
                    <a:cubicBezTo>
                      <a:pt x="475" y="1265"/>
                      <a:pt x="472" y="1265"/>
                      <a:pt x="465" y="1265"/>
                    </a:cubicBezTo>
                    <a:cubicBezTo>
                      <a:pt x="459" y="1265"/>
                      <a:pt x="457" y="1264"/>
                      <a:pt x="457" y="1263"/>
                    </a:cubicBezTo>
                    <a:cubicBezTo>
                      <a:pt x="457" y="1262"/>
                      <a:pt x="458" y="1262"/>
                      <a:pt x="458" y="1260"/>
                    </a:cubicBezTo>
                    <a:cubicBezTo>
                      <a:pt x="458" y="1258"/>
                      <a:pt x="458" y="1257"/>
                      <a:pt x="461" y="1257"/>
                    </a:cubicBezTo>
                    <a:cubicBezTo>
                      <a:pt x="467" y="1257"/>
                      <a:pt x="477" y="1264"/>
                      <a:pt x="480" y="1264"/>
                    </a:cubicBezTo>
                    <a:cubicBezTo>
                      <a:pt x="484" y="1264"/>
                      <a:pt x="486" y="1261"/>
                      <a:pt x="493" y="1261"/>
                    </a:cubicBezTo>
                    <a:cubicBezTo>
                      <a:pt x="498" y="1261"/>
                      <a:pt x="500" y="1261"/>
                      <a:pt x="503" y="1259"/>
                    </a:cubicBezTo>
                    <a:cubicBezTo>
                      <a:pt x="506" y="1258"/>
                      <a:pt x="507" y="1259"/>
                      <a:pt x="507" y="1260"/>
                    </a:cubicBezTo>
                    <a:cubicBezTo>
                      <a:pt x="507" y="1262"/>
                      <a:pt x="505" y="1263"/>
                      <a:pt x="505" y="1265"/>
                    </a:cubicBezTo>
                    <a:cubicBezTo>
                      <a:pt x="505" y="1267"/>
                      <a:pt x="501" y="1272"/>
                      <a:pt x="498" y="1272"/>
                    </a:cubicBezTo>
                    <a:cubicBezTo>
                      <a:pt x="496" y="1272"/>
                      <a:pt x="497" y="1270"/>
                      <a:pt x="497" y="1268"/>
                    </a:cubicBezTo>
                    <a:cubicBezTo>
                      <a:pt x="497" y="1266"/>
                      <a:pt x="495" y="1265"/>
                      <a:pt x="493" y="1265"/>
                    </a:cubicBezTo>
                    <a:cubicBezTo>
                      <a:pt x="490" y="1265"/>
                      <a:pt x="489" y="1266"/>
                      <a:pt x="485" y="1266"/>
                    </a:cubicBezTo>
                    <a:cubicBezTo>
                      <a:pt x="482" y="1266"/>
                      <a:pt x="481" y="1269"/>
                      <a:pt x="481" y="1272"/>
                    </a:cubicBezTo>
                    <a:cubicBezTo>
                      <a:pt x="481" y="1274"/>
                      <a:pt x="483" y="1275"/>
                      <a:pt x="488" y="1275"/>
                    </a:cubicBezTo>
                    <a:cubicBezTo>
                      <a:pt x="493" y="1275"/>
                      <a:pt x="494" y="1275"/>
                      <a:pt x="492" y="1277"/>
                    </a:cubicBezTo>
                    <a:cubicBezTo>
                      <a:pt x="489" y="1278"/>
                      <a:pt x="487" y="1280"/>
                      <a:pt x="487" y="1283"/>
                    </a:cubicBezTo>
                    <a:cubicBezTo>
                      <a:pt x="487" y="1286"/>
                      <a:pt x="489" y="1289"/>
                      <a:pt x="491" y="1289"/>
                    </a:cubicBezTo>
                    <a:cubicBezTo>
                      <a:pt x="502" y="1289"/>
                      <a:pt x="502" y="1289"/>
                      <a:pt x="502" y="1289"/>
                    </a:cubicBezTo>
                    <a:cubicBezTo>
                      <a:pt x="505" y="1289"/>
                      <a:pt x="504" y="1291"/>
                      <a:pt x="508" y="1291"/>
                    </a:cubicBezTo>
                    <a:cubicBezTo>
                      <a:pt x="511" y="1291"/>
                      <a:pt x="512" y="1289"/>
                      <a:pt x="514" y="1287"/>
                    </a:cubicBezTo>
                    <a:cubicBezTo>
                      <a:pt x="516" y="1285"/>
                      <a:pt x="519" y="1285"/>
                      <a:pt x="525" y="1285"/>
                    </a:cubicBezTo>
                    <a:cubicBezTo>
                      <a:pt x="532" y="1285"/>
                      <a:pt x="536" y="1282"/>
                      <a:pt x="539" y="1282"/>
                    </a:cubicBezTo>
                    <a:cubicBezTo>
                      <a:pt x="541" y="1282"/>
                      <a:pt x="543" y="1281"/>
                      <a:pt x="543" y="1278"/>
                    </a:cubicBezTo>
                    <a:cubicBezTo>
                      <a:pt x="543" y="1275"/>
                      <a:pt x="540" y="1275"/>
                      <a:pt x="540" y="1272"/>
                    </a:cubicBezTo>
                    <a:cubicBezTo>
                      <a:pt x="540" y="1265"/>
                      <a:pt x="559" y="1262"/>
                      <a:pt x="563" y="1262"/>
                    </a:cubicBezTo>
                    <a:cubicBezTo>
                      <a:pt x="568" y="1262"/>
                      <a:pt x="572" y="1262"/>
                      <a:pt x="572" y="1259"/>
                    </a:cubicBezTo>
                    <a:cubicBezTo>
                      <a:pt x="572" y="1256"/>
                      <a:pt x="568" y="1254"/>
                      <a:pt x="566" y="1252"/>
                    </a:cubicBezTo>
                    <a:cubicBezTo>
                      <a:pt x="563" y="1249"/>
                      <a:pt x="563" y="1248"/>
                      <a:pt x="568" y="1248"/>
                    </a:cubicBezTo>
                    <a:cubicBezTo>
                      <a:pt x="573" y="1248"/>
                      <a:pt x="575" y="1232"/>
                      <a:pt x="578" y="1232"/>
                    </a:cubicBezTo>
                    <a:cubicBezTo>
                      <a:pt x="582" y="1232"/>
                      <a:pt x="580" y="1236"/>
                      <a:pt x="585" y="1236"/>
                    </a:cubicBezTo>
                    <a:cubicBezTo>
                      <a:pt x="589" y="1236"/>
                      <a:pt x="588" y="1232"/>
                      <a:pt x="592" y="1232"/>
                    </a:cubicBezTo>
                    <a:cubicBezTo>
                      <a:pt x="595" y="1232"/>
                      <a:pt x="596" y="1237"/>
                      <a:pt x="601" y="1237"/>
                    </a:cubicBezTo>
                    <a:cubicBezTo>
                      <a:pt x="605" y="1237"/>
                      <a:pt x="607" y="1236"/>
                      <a:pt x="607" y="1231"/>
                    </a:cubicBezTo>
                    <a:cubicBezTo>
                      <a:pt x="607" y="1227"/>
                      <a:pt x="609" y="1224"/>
                      <a:pt x="618" y="1223"/>
                    </a:cubicBezTo>
                    <a:cubicBezTo>
                      <a:pt x="628" y="1222"/>
                      <a:pt x="631" y="1219"/>
                      <a:pt x="635" y="1217"/>
                    </a:cubicBezTo>
                    <a:cubicBezTo>
                      <a:pt x="637" y="1216"/>
                      <a:pt x="639" y="1213"/>
                      <a:pt x="637" y="1208"/>
                    </a:cubicBezTo>
                    <a:cubicBezTo>
                      <a:pt x="636" y="1203"/>
                      <a:pt x="647" y="1202"/>
                      <a:pt x="647" y="1197"/>
                    </a:cubicBezTo>
                    <a:cubicBezTo>
                      <a:pt x="647" y="1194"/>
                      <a:pt x="641" y="1195"/>
                      <a:pt x="638" y="1195"/>
                    </a:cubicBezTo>
                    <a:cubicBezTo>
                      <a:pt x="636" y="1195"/>
                      <a:pt x="634" y="1194"/>
                      <a:pt x="634" y="1191"/>
                    </a:cubicBezTo>
                    <a:cubicBezTo>
                      <a:pt x="634" y="1188"/>
                      <a:pt x="631" y="1188"/>
                      <a:pt x="631" y="1185"/>
                    </a:cubicBezTo>
                    <a:cubicBezTo>
                      <a:pt x="631" y="1183"/>
                      <a:pt x="630" y="1181"/>
                      <a:pt x="635" y="1181"/>
                    </a:cubicBezTo>
                    <a:cubicBezTo>
                      <a:pt x="639" y="1181"/>
                      <a:pt x="638" y="1187"/>
                      <a:pt x="642" y="1187"/>
                    </a:cubicBezTo>
                    <a:cubicBezTo>
                      <a:pt x="647" y="1187"/>
                      <a:pt x="645" y="1180"/>
                      <a:pt x="654" y="1180"/>
                    </a:cubicBezTo>
                    <a:cubicBezTo>
                      <a:pt x="659" y="1180"/>
                      <a:pt x="661" y="1174"/>
                      <a:pt x="664" y="1174"/>
                    </a:cubicBezTo>
                    <a:cubicBezTo>
                      <a:pt x="667" y="1174"/>
                      <a:pt x="671" y="1170"/>
                      <a:pt x="679" y="1170"/>
                    </a:cubicBezTo>
                    <a:cubicBezTo>
                      <a:pt x="683" y="1170"/>
                      <a:pt x="684" y="1167"/>
                      <a:pt x="687" y="1167"/>
                    </a:cubicBezTo>
                    <a:cubicBezTo>
                      <a:pt x="689" y="1167"/>
                      <a:pt x="690" y="1168"/>
                      <a:pt x="694" y="1168"/>
                    </a:cubicBezTo>
                    <a:cubicBezTo>
                      <a:pt x="699" y="1168"/>
                      <a:pt x="701" y="1166"/>
                      <a:pt x="707" y="1166"/>
                    </a:cubicBezTo>
                    <a:cubicBezTo>
                      <a:pt x="713" y="1166"/>
                      <a:pt x="715" y="1169"/>
                      <a:pt x="723" y="1169"/>
                    </a:cubicBezTo>
                    <a:cubicBezTo>
                      <a:pt x="732" y="1169"/>
                      <a:pt x="732" y="1159"/>
                      <a:pt x="735" y="1159"/>
                    </a:cubicBezTo>
                    <a:cubicBezTo>
                      <a:pt x="738" y="1159"/>
                      <a:pt x="738" y="1160"/>
                      <a:pt x="740" y="1161"/>
                    </a:cubicBezTo>
                    <a:cubicBezTo>
                      <a:pt x="742" y="1162"/>
                      <a:pt x="743" y="1161"/>
                      <a:pt x="743" y="1159"/>
                    </a:cubicBezTo>
                    <a:cubicBezTo>
                      <a:pt x="743" y="1158"/>
                      <a:pt x="741" y="1157"/>
                      <a:pt x="741" y="1155"/>
                    </a:cubicBezTo>
                    <a:cubicBezTo>
                      <a:pt x="741" y="1153"/>
                      <a:pt x="742" y="1153"/>
                      <a:pt x="744" y="1153"/>
                    </a:cubicBezTo>
                    <a:cubicBezTo>
                      <a:pt x="747" y="1153"/>
                      <a:pt x="749" y="1155"/>
                      <a:pt x="749" y="1158"/>
                    </a:cubicBezTo>
                    <a:cubicBezTo>
                      <a:pt x="749" y="1160"/>
                      <a:pt x="747" y="1162"/>
                      <a:pt x="745" y="1164"/>
                    </a:cubicBezTo>
                    <a:cubicBezTo>
                      <a:pt x="744" y="1166"/>
                      <a:pt x="744" y="1168"/>
                      <a:pt x="747" y="1168"/>
                    </a:cubicBezTo>
                    <a:cubicBezTo>
                      <a:pt x="749" y="1168"/>
                      <a:pt x="751" y="1166"/>
                      <a:pt x="754" y="1166"/>
                    </a:cubicBezTo>
                    <a:cubicBezTo>
                      <a:pt x="763" y="1166"/>
                      <a:pt x="763" y="1166"/>
                      <a:pt x="763" y="1166"/>
                    </a:cubicBezTo>
                    <a:cubicBezTo>
                      <a:pt x="769" y="1166"/>
                      <a:pt x="770" y="1158"/>
                      <a:pt x="772" y="1155"/>
                    </a:cubicBezTo>
                    <a:cubicBezTo>
                      <a:pt x="774" y="1152"/>
                      <a:pt x="777" y="1152"/>
                      <a:pt x="777" y="1150"/>
                    </a:cubicBezTo>
                    <a:cubicBezTo>
                      <a:pt x="777" y="1148"/>
                      <a:pt x="775" y="1149"/>
                      <a:pt x="774" y="1149"/>
                    </a:cubicBezTo>
                    <a:cubicBezTo>
                      <a:pt x="771" y="1149"/>
                      <a:pt x="770" y="1148"/>
                      <a:pt x="770" y="1145"/>
                    </a:cubicBezTo>
                    <a:cubicBezTo>
                      <a:pt x="770" y="1142"/>
                      <a:pt x="772" y="1136"/>
                      <a:pt x="772" y="1132"/>
                    </a:cubicBezTo>
                    <a:cubicBezTo>
                      <a:pt x="772" y="1127"/>
                      <a:pt x="768" y="1125"/>
                      <a:pt x="768" y="1122"/>
                    </a:cubicBezTo>
                    <a:cubicBezTo>
                      <a:pt x="768" y="1120"/>
                      <a:pt x="768" y="1114"/>
                      <a:pt x="770" y="1114"/>
                    </a:cubicBezTo>
                    <a:cubicBezTo>
                      <a:pt x="771" y="1114"/>
                      <a:pt x="771" y="1116"/>
                      <a:pt x="771" y="1119"/>
                    </a:cubicBezTo>
                    <a:cubicBezTo>
                      <a:pt x="771" y="1122"/>
                      <a:pt x="772" y="1125"/>
                      <a:pt x="774" y="1126"/>
                    </a:cubicBezTo>
                    <a:cubicBezTo>
                      <a:pt x="776" y="1128"/>
                      <a:pt x="777" y="1131"/>
                      <a:pt x="780" y="1134"/>
                    </a:cubicBezTo>
                    <a:cubicBezTo>
                      <a:pt x="783" y="1137"/>
                      <a:pt x="786" y="1138"/>
                      <a:pt x="786" y="1143"/>
                    </a:cubicBezTo>
                    <a:cubicBezTo>
                      <a:pt x="786" y="1148"/>
                      <a:pt x="788" y="1151"/>
                      <a:pt x="788" y="1154"/>
                    </a:cubicBezTo>
                    <a:cubicBezTo>
                      <a:pt x="788" y="1159"/>
                      <a:pt x="783" y="1160"/>
                      <a:pt x="781" y="1163"/>
                    </a:cubicBezTo>
                    <a:cubicBezTo>
                      <a:pt x="778" y="1165"/>
                      <a:pt x="777" y="1169"/>
                      <a:pt x="779" y="1170"/>
                    </a:cubicBezTo>
                    <a:cubicBezTo>
                      <a:pt x="781" y="1171"/>
                      <a:pt x="782" y="1170"/>
                      <a:pt x="785" y="1167"/>
                    </a:cubicBezTo>
                    <a:cubicBezTo>
                      <a:pt x="788" y="1165"/>
                      <a:pt x="788" y="1162"/>
                      <a:pt x="792" y="1158"/>
                    </a:cubicBezTo>
                    <a:cubicBezTo>
                      <a:pt x="796" y="1154"/>
                      <a:pt x="797" y="1153"/>
                      <a:pt x="801" y="1153"/>
                    </a:cubicBezTo>
                    <a:cubicBezTo>
                      <a:pt x="805" y="1153"/>
                      <a:pt x="807" y="1148"/>
                      <a:pt x="807" y="1146"/>
                    </a:cubicBezTo>
                    <a:cubicBezTo>
                      <a:pt x="807" y="1144"/>
                      <a:pt x="805" y="1143"/>
                      <a:pt x="807" y="1141"/>
                    </a:cubicBezTo>
                    <a:cubicBezTo>
                      <a:pt x="808" y="1140"/>
                      <a:pt x="808" y="1137"/>
                      <a:pt x="808" y="1137"/>
                    </a:cubicBezTo>
                    <a:cubicBezTo>
                      <a:pt x="803" y="1137"/>
                      <a:pt x="803" y="1137"/>
                      <a:pt x="803" y="1137"/>
                    </a:cubicBezTo>
                    <a:cubicBezTo>
                      <a:pt x="803" y="1134"/>
                      <a:pt x="803" y="1134"/>
                      <a:pt x="803" y="1134"/>
                    </a:cubicBezTo>
                    <a:cubicBezTo>
                      <a:pt x="803" y="1132"/>
                      <a:pt x="803" y="1129"/>
                      <a:pt x="804" y="1129"/>
                    </a:cubicBezTo>
                    <a:cubicBezTo>
                      <a:pt x="805" y="1129"/>
                      <a:pt x="806" y="1131"/>
                      <a:pt x="809" y="1131"/>
                    </a:cubicBezTo>
                    <a:cubicBezTo>
                      <a:pt x="813" y="1131"/>
                      <a:pt x="811" y="1125"/>
                      <a:pt x="813" y="1125"/>
                    </a:cubicBezTo>
                    <a:cubicBezTo>
                      <a:pt x="815" y="1125"/>
                      <a:pt x="815" y="1123"/>
                      <a:pt x="816" y="1122"/>
                    </a:cubicBezTo>
                    <a:cubicBezTo>
                      <a:pt x="818" y="1121"/>
                      <a:pt x="818" y="1122"/>
                      <a:pt x="818" y="1125"/>
                    </a:cubicBezTo>
                    <a:cubicBezTo>
                      <a:pt x="818" y="1127"/>
                      <a:pt x="814" y="1129"/>
                      <a:pt x="814" y="1132"/>
                    </a:cubicBezTo>
                    <a:cubicBezTo>
                      <a:pt x="814" y="1134"/>
                      <a:pt x="810" y="1135"/>
                      <a:pt x="810" y="1137"/>
                    </a:cubicBezTo>
                    <a:cubicBezTo>
                      <a:pt x="810" y="1139"/>
                      <a:pt x="811" y="1139"/>
                      <a:pt x="814" y="1139"/>
                    </a:cubicBezTo>
                    <a:cubicBezTo>
                      <a:pt x="819" y="1139"/>
                      <a:pt x="821" y="1136"/>
                      <a:pt x="827" y="1136"/>
                    </a:cubicBezTo>
                    <a:cubicBezTo>
                      <a:pt x="832" y="1136"/>
                      <a:pt x="831" y="1139"/>
                      <a:pt x="838" y="1139"/>
                    </a:cubicBezTo>
                    <a:cubicBezTo>
                      <a:pt x="848" y="1139"/>
                      <a:pt x="853" y="1151"/>
                      <a:pt x="858" y="1151"/>
                    </a:cubicBezTo>
                    <a:cubicBezTo>
                      <a:pt x="863" y="1151"/>
                      <a:pt x="864" y="1146"/>
                      <a:pt x="869" y="1146"/>
                    </a:cubicBezTo>
                    <a:cubicBezTo>
                      <a:pt x="873" y="1146"/>
                      <a:pt x="876" y="1145"/>
                      <a:pt x="878" y="1143"/>
                    </a:cubicBezTo>
                    <a:cubicBezTo>
                      <a:pt x="880" y="1141"/>
                      <a:pt x="880" y="1138"/>
                      <a:pt x="883" y="1138"/>
                    </a:cubicBezTo>
                    <a:cubicBezTo>
                      <a:pt x="886" y="1138"/>
                      <a:pt x="888" y="1139"/>
                      <a:pt x="886" y="1140"/>
                    </a:cubicBezTo>
                    <a:cubicBezTo>
                      <a:pt x="883" y="1141"/>
                      <a:pt x="884" y="1143"/>
                      <a:pt x="888" y="1143"/>
                    </a:cubicBezTo>
                    <a:cubicBezTo>
                      <a:pt x="897" y="1143"/>
                      <a:pt x="898" y="1138"/>
                      <a:pt x="900" y="1138"/>
                    </a:cubicBezTo>
                    <a:cubicBezTo>
                      <a:pt x="902" y="1138"/>
                      <a:pt x="903" y="1138"/>
                      <a:pt x="903" y="1140"/>
                    </a:cubicBezTo>
                    <a:cubicBezTo>
                      <a:pt x="903" y="1142"/>
                      <a:pt x="898" y="1144"/>
                      <a:pt x="898" y="1146"/>
                    </a:cubicBezTo>
                    <a:cubicBezTo>
                      <a:pt x="898" y="1148"/>
                      <a:pt x="899" y="1148"/>
                      <a:pt x="903" y="1148"/>
                    </a:cubicBezTo>
                    <a:cubicBezTo>
                      <a:pt x="908" y="1148"/>
                      <a:pt x="910" y="1145"/>
                      <a:pt x="910" y="1140"/>
                    </a:cubicBezTo>
                    <a:cubicBezTo>
                      <a:pt x="910" y="1136"/>
                      <a:pt x="916" y="1132"/>
                      <a:pt x="916" y="1127"/>
                    </a:cubicBezTo>
                    <a:cubicBezTo>
                      <a:pt x="916" y="1123"/>
                      <a:pt x="913" y="1120"/>
                      <a:pt x="910" y="1119"/>
                    </a:cubicBezTo>
                    <a:cubicBezTo>
                      <a:pt x="909" y="1118"/>
                      <a:pt x="906" y="1120"/>
                      <a:pt x="906" y="1116"/>
                    </a:cubicBezTo>
                    <a:cubicBezTo>
                      <a:pt x="906" y="1112"/>
                      <a:pt x="902" y="1112"/>
                      <a:pt x="902" y="1108"/>
                    </a:cubicBezTo>
                    <a:cubicBezTo>
                      <a:pt x="902" y="1105"/>
                      <a:pt x="903" y="1104"/>
                      <a:pt x="903" y="1101"/>
                    </a:cubicBezTo>
                    <a:cubicBezTo>
                      <a:pt x="903" y="1098"/>
                      <a:pt x="904" y="1095"/>
                      <a:pt x="903" y="1095"/>
                    </a:cubicBezTo>
                    <a:cubicBezTo>
                      <a:pt x="901" y="1095"/>
                      <a:pt x="900" y="1098"/>
                      <a:pt x="900" y="1100"/>
                    </a:cubicBezTo>
                    <a:cubicBezTo>
                      <a:pt x="900" y="1102"/>
                      <a:pt x="900" y="1104"/>
                      <a:pt x="897" y="1104"/>
                    </a:cubicBezTo>
                    <a:cubicBezTo>
                      <a:pt x="893" y="1104"/>
                      <a:pt x="888" y="1099"/>
                      <a:pt x="888" y="1093"/>
                    </a:cubicBezTo>
                    <a:cubicBezTo>
                      <a:pt x="888" y="1086"/>
                      <a:pt x="891" y="1083"/>
                      <a:pt x="893" y="1083"/>
                    </a:cubicBezTo>
                    <a:cubicBezTo>
                      <a:pt x="895" y="1083"/>
                      <a:pt x="895" y="1084"/>
                      <a:pt x="899" y="1084"/>
                    </a:cubicBezTo>
                    <a:cubicBezTo>
                      <a:pt x="903" y="1084"/>
                      <a:pt x="904" y="1089"/>
                      <a:pt x="905" y="1089"/>
                    </a:cubicBezTo>
                    <a:cubicBezTo>
                      <a:pt x="906" y="1089"/>
                      <a:pt x="906" y="1088"/>
                      <a:pt x="906" y="1086"/>
                    </a:cubicBezTo>
                    <a:cubicBezTo>
                      <a:pt x="906" y="1084"/>
                      <a:pt x="905" y="1083"/>
                      <a:pt x="905" y="1075"/>
                    </a:cubicBezTo>
                    <a:cubicBezTo>
                      <a:pt x="905" y="1067"/>
                      <a:pt x="908" y="1061"/>
                      <a:pt x="912" y="1055"/>
                    </a:cubicBezTo>
                    <a:cubicBezTo>
                      <a:pt x="917" y="1049"/>
                      <a:pt x="921" y="1046"/>
                      <a:pt x="923" y="1040"/>
                    </a:cubicBezTo>
                    <a:cubicBezTo>
                      <a:pt x="925" y="1034"/>
                      <a:pt x="940" y="1018"/>
                      <a:pt x="940" y="1007"/>
                    </a:cubicBezTo>
                    <a:cubicBezTo>
                      <a:pt x="940" y="996"/>
                      <a:pt x="934" y="991"/>
                      <a:pt x="934" y="980"/>
                    </a:cubicBezTo>
                    <a:cubicBezTo>
                      <a:pt x="934" y="973"/>
                      <a:pt x="937" y="966"/>
                      <a:pt x="941" y="959"/>
                    </a:cubicBezTo>
                    <a:cubicBezTo>
                      <a:pt x="945" y="950"/>
                      <a:pt x="951" y="949"/>
                      <a:pt x="951" y="943"/>
                    </a:cubicBezTo>
                    <a:cubicBezTo>
                      <a:pt x="951" y="938"/>
                      <a:pt x="949" y="936"/>
                      <a:pt x="949" y="929"/>
                    </a:cubicBezTo>
                    <a:cubicBezTo>
                      <a:pt x="949" y="922"/>
                      <a:pt x="953" y="922"/>
                      <a:pt x="953" y="916"/>
                    </a:cubicBezTo>
                    <a:cubicBezTo>
                      <a:pt x="953" y="910"/>
                      <a:pt x="961" y="903"/>
                      <a:pt x="964" y="902"/>
                    </a:cubicBezTo>
                    <a:cubicBezTo>
                      <a:pt x="967" y="901"/>
                      <a:pt x="966" y="898"/>
                      <a:pt x="966" y="894"/>
                    </a:cubicBezTo>
                    <a:cubicBezTo>
                      <a:pt x="966" y="888"/>
                      <a:pt x="972" y="882"/>
                      <a:pt x="973" y="878"/>
                    </a:cubicBezTo>
                    <a:cubicBezTo>
                      <a:pt x="977" y="867"/>
                      <a:pt x="980" y="867"/>
                      <a:pt x="980" y="862"/>
                    </a:cubicBezTo>
                    <a:cubicBezTo>
                      <a:pt x="980" y="858"/>
                      <a:pt x="968" y="857"/>
                      <a:pt x="968" y="844"/>
                    </a:cubicBezTo>
                    <a:cubicBezTo>
                      <a:pt x="968" y="836"/>
                      <a:pt x="971" y="826"/>
                      <a:pt x="971" y="814"/>
                    </a:cubicBezTo>
                    <a:cubicBezTo>
                      <a:pt x="971" y="798"/>
                      <a:pt x="960" y="798"/>
                      <a:pt x="960" y="783"/>
                    </a:cubicBezTo>
                    <a:cubicBezTo>
                      <a:pt x="960" y="778"/>
                      <a:pt x="954" y="773"/>
                      <a:pt x="954" y="769"/>
                    </a:cubicBezTo>
                    <a:cubicBezTo>
                      <a:pt x="954" y="764"/>
                      <a:pt x="953" y="764"/>
                      <a:pt x="953" y="759"/>
                    </a:cubicBezTo>
                    <a:cubicBezTo>
                      <a:pt x="953" y="755"/>
                      <a:pt x="956" y="754"/>
                      <a:pt x="956" y="751"/>
                    </a:cubicBezTo>
                    <a:cubicBezTo>
                      <a:pt x="956" y="748"/>
                      <a:pt x="951" y="746"/>
                      <a:pt x="947" y="745"/>
                    </a:cubicBezTo>
                    <a:cubicBezTo>
                      <a:pt x="942" y="743"/>
                      <a:pt x="937" y="741"/>
                      <a:pt x="936" y="738"/>
                    </a:cubicBezTo>
                    <a:cubicBezTo>
                      <a:pt x="935" y="734"/>
                      <a:pt x="932" y="733"/>
                      <a:pt x="929" y="728"/>
                    </a:cubicBezTo>
                    <a:cubicBezTo>
                      <a:pt x="926" y="724"/>
                      <a:pt x="926" y="722"/>
                      <a:pt x="929" y="722"/>
                    </a:cubicBezTo>
                    <a:cubicBezTo>
                      <a:pt x="931" y="722"/>
                      <a:pt x="933" y="720"/>
                      <a:pt x="937" y="717"/>
                    </a:cubicBezTo>
                    <a:cubicBezTo>
                      <a:pt x="940" y="713"/>
                      <a:pt x="940" y="710"/>
                      <a:pt x="946" y="710"/>
                    </a:cubicBezTo>
                    <a:cubicBezTo>
                      <a:pt x="952" y="710"/>
                      <a:pt x="955" y="720"/>
                      <a:pt x="959" y="720"/>
                    </a:cubicBezTo>
                    <a:cubicBezTo>
                      <a:pt x="962" y="720"/>
                      <a:pt x="963" y="716"/>
                      <a:pt x="963" y="713"/>
                    </a:cubicBezTo>
                    <a:cubicBezTo>
                      <a:pt x="963" y="710"/>
                      <a:pt x="961" y="709"/>
                      <a:pt x="957" y="709"/>
                    </a:cubicBezTo>
                    <a:cubicBezTo>
                      <a:pt x="953" y="709"/>
                      <a:pt x="949" y="708"/>
                      <a:pt x="949" y="704"/>
                    </a:cubicBezTo>
                    <a:cubicBezTo>
                      <a:pt x="949" y="700"/>
                      <a:pt x="947" y="697"/>
                      <a:pt x="947" y="694"/>
                    </a:cubicBezTo>
                    <a:cubicBezTo>
                      <a:pt x="947" y="690"/>
                      <a:pt x="944" y="691"/>
                      <a:pt x="944" y="688"/>
                    </a:cubicBezTo>
                    <a:cubicBezTo>
                      <a:pt x="944" y="685"/>
                      <a:pt x="945" y="684"/>
                      <a:pt x="948" y="680"/>
                    </a:cubicBezTo>
                    <a:cubicBezTo>
                      <a:pt x="950" y="675"/>
                      <a:pt x="951" y="673"/>
                      <a:pt x="951" y="668"/>
                    </a:cubicBezTo>
                    <a:cubicBezTo>
                      <a:pt x="951" y="663"/>
                      <a:pt x="955" y="664"/>
                      <a:pt x="955" y="660"/>
                    </a:cubicBezTo>
                    <a:cubicBezTo>
                      <a:pt x="955" y="657"/>
                      <a:pt x="956" y="656"/>
                      <a:pt x="956" y="653"/>
                    </a:cubicBezTo>
                    <a:cubicBezTo>
                      <a:pt x="956" y="644"/>
                      <a:pt x="949" y="638"/>
                      <a:pt x="945" y="638"/>
                    </a:cubicBezTo>
                    <a:cubicBezTo>
                      <a:pt x="941" y="638"/>
                      <a:pt x="937" y="632"/>
                      <a:pt x="935" y="629"/>
                    </a:cubicBezTo>
                    <a:cubicBezTo>
                      <a:pt x="933" y="626"/>
                      <a:pt x="933" y="623"/>
                      <a:pt x="931" y="623"/>
                    </a:cubicBezTo>
                    <a:cubicBezTo>
                      <a:pt x="929" y="623"/>
                      <a:pt x="928" y="622"/>
                      <a:pt x="924" y="615"/>
                    </a:cubicBezTo>
                    <a:cubicBezTo>
                      <a:pt x="921" y="608"/>
                      <a:pt x="920" y="600"/>
                      <a:pt x="920" y="597"/>
                    </a:cubicBezTo>
                    <a:cubicBezTo>
                      <a:pt x="920" y="594"/>
                      <a:pt x="917" y="590"/>
                      <a:pt x="917" y="584"/>
                    </a:cubicBezTo>
                    <a:cubicBezTo>
                      <a:pt x="917" y="578"/>
                      <a:pt x="919" y="577"/>
                      <a:pt x="919" y="574"/>
                    </a:cubicBezTo>
                    <a:cubicBezTo>
                      <a:pt x="919" y="570"/>
                      <a:pt x="922" y="568"/>
                      <a:pt x="922" y="565"/>
                    </a:cubicBezTo>
                    <a:cubicBezTo>
                      <a:pt x="922" y="562"/>
                      <a:pt x="916" y="562"/>
                      <a:pt x="916" y="560"/>
                    </a:cubicBezTo>
                    <a:cubicBezTo>
                      <a:pt x="916" y="557"/>
                      <a:pt x="915" y="556"/>
                      <a:pt x="915" y="553"/>
                    </a:cubicBezTo>
                    <a:cubicBezTo>
                      <a:pt x="915" y="549"/>
                      <a:pt x="918" y="547"/>
                      <a:pt x="918" y="544"/>
                    </a:cubicBezTo>
                    <a:cubicBezTo>
                      <a:pt x="918" y="540"/>
                      <a:pt x="915" y="540"/>
                      <a:pt x="912" y="540"/>
                    </a:cubicBezTo>
                    <a:cubicBezTo>
                      <a:pt x="908" y="540"/>
                      <a:pt x="908" y="537"/>
                      <a:pt x="902" y="537"/>
                    </a:cubicBezTo>
                    <a:cubicBezTo>
                      <a:pt x="896" y="537"/>
                      <a:pt x="889" y="531"/>
                      <a:pt x="889" y="513"/>
                    </a:cubicBezTo>
                    <a:cubicBezTo>
                      <a:pt x="889" y="495"/>
                      <a:pt x="895" y="494"/>
                      <a:pt x="895" y="492"/>
                    </a:cubicBezTo>
                    <a:cubicBezTo>
                      <a:pt x="895" y="490"/>
                      <a:pt x="893" y="490"/>
                      <a:pt x="893" y="488"/>
                    </a:cubicBezTo>
                    <a:cubicBezTo>
                      <a:pt x="893" y="486"/>
                      <a:pt x="895" y="486"/>
                      <a:pt x="897" y="486"/>
                    </a:cubicBezTo>
                    <a:cubicBezTo>
                      <a:pt x="904" y="486"/>
                      <a:pt x="922" y="497"/>
                      <a:pt x="930" y="497"/>
                    </a:cubicBezTo>
                    <a:cubicBezTo>
                      <a:pt x="937" y="497"/>
                      <a:pt x="943" y="492"/>
                      <a:pt x="943" y="488"/>
                    </a:cubicBezTo>
                    <a:cubicBezTo>
                      <a:pt x="943" y="484"/>
                      <a:pt x="939" y="479"/>
                      <a:pt x="934" y="479"/>
                    </a:cubicBezTo>
                    <a:cubicBezTo>
                      <a:pt x="930" y="479"/>
                      <a:pt x="927" y="474"/>
                      <a:pt x="925" y="471"/>
                    </a:cubicBezTo>
                    <a:cubicBezTo>
                      <a:pt x="923" y="469"/>
                      <a:pt x="924" y="466"/>
                      <a:pt x="921" y="466"/>
                    </a:cubicBezTo>
                    <a:cubicBezTo>
                      <a:pt x="914" y="466"/>
                      <a:pt x="912" y="457"/>
                      <a:pt x="912" y="457"/>
                    </a:cubicBezTo>
                    <a:cubicBezTo>
                      <a:pt x="912" y="457"/>
                      <a:pt x="912" y="451"/>
                      <a:pt x="908" y="451"/>
                    </a:cubicBezTo>
                    <a:cubicBezTo>
                      <a:pt x="907" y="451"/>
                      <a:pt x="907" y="451"/>
                      <a:pt x="907" y="452"/>
                    </a:cubicBezTo>
                    <a:cubicBezTo>
                      <a:pt x="907" y="451"/>
                      <a:pt x="907" y="451"/>
                      <a:pt x="908" y="451"/>
                    </a:cubicBezTo>
                    <a:cubicBezTo>
                      <a:pt x="912" y="451"/>
                      <a:pt x="912" y="457"/>
                      <a:pt x="912" y="457"/>
                    </a:cubicBezTo>
                    <a:cubicBezTo>
                      <a:pt x="922" y="457"/>
                      <a:pt x="922" y="457"/>
                      <a:pt x="922" y="457"/>
                    </a:cubicBezTo>
                    <a:cubicBezTo>
                      <a:pt x="928" y="457"/>
                      <a:pt x="925" y="465"/>
                      <a:pt x="932" y="465"/>
                    </a:cubicBezTo>
                    <a:cubicBezTo>
                      <a:pt x="937" y="465"/>
                      <a:pt x="939" y="467"/>
                      <a:pt x="944" y="467"/>
                    </a:cubicBezTo>
                    <a:cubicBezTo>
                      <a:pt x="949" y="467"/>
                      <a:pt x="950" y="471"/>
                      <a:pt x="947" y="471"/>
                    </a:cubicBezTo>
                    <a:cubicBezTo>
                      <a:pt x="945" y="471"/>
                      <a:pt x="942" y="472"/>
                      <a:pt x="942" y="474"/>
                    </a:cubicBezTo>
                    <a:cubicBezTo>
                      <a:pt x="942" y="476"/>
                      <a:pt x="944" y="478"/>
                      <a:pt x="946" y="478"/>
                    </a:cubicBezTo>
                    <a:cubicBezTo>
                      <a:pt x="948" y="478"/>
                      <a:pt x="948" y="479"/>
                      <a:pt x="954" y="479"/>
                    </a:cubicBezTo>
                    <a:cubicBezTo>
                      <a:pt x="960" y="479"/>
                      <a:pt x="960" y="474"/>
                      <a:pt x="963" y="473"/>
                    </a:cubicBezTo>
                    <a:cubicBezTo>
                      <a:pt x="967" y="472"/>
                      <a:pt x="966" y="468"/>
                      <a:pt x="970" y="467"/>
                    </a:cubicBezTo>
                    <a:cubicBezTo>
                      <a:pt x="974" y="466"/>
                      <a:pt x="975" y="464"/>
                      <a:pt x="978" y="462"/>
                    </a:cubicBezTo>
                    <a:cubicBezTo>
                      <a:pt x="981" y="459"/>
                      <a:pt x="981" y="459"/>
                      <a:pt x="986" y="455"/>
                    </a:cubicBezTo>
                    <a:cubicBezTo>
                      <a:pt x="991" y="452"/>
                      <a:pt x="990" y="447"/>
                      <a:pt x="991" y="442"/>
                    </a:cubicBezTo>
                    <a:cubicBezTo>
                      <a:pt x="993" y="436"/>
                      <a:pt x="995" y="430"/>
                      <a:pt x="995" y="425"/>
                    </a:cubicBezTo>
                    <a:cubicBezTo>
                      <a:pt x="995" y="420"/>
                      <a:pt x="993" y="417"/>
                      <a:pt x="993" y="414"/>
                    </a:cubicBezTo>
                    <a:cubicBezTo>
                      <a:pt x="993" y="412"/>
                      <a:pt x="993" y="409"/>
                      <a:pt x="998" y="404"/>
                    </a:cubicBezTo>
                    <a:cubicBezTo>
                      <a:pt x="1003" y="400"/>
                      <a:pt x="1006" y="400"/>
                      <a:pt x="1012" y="400"/>
                    </a:cubicBezTo>
                    <a:cubicBezTo>
                      <a:pt x="1017" y="400"/>
                      <a:pt x="1018" y="397"/>
                      <a:pt x="1021" y="397"/>
                    </a:cubicBezTo>
                    <a:cubicBezTo>
                      <a:pt x="1025" y="397"/>
                      <a:pt x="1025" y="399"/>
                      <a:pt x="1030" y="399"/>
                    </a:cubicBezTo>
                    <a:cubicBezTo>
                      <a:pt x="1034" y="399"/>
                      <a:pt x="1036" y="405"/>
                      <a:pt x="1039" y="405"/>
                    </a:cubicBezTo>
                    <a:cubicBezTo>
                      <a:pt x="1043" y="405"/>
                      <a:pt x="1042" y="399"/>
                      <a:pt x="1043" y="397"/>
                    </a:cubicBezTo>
                    <a:cubicBezTo>
                      <a:pt x="1045" y="395"/>
                      <a:pt x="1047" y="397"/>
                      <a:pt x="1049" y="396"/>
                    </a:cubicBezTo>
                    <a:cubicBezTo>
                      <a:pt x="1050" y="394"/>
                      <a:pt x="1051" y="391"/>
                      <a:pt x="1054" y="388"/>
                    </a:cubicBezTo>
                    <a:cubicBezTo>
                      <a:pt x="1058" y="385"/>
                      <a:pt x="1058" y="383"/>
                      <a:pt x="1058" y="380"/>
                    </a:cubicBezTo>
                    <a:cubicBezTo>
                      <a:pt x="1059" y="376"/>
                      <a:pt x="1063" y="374"/>
                      <a:pt x="1063" y="372"/>
                    </a:cubicBezTo>
                    <a:cubicBezTo>
                      <a:pt x="1063" y="370"/>
                      <a:pt x="1062" y="369"/>
                      <a:pt x="1062" y="363"/>
                    </a:cubicBezTo>
                    <a:cubicBezTo>
                      <a:pt x="1062" y="358"/>
                      <a:pt x="1059" y="354"/>
                      <a:pt x="1057" y="353"/>
                    </a:cubicBezTo>
                    <a:cubicBezTo>
                      <a:pt x="1054" y="352"/>
                      <a:pt x="1056" y="348"/>
                      <a:pt x="1051" y="348"/>
                    </a:cubicBezTo>
                    <a:cubicBezTo>
                      <a:pt x="1047" y="348"/>
                      <a:pt x="1043" y="355"/>
                      <a:pt x="1038" y="355"/>
                    </a:cubicBezTo>
                    <a:cubicBezTo>
                      <a:pt x="1035" y="355"/>
                      <a:pt x="1032" y="357"/>
                      <a:pt x="1031" y="359"/>
                    </a:cubicBezTo>
                    <a:cubicBezTo>
                      <a:pt x="1029" y="361"/>
                      <a:pt x="1027" y="363"/>
                      <a:pt x="1027" y="359"/>
                    </a:cubicBezTo>
                    <a:cubicBezTo>
                      <a:pt x="1027" y="356"/>
                      <a:pt x="1031" y="353"/>
                      <a:pt x="1035" y="350"/>
                    </a:cubicBezTo>
                    <a:cubicBezTo>
                      <a:pt x="1039" y="347"/>
                      <a:pt x="1040" y="343"/>
                      <a:pt x="1040" y="341"/>
                    </a:cubicBezTo>
                    <a:cubicBezTo>
                      <a:pt x="1040" y="339"/>
                      <a:pt x="1041" y="335"/>
                      <a:pt x="1041" y="331"/>
                    </a:cubicBezTo>
                    <a:cubicBezTo>
                      <a:pt x="1041" y="326"/>
                      <a:pt x="1042" y="325"/>
                      <a:pt x="1042" y="323"/>
                    </a:cubicBezTo>
                    <a:cubicBezTo>
                      <a:pt x="1042" y="320"/>
                      <a:pt x="1038" y="321"/>
                      <a:pt x="1038" y="314"/>
                    </a:cubicBezTo>
                    <a:cubicBezTo>
                      <a:pt x="1038" y="310"/>
                      <a:pt x="1037" y="308"/>
                      <a:pt x="1034" y="308"/>
                    </a:cubicBezTo>
                    <a:cubicBezTo>
                      <a:pt x="1031" y="308"/>
                      <a:pt x="1030" y="307"/>
                      <a:pt x="1030" y="305"/>
                    </a:cubicBezTo>
                    <a:cubicBezTo>
                      <a:pt x="1030" y="304"/>
                      <a:pt x="1032" y="303"/>
                      <a:pt x="1033" y="302"/>
                    </a:cubicBezTo>
                    <a:cubicBezTo>
                      <a:pt x="1034" y="301"/>
                      <a:pt x="1035" y="299"/>
                      <a:pt x="1031" y="299"/>
                    </a:cubicBezTo>
                    <a:cubicBezTo>
                      <a:pt x="1029" y="299"/>
                      <a:pt x="1025" y="295"/>
                      <a:pt x="1025" y="293"/>
                    </a:cubicBezTo>
                    <a:cubicBezTo>
                      <a:pt x="1025" y="291"/>
                      <a:pt x="1026" y="290"/>
                      <a:pt x="1026" y="286"/>
                    </a:cubicBezTo>
                    <a:cubicBezTo>
                      <a:pt x="1026" y="283"/>
                      <a:pt x="1025" y="280"/>
                      <a:pt x="1029" y="280"/>
                    </a:cubicBezTo>
                    <a:cubicBezTo>
                      <a:pt x="1033" y="280"/>
                      <a:pt x="1043" y="288"/>
                      <a:pt x="1046" y="291"/>
                    </a:cubicBezTo>
                    <a:cubicBezTo>
                      <a:pt x="1049" y="295"/>
                      <a:pt x="1049" y="297"/>
                      <a:pt x="1051" y="297"/>
                    </a:cubicBezTo>
                    <a:cubicBezTo>
                      <a:pt x="1055" y="297"/>
                      <a:pt x="1059" y="309"/>
                      <a:pt x="1059" y="313"/>
                    </a:cubicBezTo>
                    <a:cubicBezTo>
                      <a:pt x="1059" y="318"/>
                      <a:pt x="1060" y="318"/>
                      <a:pt x="1060" y="322"/>
                    </a:cubicBezTo>
                    <a:cubicBezTo>
                      <a:pt x="1060" y="330"/>
                      <a:pt x="1053" y="329"/>
                      <a:pt x="1053" y="340"/>
                    </a:cubicBezTo>
                    <a:cubicBezTo>
                      <a:pt x="1053" y="346"/>
                      <a:pt x="1059" y="349"/>
                      <a:pt x="1061" y="356"/>
                    </a:cubicBezTo>
                    <a:cubicBezTo>
                      <a:pt x="1062" y="360"/>
                      <a:pt x="1066" y="366"/>
                      <a:pt x="1068" y="366"/>
                    </a:cubicBezTo>
                    <a:cubicBezTo>
                      <a:pt x="1071" y="366"/>
                      <a:pt x="1071" y="363"/>
                      <a:pt x="1071" y="361"/>
                    </a:cubicBezTo>
                    <a:cubicBezTo>
                      <a:pt x="1071" y="359"/>
                      <a:pt x="1074" y="358"/>
                      <a:pt x="1074" y="356"/>
                    </a:cubicBezTo>
                    <a:cubicBezTo>
                      <a:pt x="1074" y="354"/>
                      <a:pt x="1071" y="351"/>
                      <a:pt x="1074" y="350"/>
                    </a:cubicBezTo>
                    <a:cubicBezTo>
                      <a:pt x="1077" y="348"/>
                      <a:pt x="1078" y="345"/>
                      <a:pt x="1078" y="342"/>
                    </a:cubicBezTo>
                    <a:cubicBezTo>
                      <a:pt x="1078" y="339"/>
                      <a:pt x="1079" y="337"/>
                      <a:pt x="1076" y="334"/>
                    </a:cubicBezTo>
                    <a:cubicBezTo>
                      <a:pt x="1074" y="331"/>
                      <a:pt x="1077" y="330"/>
                      <a:pt x="1078" y="328"/>
                    </a:cubicBezTo>
                    <a:cubicBezTo>
                      <a:pt x="1080" y="326"/>
                      <a:pt x="1077" y="326"/>
                      <a:pt x="1080" y="323"/>
                    </a:cubicBezTo>
                    <a:cubicBezTo>
                      <a:pt x="1083" y="319"/>
                      <a:pt x="1081" y="316"/>
                      <a:pt x="1082" y="313"/>
                    </a:cubicBezTo>
                    <a:cubicBezTo>
                      <a:pt x="1083" y="310"/>
                      <a:pt x="1082" y="308"/>
                      <a:pt x="1080" y="308"/>
                    </a:cubicBezTo>
                    <a:close/>
                    <a:moveTo>
                      <a:pt x="904" y="454"/>
                    </a:moveTo>
                    <a:cubicBezTo>
                      <a:pt x="904" y="454"/>
                      <a:pt x="904" y="454"/>
                      <a:pt x="904" y="454"/>
                    </a:cubicBezTo>
                    <a:cubicBezTo>
                      <a:pt x="904" y="454"/>
                      <a:pt x="904" y="454"/>
                      <a:pt x="904" y="454"/>
                    </a:cubicBezTo>
                    <a:close/>
                    <a:moveTo>
                      <a:pt x="904" y="454"/>
                    </a:moveTo>
                    <a:cubicBezTo>
                      <a:pt x="905" y="453"/>
                      <a:pt x="906" y="452"/>
                      <a:pt x="907" y="452"/>
                    </a:cubicBezTo>
                    <a:cubicBezTo>
                      <a:pt x="906" y="452"/>
                      <a:pt x="905" y="453"/>
                      <a:pt x="904" y="45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</p:grpSp>
        <p:grpSp>
          <p:nvGrpSpPr>
            <p:cNvPr id="21" name="Group 4"/>
            <p:cNvGrpSpPr>
              <a:grpSpLocks noChangeAspect="1"/>
            </p:cNvGrpSpPr>
            <p:nvPr/>
          </p:nvGrpSpPr>
          <p:grpSpPr bwMode="auto">
            <a:xfrm>
              <a:off x="2186513" y="1393031"/>
              <a:ext cx="4167189" cy="5310190"/>
              <a:chOff x="336" y="830"/>
              <a:chExt cx="2625" cy="3345"/>
            </a:xfrm>
          </p:grpSpPr>
          <p:sp>
            <p:nvSpPr>
              <p:cNvPr id="22" name="Freeform 5"/>
              <p:cNvSpPr>
                <a:spLocks/>
              </p:cNvSpPr>
              <p:nvPr/>
            </p:nvSpPr>
            <p:spPr bwMode="auto">
              <a:xfrm>
                <a:off x="1608" y="932"/>
                <a:ext cx="1353" cy="1032"/>
              </a:xfrm>
              <a:custGeom>
                <a:avLst/>
                <a:gdLst>
                  <a:gd name="T0" fmla="*/ 176 w 571"/>
                  <a:gd name="T1" fmla="*/ 73 h 436"/>
                  <a:gd name="T2" fmla="*/ 157 w 571"/>
                  <a:gd name="T3" fmla="*/ 99 h 436"/>
                  <a:gd name="T4" fmla="*/ 148 w 571"/>
                  <a:gd name="T5" fmla="*/ 126 h 436"/>
                  <a:gd name="T6" fmla="*/ 137 w 571"/>
                  <a:gd name="T7" fmla="*/ 154 h 436"/>
                  <a:gd name="T8" fmla="*/ 116 w 571"/>
                  <a:gd name="T9" fmla="*/ 184 h 436"/>
                  <a:gd name="T10" fmla="*/ 65 w 571"/>
                  <a:gd name="T11" fmla="*/ 186 h 436"/>
                  <a:gd name="T12" fmla="*/ 59 w 571"/>
                  <a:gd name="T13" fmla="*/ 218 h 436"/>
                  <a:gd name="T14" fmla="*/ 93 w 571"/>
                  <a:gd name="T15" fmla="*/ 227 h 436"/>
                  <a:gd name="T16" fmla="*/ 65 w 571"/>
                  <a:gd name="T17" fmla="*/ 257 h 436"/>
                  <a:gd name="T18" fmla="*/ 28 w 571"/>
                  <a:gd name="T19" fmla="*/ 262 h 436"/>
                  <a:gd name="T20" fmla="*/ 0 w 571"/>
                  <a:gd name="T21" fmla="*/ 287 h 436"/>
                  <a:gd name="T22" fmla="*/ 37 w 571"/>
                  <a:gd name="T23" fmla="*/ 328 h 436"/>
                  <a:gd name="T24" fmla="*/ 63 w 571"/>
                  <a:gd name="T25" fmla="*/ 376 h 436"/>
                  <a:gd name="T26" fmla="*/ 111 w 571"/>
                  <a:gd name="T27" fmla="*/ 392 h 436"/>
                  <a:gd name="T28" fmla="*/ 131 w 571"/>
                  <a:gd name="T29" fmla="*/ 404 h 436"/>
                  <a:gd name="T30" fmla="*/ 157 w 571"/>
                  <a:gd name="T31" fmla="*/ 392 h 436"/>
                  <a:gd name="T32" fmla="*/ 168 w 571"/>
                  <a:gd name="T33" fmla="*/ 402 h 436"/>
                  <a:gd name="T34" fmla="*/ 193 w 571"/>
                  <a:gd name="T35" fmla="*/ 393 h 436"/>
                  <a:gd name="T36" fmla="*/ 212 w 571"/>
                  <a:gd name="T37" fmla="*/ 362 h 436"/>
                  <a:gd name="T38" fmla="*/ 201 w 571"/>
                  <a:gd name="T39" fmla="*/ 343 h 436"/>
                  <a:gd name="T40" fmla="*/ 237 w 571"/>
                  <a:gd name="T41" fmla="*/ 301 h 436"/>
                  <a:gd name="T42" fmla="*/ 275 w 571"/>
                  <a:gd name="T43" fmla="*/ 344 h 436"/>
                  <a:gd name="T44" fmla="*/ 305 w 571"/>
                  <a:gd name="T45" fmla="*/ 377 h 436"/>
                  <a:gd name="T46" fmla="*/ 324 w 571"/>
                  <a:gd name="T47" fmla="*/ 428 h 436"/>
                  <a:gd name="T48" fmla="*/ 349 w 571"/>
                  <a:gd name="T49" fmla="*/ 428 h 436"/>
                  <a:gd name="T50" fmla="*/ 382 w 571"/>
                  <a:gd name="T51" fmla="*/ 419 h 436"/>
                  <a:gd name="T52" fmla="*/ 410 w 571"/>
                  <a:gd name="T53" fmla="*/ 414 h 436"/>
                  <a:gd name="T54" fmla="*/ 430 w 571"/>
                  <a:gd name="T55" fmla="*/ 431 h 436"/>
                  <a:gd name="T56" fmla="*/ 458 w 571"/>
                  <a:gd name="T57" fmla="*/ 424 h 436"/>
                  <a:gd name="T58" fmla="*/ 483 w 571"/>
                  <a:gd name="T59" fmla="*/ 382 h 436"/>
                  <a:gd name="T60" fmla="*/ 509 w 571"/>
                  <a:gd name="T61" fmla="*/ 354 h 436"/>
                  <a:gd name="T62" fmla="*/ 537 w 571"/>
                  <a:gd name="T63" fmla="*/ 353 h 436"/>
                  <a:gd name="T64" fmla="*/ 550 w 571"/>
                  <a:gd name="T65" fmla="*/ 320 h 436"/>
                  <a:gd name="T66" fmla="*/ 519 w 571"/>
                  <a:gd name="T67" fmla="*/ 316 h 436"/>
                  <a:gd name="T68" fmla="*/ 529 w 571"/>
                  <a:gd name="T69" fmla="*/ 288 h 436"/>
                  <a:gd name="T70" fmla="*/ 518 w 571"/>
                  <a:gd name="T71" fmla="*/ 262 h 436"/>
                  <a:gd name="T72" fmla="*/ 514 w 571"/>
                  <a:gd name="T73" fmla="*/ 243 h 436"/>
                  <a:gd name="T74" fmla="*/ 547 w 571"/>
                  <a:gd name="T75" fmla="*/ 270 h 436"/>
                  <a:gd name="T76" fmla="*/ 556 w 571"/>
                  <a:gd name="T77" fmla="*/ 323 h 436"/>
                  <a:gd name="T78" fmla="*/ 566 w 571"/>
                  <a:gd name="T79" fmla="*/ 299 h 436"/>
                  <a:gd name="T80" fmla="*/ 570 w 571"/>
                  <a:gd name="T81" fmla="*/ 270 h 436"/>
                  <a:gd name="T82" fmla="*/ 560 w 571"/>
                  <a:gd name="T83" fmla="*/ 242 h 436"/>
                  <a:gd name="T84" fmla="*/ 535 w 571"/>
                  <a:gd name="T85" fmla="*/ 198 h 436"/>
                  <a:gd name="T86" fmla="*/ 496 w 571"/>
                  <a:gd name="T87" fmla="*/ 204 h 436"/>
                  <a:gd name="T88" fmla="*/ 469 w 571"/>
                  <a:gd name="T89" fmla="*/ 223 h 436"/>
                  <a:gd name="T90" fmla="*/ 489 w 571"/>
                  <a:gd name="T91" fmla="*/ 188 h 436"/>
                  <a:gd name="T92" fmla="*/ 507 w 571"/>
                  <a:gd name="T93" fmla="*/ 143 h 436"/>
                  <a:gd name="T94" fmla="*/ 505 w 571"/>
                  <a:gd name="T95" fmla="*/ 162 h 436"/>
                  <a:gd name="T96" fmla="*/ 482 w 571"/>
                  <a:gd name="T97" fmla="*/ 128 h 436"/>
                  <a:gd name="T98" fmla="*/ 460 w 571"/>
                  <a:gd name="T99" fmla="*/ 96 h 436"/>
                  <a:gd name="T100" fmla="*/ 447 w 571"/>
                  <a:gd name="T101" fmla="*/ 66 h 436"/>
                  <a:gd name="T102" fmla="*/ 436 w 571"/>
                  <a:gd name="T103" fmla="*/ 45 h 436"/>
                  <a:gd name="T104" fmla="*/ 422 w 571"/>
                  <a:gd name="T105" fmla="*/ 10 h 436"/>
                  <a:gd name="T106" fmla="*/ 389 w 571"/>
                  <a:gd name="T107" fmla="*/ 9 h 436"/>
                  <a:gd name="T108" fmla="*/ 342 w 571"/>
                  <a:gd name="T109" fmla="*/ 0 h 436"/>
                  <a:gd name="T110" fmla="*/ 301 w 571"/>
                  <a:gd name="T111" fmla="*/ 20 h 436"/>
                  <a:gd name="T112" fmla="*/ 247 w 571"/>
                  <a:gd name="T113" fmla="*/ 22 h 436"/>
                  <a:gd name="T114" fmla="*/ 234 w 571"/>
                  <a:gd name="T115" fmla="*/ 65 h 436"/>
                  <a:gd name="T116" fmla="*/ 187 w 571"/>
                  <a:gd name="T117" fmla="*/ 71 h 4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71" h="436">
                    <a:moveTo>
                      <a:pt x="187" y="71"/>
                    </a:moveTo>
                    <a:cubicBezTo>
                      <a:pt x="187" y="71"/>
                      <a:pt x="185" y="71"/>
                      <a:pt x="183" y="72"/>
                    </a:cubicBezTo>
                    <a:cubicBezTo>
                      <a:pt x="181" y="74"/>
                      <a:pt x="182" y="76"/>
                      <a:pt x="180" y="76"/>
                    </a:cubicBezTo>
                    <a:cubicBezTo>
                      <a:pt x="178" y="76"/>
                      <a:pt x="178" y="73"/>
                      <a:pt x="176" y="73"/>
                    </a:cubicBezTo>
                    <a:cubicBezTo>
                      <a:pt x="173" y="73"/>
                      <a:pt x="174" y="75"/>
                      <a:pt x="170" y="75"/>
                    </a:cubicBezTo>
                    <a:cubicBezTo>
                      <a:pt x="166" y="75"/>
                      <a:pt x="165" y="76"/>
                      <a:pt x="163" y="80"/>
                    </a:cubicBezTo>
                    <a:cubicBezTo>
                      <a:pt x="161" y="83"/>
                      <a:pt x="154" y="92"/>
                      <a:pt x="154" y="94"/>
                    </a:cubicBezTo>
                    <a:cubicBezTo>
                      <a:pt x="154" y="96"/>
                      <a:pt x="157" y="97"/>
                      <a:pt x="157" y="99"/>
                    </a:cubicBezTo>
                    <a:cubicBezTo>
                      <a:pt x="157" y="101"/>
                      <a:pt x="155" y="102"/>
                      <a:pt x="155" y="106"/>
                    </a:cubicBezTo>
                    <a:cubicBezTo>
                      <a:pt x="155" y="110"/>
                      <a:pt x="154" y="111"/>
                      <a:pt x="151" y="112"/>
                    </a:cubicBezTo>
                    <a:cubicBezTo>
                      <a:pt x="149" y="113"/>
                      <a:pt x="148" y="117"/>
                      <a:pt x="148" y="120"/>
                    </a:cubicBezTo>
                    <a:cubicBezTo>
                      <a:pt x="148" y="126"/>
                      <a:pt x="148" y="126"/>
                      <a:pt x="148" y="126"/>
                    </a:cubicBezTo>
                    <a:cubicBezTo>
                      <a:pt x="148" y="133"/>
                      <a:pt x="148" y="133"/>
                      <a:pt x="148" y="133"/>
                    </a:cubicBezTo>
                    <a:cubicBezTo>
                      <a:pt x="148" y="136"/>
                      <a:pt x="145" y="137"/>
                      <a:pt x="145" y="141"/>
                    </a:cubicBezTo>
                    <a:cubicBezTo>
                      <a:pt x="145" y="144"/>
                      <a:pt x="142" y="145"/>
                      <a:pt x="142" y="148"/>
                    </a:cubicBezTo>
                    <a:cubicBezTo>
                      <a:pt x="142" y="151"/>
                      <a:pt x="139" y="153"/>
                      <a:pt x="137" y="154"/>
                    </a:cubicBezTo>
                    <a:cubicBezTo>
                      <a:pt x="135" y="155"/>
                      <a:pt x="133" y="157"/>
                      <a:pt x="133" y="162"/>
                    </a:cubicBezTo>
                    <a:cubicBezTo>
                      <a:pt x="133" y="167"/>
                      <a:pt x="130" y="171"/>
                      <a:pt x="130" y="176"/>
                    </a:cubicBezTo>
                    <a:cubicBezTo>
                      <a:pt x="130" y="182"/>
                      <a:pt x="130" y="186"/>
                      <a:pt x="127" y="186"/>
                    </a:cubicBezTo>
                    <a:cubicBezTo>
                      <a:pt x="122" y="186"/>
                      <a:pt x="121" y="184"/>
                      <a:pt x="116" y="184"/>
                    </a:cubicBezTo>
                    <a:cubicBezTo>
                      <a:pt x="111" y="184"/>
                      <a:pt x="110" y="183"/>
                      <a:pt x="107" y="183"/>
                    </a:cubicBezTo>
                    <a:cubicBezTo>
                      <a:pt x="105" y="183"/>
                      <a:pt x="103" y="189"/>
                      <a:pt x="98" y="191"/>
                    </a:cubicBezTo>
                    <a:cubicBezTo>
                      <a:pt x="92" y="193"/>
                      <a:pt x="90" y="198"/>
                      <a:pt x="85" y="198"/>
                    </a:cubicBezTo>
                    <a:cubicBezTo>
                      <a:pt x="79" y="198"/>
                      <a:pt x="71" y="186"/>
                      <a:pt x="65" y="186"/>
                    </a:cubicBezTo>
                    <a:cubicBezTo>
                      <a:pt x="60" y="186"/>
                      <a:pt x="58" y="190"/>
                      <a:pt x="58" y="194"/>
                    </a:cubicBezTo>
                    <a:cubicBezTo>
                      <a:pt x="58" y="199"/>
                      <a:pt x="56" y="200"/>
                      <a:pt x="54" y="201"/>
                    </a:cubicBezTo>
                    <a:cubicBezTo>
                      <a:pt x="51" y="202"/>
                      <a:pt x="51" y="205"/>
                      <a:pt x="51" y="208"/>
                    </a:cubicBezTo>
                    <a:cubicBezTo>
                      <a:pt x="51" y="213"/>
                      <a:pt x="57" y="214"/>
                      <a:pt x="59" y="218"/>
                    </a:cubicBezTo>
                    <a:cubicBezTo>
                      <a:pt x="61" y="222"/>
                      <a:pt x="63" y="223"/>
                      <a:pt x="67" y="223"/>
                    </a:cubicBezTo>
                    <a:cubicBezTo>
                      <a:pt x="70" y="223"/>
                      <a:pt x="74" y="222"/>
                      <a:pt x="79" y="224"/>
                    </a:cubicBezTo>
                    <a:cubicBezTo>
                      <a:pt x="83" y="227"/>
                      <a:pt x="84" y="230"/>
                      <a:pt x="87" y="230"/>
                    </a:cubicBezTo>
                    <a:cubicBezTo>
                      <a:pt x="90" y="230"/>
                      <a:pt x="91" y="227"/>
                      <a:pt x="93" y="227"/>
                    </a:cubicBezTo>
                    <a:cubicBezTo>
                      <a:pt x="95" y="227"/>
                      <a:pt x="97" y="230"/>
                      <a:pt x="95" y="232"/>
                    </a:cubicBezTo>
                    <a:cubicBezTo>
                      <a:pt x="93" y="235"/>
                      <a:pt x="88" y="238"/>
                      <a:pt x="82" y="240"/>
                    </a:cubicBezTo>
                    <a:cubicBezTo>
                      <a:pt x="76" y="243"/>
                      <a:pt x="73" y="247"/>
                      <a:pt x="71" y="251"/>
                    </a:cubicBezTo>
                    <a:cubicBezTo>
                      <a:pt x="69" y="254"/>
                      <a:pt x="68" y="256"/>
                      <a:pt x="65" y="257"/>
                    </a:cubicBezTo>
                    <a:cubicBezTo>
                      <a:pt x="63" y="257"/>
                      <a:pt x="62" y="259"/>
                      <a:pt x="58" y="259"/>
                    </a:cubicBezTo>
                    <a:cubicBezTo>
                      <a:pt x="45" y="259"/>
                      <a:pt x="45" y="259"/>
                      <a:pt x="45" y="259"/>
                    </a:cubicBezTo>
                    <a:cubicBezTo>
                      <a:pt x="40" y="259"/>
                      <a:pt x="40" y="256"/>
                      <a:pt x="37" y="256"/>
                    </a:cubicBezTo>
                    <a:cubicBezTo>
                      <a:pt x="34" y="256"/>
                      <a:pt x="31" y="260"/>
                      <a:pt x="28" y="262"/>
                    </a:cubicBezTo>
                    <a:cubicBezTo>
                      <a:pt x="25" y="265"/>
                      <a:pt x="23" y="267"/>
                      <a:pt x="23" y="270"/>
                    </a:cubicBezTo>
                    <a:cubicBezTo>
                      <a:pt x="23" y="274"/>
                      <a:pt x="23" y="277"/>
                      <a:pt x="19" y="277"/>
                    </a:cubicBezTo>
                    <a:cubicBezTo>
                      <a:pt x="14" y="277"/>
                      <a:pt x="13" y="284"/>
                      <a:pt x="6" y="284"/>
                    </a:cubicBezTo>
                    <a:cubicBezTo>
                      <a:pt x="2" y="284"/>
                      <a:pt x="0" y="285"/>
                      <a:pt x="0" y="287"/>
                    </a:cubicBezTo>
                    <a:cubicBezTo>
                      <a:pt x="0" y="289"/>
                      <a:pt x="3" y="289"/>
                      <a:pt x="3" y="292"/>
                    </a:cubicBezTo>
                    <a:cubicBezTo>
                      <a:pt x="3" y="296"/>
                      <a:pt x="5" y="297"/>
                      <a:pt x="10" y="302"/>
                    </a:cubicBezTo>
                    <a:cubicBezTo>
                      <a:pt x="18" y="312"/>
                      <a:pt x="24" y="323"/>
                      <a:pt x="31" y="323"/>
                    </a:cubicBezTo>
                    <a:cubicBezTo>
                      <a:pt x="37" y="323"/>
                      <a:pt x="37" y="325"/>
                      <a:pt x="37" y="328"/>
                    </a:cubicBezTo>
                    <a:cubicBezTo>
                      <a:pt x="37" y="331"/>
                      <a:pt x="40" y="335"/>
                      <a:pt x="44" y="340"/>
                    </a:cubicBezTo>
                    <a:cubicBezTo>
                      <a:pt x="49" y="345"/>
                      <a:pt x="51" y="348"/>
                      <a:pt x="54" y="348"/>
                    </a:cubicBezTo>
                    <a:cubicBezTo>
                      <a:pt x="58" y="348"/>
                      <a:pt x="60" y="355"/>
                      <a:pt x="61" y="362"/>
                    </a:cubicBezTo>
                    <a:cubicBezTo>
                      <a:pt x="61" y="370"/>
                      <a:pt x="62" y="375"/>
                      <a:pt x="63" y="376"/>
                    </a:cubicBezTo>
                    <a:cubicBezTo>
                      <a:pt x="65" y="376"/>
                      <a:pt x="77" y="378"/>
                      <a:pt x="87" y="378"/>
                    </a:cubicBezTo>
                    <a:cubicBezTo>
                      <a:pt x="96" y="379"/>
                      <a:pt x="100" y="379"/>
                      <a:pt x="100" y="382"/>
                    </a:cubicBezTo>
                    <a:cubicBezTo>
                      <a:pt x="100" y="386"/>
                      <a:pt x="102" y="386"/>
                      <a:pt x="104" y="386"/>
                    </a:cubicBezTo>
                    <a:cubicBezTo>
                      <a:pt x="106" y="386"/>
                      <a:pt x="111" y="387"/>
                      <a:pt x="111" y="392"/>
                    </a:cubicBezTo>
                    <a:cubicBezTo>
                      <a:pt x="111" y="397"/>
                      <a:pt x="112" y="399"/>
                      <a:pt x="116" y="399"/>
                    </a:cubicBezTo>
                    <a:cubicBezTo>
                      <a:pt x="119" y="399"/>
                      <a:pt x="121" y="401"/>
                      <a:pt x="122" y="403"/>
                    </a:cubicBezTo>
                    <a:cubicBezTo>
                      <a:pt x="123" y="405"/>
                      <a:pt x="125" y="406"/>
                      <a:pt x="127" y="406"/>
                    </a:cubicBezTo>
                    <a:cubicBezTo>
                      <a:pt x="129" y="406"/>
                      <a:pt x="128" y="404"/>
                      <a:pt x="131" y="404"/>
                    </a:cubicBezTo>
                    <a:cubicBezTo>
                      <a:pt x="135" y="404"/>
                      <a:pt x="135" y="408"/>
                      <a:pt x="139" y="408"/>
                    </a:cubicBezTo>
                    <a:cubicBezTo>
                      <a:pt x="143" y="408"/>
                      <a:pt x="145" y="402"/>
                      <a:pt x="146" y="401"/>
                    </a:cubicBezTo>
                    <a:cubicBezTo>
                      <a:pt x="148" y="401"/>
                      <a:pt x="150" y="397"/>
                      <a:pt x="152" y="396"/>
                    </a:cubicBezTo>
                    <a:cubicBezTo>
                      <a:pt x="154" y="396"/>
                      <a:pt x="154" y="392"/>
                      <a:pt x="157" y="392"/>
                    </a:cubicBezTo>
                    <a:cubicBezTo>
                      <a:pt x="161" y="392"/>
                      <a:pt x="161" y="395"/>
                      <a:pt x="161" y="396"/>
                    </a:cubicBezTo>
                    <a:cubicBezTo>
                      <a:pt x="161" y="398"/>
                      <a:pt x="156" y="399"/>
                      <a:pt x="156" y="402"/>
                    </a:cubicBezTo>
                    <a:cubicBezTo>
                      <a:pt x="156" y="405"/>
                      <a:pt x="158" y="404"/>
                      <a:pt x="162" y="404"/>
                    </a:cubicBezTo>
                    <a:cubicBezTo>
                      <a:pt x="165" y="404"/>
                      <a:pt x="165" y="402"/>
                      <a:pt x="168" y="402"/>
                    </a:cubicBezTo>
                    <a:cubicBezTo>
                      <a:pt x="170" y="402"/>
                      <a:pt x="168" y="410"/>
                      <a:pt x="177" y="410"/>
                    </a:cubicBezTo>
                    <a:cubicBezTo>
                      <a:pt x="180" y="410"/>
                      <a:pt x="181" y="408"/>
                      <a:pt x="183" y="408"/>
                    </a:cubicBezTo>
                    <a:cubicBezTo>
                      <a:pt x="186" y="408"/>
                      <a:pt x="190" y="403"/>
                      <a:pt x="190" y="399"/>
                    </a:cubicBezTo>
                    <a:cubicBezTo>
                      <a:pt x="190" y="396"/>
                      <a:pt x="193" y="395"/>
                      <a:pt x="193" y="393"/>
                    </a:cubicBezTo>
                    <a:cubicBezTo>
                      <a:pt x="193" y="390"/>
                      <a:pt x="191" y="389"/>
                      <a:pt x="191" y="387"/>
                    </a:cubicBezTo>
                    <a:cubicBezTo>
                      <a:pt x="191" y="385"/>
                      <a:pt x="196" y="383"/>
                      <a:pt x="196" y="379"/>
                    </a:cubicBezTo>
                    <a:cubicBezTo>
                      <a:pt x="196" y="376"/>
                      <a:pt x="202" y="373"/>
                      <a:pt x="207" y="373"/>
                    </a:cubicBezTo>
                    <a:cubicBezTo>
                      <a:pt x="211" y="373"/>
                      <a:pt x="212" y="367"/>
                      <a:pt x="212" y="362"/>
                    </a:cubicBezTo>
                    <a:cubicBezTo>
                      <a:pt x="212" y="357"/>
                      <a:pt x="210" y="355"/>
                      <a:pt x="209" y="354"/>
                    </a:cubicBezTo>
                    <a:cubicBezTo>
                      <a:pt x="207" y="352"/>
                      <a:pt x="207" y="351"/>
                      <a:pt x="207" y="349"/>
                    </a:cubicBezTo>
                    <a:cubicBezTo>
                      <a:pt x="207" y="347"/>
                      <a:pt x="205" y="346"/>
                      <a:pt x="203" y="346"/>
                    </a:cubicBezTo>
                    <a:cubicBezTo>
                      <a:pt x="202" y="346"/>
                      <a:pt x="201" y="344"/>
                      <a:pt x="201" y="343"/>
                    </a:cubicBezTo>
                    <a:cubicBezTo>
                      <a:pt x="201" y="341"/>
                      <a:pt x="207" y="338"/>
                      <a:pt x="207" y="334"/>
                    </a:cubicBezTo>
                    <a:cubicBezTo>
                      <a:pt x="207" y="331"/>
                      <a:pt x="209" y="332"/>
                      <a:pt x="212" y="331"/>
                    </a:cubicBezTo>
                    <a:cubicBezTo>
                      <a:pt x="215" y="329"/>
                      <a:pt x="219" y="325"/>
                      <a:pt x="225" y="317"/>
                    </a:cubicBezTo>
                    <a:cubicBezTo>
                      <a:pt x="231" y="308"/>
                      <a:pt x="233" y="301"/>
                      <a:pt x="237" y="301"/>
                    </a:cubicBezTo>
                    <a:cubicBezTo>
                      <a:pt x="241" y="301"/>
                      <a:pt x="243" y="305"/>
                      <a:pt x="248" y="306"/>
                    </a:cubicBezTo>
                    <a:cubicBezTo>
                      <a:pt x="252" y="308"/>
                      <a:pt x="263" y="317"/>
                      <a:pt x="263" y="322"/>
                    </a:cubicBezTo>
                    <a:cubicBezTo>
                      <a:pt x="263" y="327"/>
                      <a:pt x="265" y="325"/>
                      <a:pt x="267" y="325"/>
                    </a:cubicBezTo>
                    <a:cubicBezTo>
                      <a:pt x="269" y="325"/>
                      <a:pt x="275" y="335"/>
                      <a:pt x="275" y="344"/>
                    </a:cubicBezTo>
                    <a:cubicBezTo>
                      <a:pt x="275" y="353"/>
                      <a:pt x="281" y="353"/>
                      <a:pt x="281" y="358"/>
                    </a:cubicBezTo>
                    <a:cubicBezTo>
                      <a:pt x="281" y="362"/>
                      <a:pt x="283" y="370"/>
                      <a:pt x="291" y="375"/>
                    </a:cubicBezTo>
                    <a:cubicBezTo>
                      <a:pt x="298" y="379"/>
                      <a:pt x="297" y="383"/>
                      <a:pt x="299" y="383"/>
                    </a:cubicBezTo>
                    <a:cubicBezTo>
                      <a:pt x="304" y="383"/>
                      <a:pt x="302" y="377"/>
                      <a:pt x="305" y="377"/>
                    </a:cubicBezTo>
                    <a:cubicBezTo>
                      <a:pt x="309" y="377"/>
                      <a:pt x="309" y="381"/>
                      <a:pt x="313" y="381"/>
                    </a:cubicBezTo>
                    <a:cubicBezTo>
                      <a:pt x="316" y="381"/>
                      <a:pt x="323" y="389"/>
                      <a:pt x="323" y="397"/>
                    </a:cubicBezTo>
                    <a:cubicBezTo>
                      <a:pt x="323" y="405"/>
                      <a:pt x="318" y="405"/>
                      <a:pt x="318" y="415"/>
                    </a:cubicBezTo>
                    <a:cubicBezTo>
                      <a:pt x="318" y="420"/>
                      <a:pt x="321" y="423"/>
                      <a:pt x="324" y="428"/>
                    </a:cubicBezTo>
                    <a:cubicBezTo>
                      <a:pt x="327" y="433"/>
                      <a:pt x="328" y="433"/>
                      <a:pt x="331" y="433"/>
                    </a:cubicBezTo>
                    <a:cubicBezTo>
                      <a:pt x="334" y="433"/>
                      <a:pt x="334" y="429"/>
                      <a:pt x="337" y="429"/>
                    </a:cubicBezTo>
                    <a:cubicBezTo>
                      <a:pt x="340" y="429"/>
                      <a:pt x="342" y="427"/>
                      <a:pt x="345" y="427"/>
                    </a:cubicBezTo>
                    <a:cubicBezTo>
                      <a:pt x="348" y="427"/>
                      <a:pt x="347" y="428"/>
                      <a:pt x="349" y="428"/>
                    </a:cubicBezTo>
                    <a:cubicBezTo>
                      <a:pt x="353" y="428"/>
                      <a:pt x="355" y="420"/>
                      <a:pt x="359" y="420"/>
                    </a:cubicBezTo>
                    <a:cubicBezTo>
                      <a:pt x="362" y="420"/>
                      <a:pt x="363" y="426"/>
                      <a:pt x="366" y="426"/>
                    </a:cubicBezTo>
                    <a:cubicBezTo>
                      <a:pt x="369" y="426"/>
                      <a:pt x="370" y="424"/>
                      <a:pt x="373" y="424"/>
                    </a:cubicBezTo>
                    <a:cubicBezTo>
                      <a:pt x="377" y="424"/>
                      <a:pt x="382" y="422"/>
                      <a:pt x="382" y="419"/>
                    </a:cubicBezTo>
                    <a:cubicBezTo>
                      <a:pt x="382" y="415"/>
                      <a:pt x="383" y="414"/>
                      <a:pt x="386" y="414"/>
                    </a:cubicBezTo>
                    <a:cubicBezTo>
                      <a:pt x="392" y="414"/>
                      <a:pt x="393" y="408"/>
                      <a:pt x="396" y="408"/>
                    </a:cubicBezTo>
                    <a:cubicBezTo>
                      <a:pt x="400" y="408"/>
                      <a:pt x="400" y="414"/>
                      <a:pt x="400" y="414"/>
                    </a:cubicBezTo>
                    <a:cubicBezTo>
                      <a:pt x="410" y="414"/>
                      <a:pt x="410" y="414"/>
                      <a:pt x="410" y="414"/>
                    </a:cubicBezTo>
                    <a:cubicBezTo>
                      <a:pt x="416" y="414"/>
                      <a:pt x="413" y="422"/>
                      <a:pt x="420" y="422"/>
                    </a:cubicBezTo>
                    <a:cubicBezTo>
                      <a:pt x="425" y="422"/>
                      <a:pt x="427" y="424"/>
                      <a:pt x="432" y="424"/>
                    </a:cubicBezTo>
                    <a:cubicBezTo>
                      <a:pt x="437" y="424"/>
                      <a:pt x="438" y="428"/>
                      <a:pt x="435" y="428"/>
                    </a:cubicBezTo>
                    <a:cubicBezTo>
                      <a:pt x="433" y="428"/>
                      <a:pt x="430" y="429"/>
                      <a:pt x="430" y="431"/>
                    </a:cubicBezTo>
                    <a:cubicBezTo>
                      <a:pt x="430" y="433"/>
                      <a:pt x="432" y="435"/>
                      <a:pt x="434" y="435"/>
                    </a:cubicBezTo>
                    <a:cubicBezTo>
                      <a:pt x="436" y="435"/>
                      <a:pt x="436" y="436"/>
                      <a:pt x="442" y="436"/>
                    </a:cubicBezTo>
                    <a:cubicBezTo>
                      <a:pt x="448" y="436"/>
                      <a:pt x="448" y="431"/>
                      <a:pt x="451" y="430"/>
                    </a:cubicBezTo>
                    <a:cubicBezTo>
                      <a:pt x="455" y="429"/>
                      <a:pt x="454" y="425"/>
                      <a:pt x="458" y="424"/>
                    </a:cubicBezTo>
                    <a:cubicBezTo>
                      <a:pt x="462" y="423"/>
                      <a:pt x="463" y="421"/>
                      <a:pt x="466" y="419"/>
                    </a:cubicBezTo>
                    <a:cubicBezTo>
                      <a:pt x="469" y="416"/>
                      <a:pt x="469" y="416"/>
                      <a:pt x="474" y="412"/>
                    </a:cubicBezTo>
                    <a:cubicBezTo>
                      <a:pt x="479" y="409"/>
                      <a:pt x="478" y="404"/>
                      <a:pt x="479" y="399"/>
                    </a:cubicBezTo>
                    <a:cubicBezTo>
                      <a:pt x="481" y="393"/>
                      <a:pt x="483" y="387"/>
                      <a:pt x="483" y="382"/>
                    </a:cubicBezTo>
                    <a:cubicBezTo>
                      <a:pt x="483" y="377"/>
                      <a:pt x="481" y="374"/>
                      <a:pt x="481" y="371"/>
                    </a:cubicBezTo>
                    <a:cubicBezTo>
                      <a:pt x="481" y="369"/>
                      <a:pt x="481" y="366"/>
                      <a:pt x="486" y="361"/>
                    </a:cubicBezTo>
                    <a:cubicBezTo>
                      <a:pt x="491" y="357"/>
                      <a:pt x="494" y="357"/>
                      <a:pt x="500" y="357"/>
                    </a:cubicBezTo>
                    <a:cubicBezTo>
                      <a:pt x="505" y="357"/>
                      <a:pt x="506" y="354"/>
                      <a:pt x="509" y="354"/>
                    </a:cubicBezTo>
                    <a:cubicBezTo>
                      <a:pt x="513" y="354"/>
                      <a:pt x="513" y="356"/>
                      <a:pt x="518" y="356"/>
                    </a:cubicBezTo>
                    <a:cubicBezTo>
                      <a:pt x="522" y="356"/>
                      <a:pt x="524" y="362"/>
                      <a:pt x="527" y="362"/>
                    </a:cubicBezTo>
                    <a:cubicBezTo>
                      <a:pt x="531" y="362"/>
                      <a:pt x="530" y="356"/>
                      <a:pt x="531" y="354"/>
                    </a:cubicBezTo>
                    <a:cubicBezTo>
                      <a:pt x="533" y="352"/>
                      <a:pt x="535" y="354"/>
                      <a:pt x="537" y="353"/>
                    </a:cubicBezTo>
                    <a:cubicBezTo>
                      <a:pt x="538" y="351"/>
                      <a:pt x="539" y="348"/>
                      <a:pt x="542" y="345"/>
                    </a:cubicBezTo>
                    <a:cubicBezTo>
                      <a:pt x="546" y="342"/>
                      <a:pt x="546" y="340"/>
                      <a:pt x="546" y="337"/>
                    </a:cubicBezTo>
                    <a:cubicBezTo>
                      <a:pt x="547" y="333"/>
                      <a:pt x="551" y="331"/>
                      <a:pt x="551" y="329"/>
                    </a:cubicBezTo>
                    <a:cubicBezTo>
                      <a:pt x="551" y="327"/>
                      <a:pt x="550" y="326"/>
                      <a:pt x="550" y="320"/>
                    </a:cubicBezTo>
                    <a:cubicBezTo>
                      <a:pt x="550" y="315"/>
                      <a:pt x="547" y="311"/>
                      <a:pt x="545" y="310"/>
                    </a:cubicBezTo>
                    <a:cubicBezTo>
                      <a:pt x="542" y="309"/>
                      <a:pt x="544" y="305"/>
                      <a:pt x="539" y="305"/>
                    </a:cubicBezTo>
                    <a:cubicBezTo>
                      <a:pt x="535" y="305"/>
                      <a:pt x="531" y="312"/>
                      <a:pt x="526" y="312"/>
                    </a:cubicBezTo>
                    <a:cubicBezTo>
                      <a:pt x="523" y="312"/>
                      <a:pt x="520" y="314"/>
                      <a:pt x="519" y="316"/>
                    </a:cubicBezTo>
                    <a:cubicBezTo>
                      <a:pt x="517" y="318"/>
                      <a:pt x="515" y="320"/>
                      <a:pt x="515" y="316"/>
                    </a:cubicBezTo>
                    <a:cubicBezTo>
                      <a:pt x="515" y="313"/>
                      <a:pt x="519" y="310"/>
                      <a:pt x="523" y="307"/>
                    </a:cubicBezTo>
                    <a:cubicBezTo>
                      <a:pt x="527" y="304"/>
                      <a:pt x="528" y="300"/>
                      <a:pt x="528" y="298"/>
                    </a:cubicBezTo>
                    <a:cubicBezTo>
                      <a:pt x="528" y="296"/>
                      <a:pt x="529" y="292"/>
                      <a:pt x="529" y="288"/>
                    </a:cubicBezTo>
                    <a:cubicBezTo>
                      <a:pt x="529" y="283"/>
                      <a:pt x="530" y="282"/>
                      <a:pt x="530" y="280"/>
                    </a:cubicBezTo>
                    <a:cubicBezTo>
                      <a:pt x="530" y="277"/>
                      <a:pt x="526" y="278"/>
                      <a:pt x="526" y="271"/>
                    </a:cubicBezTo>
                    <a:cubicBezTo>
                      <a:pt x="526" y="267"/>
                      <a:pt x="525" y="265"/>
                      <a:pt x="522" y="265"/>
                    </a:cubicBezTo>
                    <a:cubicBezTo>
                      <a:pt x="519" y="265"/>
                      <a:pt x="518" y="264"/>
                      <a:pt x="518" y="262"/>
                    </a:cubicBezTo>
                    <a:cubicBezTo>
                      <a:pt x="518" y="261"/>
                      <a:pt x="520" y="260"/>
                      <a:pt x="521" y="259"/>
                    </a:cubicBezTo>
                    <a:cubicBezTo>
                      <a:pt x="522" y="258"/>
                      <a:pt x="523" y="256"/>
                      <a:pt x="519" y="256"/>
                    </a:cubicBezTo>
                    <a:cubicBezTo>
                      <a:pt x="517" y="256"/>
                      <a:pt x="513" y="252"/>
                      <a:pt x="513" y="250"/>
                    </a:cubicBezTo>
                    <a:cubicBezTo>
                      <a:pt x="513" y="248"/>
                      <a:pt x="514" y="247"/>
                      <a:pt x="514" y="243"/>
                    </a:cubicBezTo>
                    <a:cubicBezTo>
                      <a:pt x="514" y="240"/>
                      <a:pt x="513" y="237"/>
                      <a:pt x="517" y="237"/>
                    </a:cubicBezTo>
                    <a:cubicBezTo>
                      <a:pt x="521" y="237"/>
                      <a:pt x="531" y="245"/>
                      <a:pt x="534" y="248"/>
                    </a:cubicBezTo>
                    <a:cubicBezTo>
                      <a:pt x="537" y="252"/>
                      <a:pt x="537" y="254"/>
                      <a:pt x="539" y="254"/>
                    </a:cubicBezTo>
                    <a:cubicBezTo>
                      <a:pt x="543" y="254"/>
                      <a:pt x="547" y="266"/>
                      <a:pt x="547" y="270"/>
                    </a:cubicBezTo>
                    <a:cubicBezTo>
                      <a:pt x="547" y="275"/>
                      <a:pt x="548" y="275"/>
                      <a:pt x="548" y="279"/>
                    </a:cubicBezTo>
                    <a:cubicBezTo>
                      <a:pt x="548" y="287"/>
                      <a:pt x="541" y="286"/>
                      <a:pt x="541" y="297"/>
                    </a:cubicBezTo>
                    <a:cubicBezTo>
                      <a:pt x="541" y="303"/>
                      <a:pt x="547" y="306"/>
                      <a:pt x="549" y="313"/>
                    </a:cubicBezTo>
                    <a:cubicBezTo>
                      <a:pt x="550" y="317"/>
                      <a:pt x="554" y="323"/>
                      <a:pt x="556" y="323"/>
                    </a:cubicBezTo>
                    <a:cubicBezTo>
                      <a:pt x="559" y="323"/>
                      <a:pt x="559" y="320"/>
                      <a:pt x="559" y="318"/>
                    </a:cubicBezTo>
                    <a:cubicBezTo>
                      <a:pt x="559" y="316"/>
                      <a:pt x="562" y="315"/>
                      <a:pt x="562" y="313"/>
                    </a:cubicBezTo>
                    <a:cubicBezTo>
                      <a:pt x="562" y="311"/>
                      <a:pt x="559" y="308"/>
                      <a:pt x="562" y="307"/>
                    </a:cubicBezTo>
                    <a:cubicBezTo>
                      <a:pt x="565" y="305"/>
                      <a:pt x="566" y="302"/>
                      <a:pt x="566" y="299"/>
                    </a:cubicBezTo>
                    <a:cubicBezTo>
                      <a:pt x="566" y="296"/>
                      <a:pt x="567" y="294"/>
                      <a:pt x="564" y="291"/>
                    </a:cubicBezTo>
                    <a:cubicBezTo>
                      <a:pt x="562" y="288"/>
                      <a:pt x="565" y="287"/>
                      <a:pt x="566" y="285"/>
                    </a:cubicBezTo>
                    <a:cubicBezTo>
                      <a:pt x="568" y="283"/>
                      <a:pt x="565" y="283"/>
                      <a:pt x="568" y="280"/>
                    </a:cubicBezTo>
                    <a:cubicBezTo>
                      <a:pt x="571" y="276"/>
                      <a:pt x="569" y="273"/>
                      <a:pt x="570" y="270"/>
                    </a:cubicBezTo>
                    <a:cubicBezTo>
                      <a:pt x="571" y="267"/>
                      <a:pt x="570" y="265"/>
                      <a:pt x="568" y="265"/>
                    </a:cubicBezTo>
                    <a:cubicBezTo>
                      <a:pt x="565" y="265"/>
                      <a:pt x="563" y="263"/>
                      <a:pt x="563" y="261"/>
                    </a:cubicBezTo>
                    <a:cubicBezTo>
                      <a:pt x="563" y="258"/>
                      <a:pt x="561" y="256"/>
                      <a:pt x="561" y="253"/>
                    </a:cubicBezTo>
                    <a:cubicBezTo>
                      <a:pt x="561" y="250"/>
                      <a:pt x="560" y="246"/>
                      <a:pt x="560" y="242"/>
                    </a:cubicBezTo>
                    <a:cubicBezTo>
                      <a:pt x="560" y="237"/>
                      <a:pt x="557" y="234"/>
                      <a:pt x="553" y="230"/>
                    </a:cubicBezTo>
                    <a:cubicBezTo>
                      <a:pt x="549" y="226"/>
                      <a:pt x="548" y="221"/>
                      <a:pt x="548" y="215"/>
                    </a:cubicBezTo>
                    <a:cubicBezTo>
                      <a:pt x="548" y="210"/>
                      <a:pt x="545" y="206"/>
                      <a:pt x="542" y="204"/>
                    </a:cubicBezTo>
                    <a:cubicBezTo>
                      <a:pt x="539" y="202"/>
                      <a:pt x="538" y="198"/>
                      <a:pt x="535" y="198"/>
                    </a:cubicBezTo>
                    <a:cubicBezTo>
                      <a:pt x="525" y="198"/>
                      <a:pt x="525" y="198"/>
                      <a:pt x="525" y="198"/>
                    </a:cubicBezTo>
                    <a:cubicBezTo>
                      <a:pt x="520" y="198"/>
                      <a:pt x="519" y="202"/>
                      <a:pt x="514" y="202"/>
                    </a:cubicBezTo>
                    <a:cubicBezTo>
                      <a:pt x="510" y="202"/>
                      <a:pt x="507" y="200"/>
                      <a:pt x="503" y="200"/>
                    </a:cubicBezTo>
                    <a:cubicBezTo>
                      <a:pt x="499" y="200"/>
                      <a:pt x="499" y="204"/>
                      <a:pt x="496" y="204"/>
                    </a:cubicBezTo>
                    <a:cubicBezTo>
                      <a:pt x="493" y="204"/>
                      <a:pt x="491" y="205"/>
                      <a:pt x="487" y="209"/>
                    </a:cubicBezTo>
                    <a:cubicBezTo>
                      <a:pt x="482" y="213"/>
                      <a:pt x="478" y="218"/>
                      <a:pt x="476" y="222"/>
                    </a:cubicBezTo>
                    <a:cubicBezTo>
                      <a:pt x="474" y="225"/>
                      <a:pt x="474" y="227"/>
                      <a:pt x="472" y="227"/>
                    </a:cubicBezTo>
                    <a:cubicBezTo>
                      <a:pt x="470" y="227"/>
                      <a:pt x="469" y="227"/>
                      <a:pt x="469" y="223"/>
                    </a:cubicBezTo>
                    <a:cubicBezTo>
                      <a:pt x="469" y="220"/>
                      <a:pt x="467" y="220"/>
                      <a:pt x="467" y="216"/>
                    </a:cubicBezTo>
                    <a:cubicBezTo>
                      <a:pt x="467" y="213"/>
                      <a:pt x="469" y="209"/>
                      <a:pt x="471" y="204"/>
                    </a:cubicBezTo>
                    <a:cubicBezTo>
                      <a:pt x="473" y="199"/>
                      <a:pt x="476" y="195"/>
                      <a:pt x="480" y="194"/>
                    </a:cubicBezTo>
                    <a:cubicBezTo>
                      <a:pt x="483" y="194"/>
                      <a:pt x="485" y="191"/>
                      <a:pt x="489" y="188"/>
                    </a:cubicBezTo>
                    <a:cubicBezTo>
                      <a:pt x="493" y="186"/>
                      <a:pt x="496" y="184"/>
                      <a:pt x="500" y="184"/>
                    </a:cubicBezTo>
                    <a:cubicBezTo>
                      <a:pt x="505" y="184"/>
                      <a:pt x="510" y="176"/>
                      <a:pt x="513" y="172"/>
                    </a:cubicBezTo>
                    <a:cubicBezTo>
                      <a:pt x="515" y="167"/>
                      <a:pt x="513" y="163"/>
                      <a:pt x="513" y="157"/>
                    </a:cubicBezTo>
                    <a:cubicBezTo>
                      <a:pt x="513" y="151"/>
                      <a:pt x="510" y="147"/>
                      <a:pt x="507" y="143"/>
                    </a:cubicBezTo>
                    <a:cubicBezTo>
                      <a:pt x="504" y="138"/>
                      <a:pt x="500" y="136"/>
                      <a:pt x="496" y="136"/>
                    </a:cubicBezTo>
                    <a:cubicBezTo>
                      <a:pt x="493" y="136"/>
                      <a:pt x="490" y="137"/>
                      <a:pt x="490" y="140"/>
                    </a:cubicBezTo>
                    <a:cubicBezTo>
                      <a:pt x="490" y="144"/>
                      <a:pt x="501" y="151"/>
                      <a:pt x="503" y="154"/>
                    </a:cubicBezTo>
                    <a:cubicBezTo>
                      <a:pt x="506" y="158"/>
                      <a:pt x="507" y="162"/>
                      <a:pt x="505" y="162"/>
                    </a:cubicBezTo>
                    <a:cubicBezTo>
                      <a:pt x="503" y="162"/>
                      <a:pt x="504" y="159"/>
                      <a:pt x="502" y="156"/>
                    </a:cubicBezTo>
                    <a:cubicBezTo>
                      <a:pt x="500" y="154"/>
                      <a:pt x="499" y="152"/>
                      <a:pt x="493" y="152"/>
                    </a:cubicBezTo>
                    <a:cubicBezTo>
                      <a:pt x="485" y="152"/>
                      <a:pt x="487" y="144"/>
                      <a:pt x="487" y="138"/>
                    </a:cubicBezTo>
                    <a:cubicBezTo>
                      <a:pt x="487" y="133"/>
                      <a:pt x="485" y="131"/>
                      <a:pt x="482" y="128"/>
                    </a:cubicBezTo>
                    <a:cubicBezTo>
                      <a:pt x="480" y="126"/>
                      <a:pt x="480" y="122"/>
                      <a:pt x="478" y="121"/>
                    </a:cubicBezTo>
                    <a:cubicBezTo>
                      <a:pt x="476" y="119"/>
                      <a:pt x="472" y="118"/>
                      <a:pt x="472" y="116"/>
                    </a:cubicBezTo>
                    <a:cubicBezTo>
                      <a:pt x="472" y="113"/>
                      <a:pt x="471" y="111"/>
                      <a:pt x="468" y="106"/>
                    </a:cubicBezTo>
                    <a:cubicBezTo>
                      <a:pt x="464" y="100"/>
                      <a:pt x="462" y="96"/>
                      <a:pt x="460" y="96"/>
                    </a:cubicBezTo>
                    <a:cubicBezTo>
                      <a:pt x="457" y="96"/>
                      <a:pt x="456" y="96"/>
                      <a:pt x="454" y="94"/>
                    </a:cubicBezTo>
                    <a:cubicBezTo>
                      <a:pt x="452" y="92"/>
                      <a:pt x="448" y="94"/>
                      <a:pt x="448" y="90"/>
                    </a:cubicBezTo>
                    <a:cubicBezTo>
                      <a:pt x="448" y="85"/>
                      <a:pt x="453" y="84"/>
                      <a:pt x="453" y="74"/>
                    </a:cubicBezTo>
                    <a:cubicBezTo>
                      <a:pt x="453" y="69"/>
                      <a:pt x="450" y="66"/>
                      <a:pt x="447" y="66"/>
                    </a:cubicBezTo>
                    <a:cubicBezTo>
                      <a:pt x="444" y="66"/>
                      <a:pt x="444" y="64"/>
                      <a:pt x="441" y="64"/>
                    </a:cubicBezTo>
                    <a:cubicBezTo>
                      <a:pt x="437" y="64"/>
                      <a:pt x="438" y="67"/>
                      <a:pt x="436" y="67"/>
                    </a:cubicBezTo>
                    <a:cubicBezTo>
                      <a:pt x="434" y="67"/>
                      <a:pt x="434" y="67"/>
                      <a:pt x="434" y="61"/>
                    </a:cubicBezTo>
                    <a:cubicBezTo>
                      <a:pt x="434" y="56"/>
                      <a:pt x="436" y="51"/>
                      <a:pt x="436" y="45"/>
                    </a:cubicBezTo>
                    <a:cubicBezTo>
                      <a:pt x="436" y="39"/>
                      <a:pt x="436" y="38"/>
                      <a:pt x="437" y="33"/>
                    </a:cubicBezTo>
                    <a:cubicBezTo>
                      <a:pt x="438" y="28"/>
                      <a:pt x="436" y="26"/>
                      <a:pt x="434" y="23"/>
                    </a:cubicBezTo>
                    <a:cubicBezTo>
                      <a:pt x="431" y="21"/>
                      <a:pt x="432" y="17"/>
                      <a:pt x="429" y="15"/>
                    </a:cubicBezTo>
                    <a:cubicBezTo>
                      <a:pt x="425" y="13"/>
                      <a:pt x="425" y="11"/>
                      <a:pt x="422" y="10"/>
                    </a:cubicBezTo>
                    <a:cubicBezTo>
                      <a:pt x="418" y="10"/>
                      <a:pt x="416" y="7"/>
                      <a:pt x="411" y="7"/>
                    </a:cubicBezTo>
                    <a:cubicBezTo>
                      <a:pt x="406" y="7"/>
                      <a:pt x="405" y="11"/>
                      <a:pt x="402" y="11"/>
                    </a:cubicBezTo>
                    <a:cubicBezTo>
                      <a:pt x="399" y="11"/>
                      <a:pt x="398" y="14"/>
                      <a:pt x="395" y="14"/>
                    </a:cubicBezTo>
                    <a:cubicBezTo>
                      <a:pt x="393" y="14"/>
                      <a:pt x="392" y="12"/>
                      <a:pt x="389" y="9"/>
                    </a:cubicBezTo>
                    <a:cubicBezTo>
                      <a:pt x="385" y="6"/>
                      <a:pt x="382" y="6"/>
                      <a:pt x="377" y="6"/>
                    </a:cubicBezTo>
                    <a:cubicBezTo>
                      <a:pt x="372" y="6"/>
                      <a:pt x="371" y="1"/>
                      <a:pt x="367" y="1"/>
                    </a:cubicBezTo>
                    <a:cubicBezTo>
                      <a:pt x="363" y="1"/>
                      <a:pt x="360" y="4"/>
                      <a:pt x="356" y="4"/>
                    </a:cubicBezTo>
                    <a:cubicBezTo>
                      <a:pt x="347" y="4"/>
                      <a:pt x="346" y="0"/>
                      <a:pt x="342" y="0"/>
                    </a:cubicBezTo>
                    <a:cubicBezTo>
                      <a:pt x="339" y="0"/>
                      <a:pt x="338" y="4"/>
                      <a:pt x="335" y="6"/>
                    </a:cubicBezTo>
                    <a:cubicBezTo>
                      <a:pt x="331" y="7"/>
                      <a:pt x="330" y="11"/>
                      <a:pt x="328" y="11"/>
                    </a:cubicBezTo>
                    <a:cubicBezTo>
                      <a:pt x="325" y="11"/>
                      <a:pt x="322" y="15"/>
                      <a:pt x="315" y="15"/>
                    </a:cubicBezTo>
                    <a:cubicBezTo>
                      <a:pt x="307" y="15"/>
                      <a:pt x="306" y="20"/>
                      <a:pt x="301" y="20"/>
                    </a:cubicBezTo>
                    <a:cubicBezTo>
                      <a:pt x="295" y="20"/>
                      <a:pt x="291" y="27"/>
                      <a:pt x="291" y="27"/>
                    </a:cubicBezTo>
                    <a:cubicBezTo>
                      <a:pt x="284" y="27"/>
                      <a:pt x="284" y="27"/>
                      <a:pt x="284" y="27"/>
                    </a:cubicBezTo>
                    <a:cubicBezTo>
                      <a:pt x="280" y="27"/>
                      <a:pt x="277" y="29"/>
                      <a:pt x="266" y="29"/>
                    </a:cubicBezTo>
                    <a:cubicBezTo>
                      <a:pt x="256" y="29"/>
                      <a:pt x="251" y="22"/>
                      <a:pt x="247" y="22"/>
                    </a:cubicBezTo>
                    <a:cubicBezTo>
                      <a:pt x="244" y="22"/>
                      <a:pt x="245" y="29"/>
                      <a:pt x="245" y="33"/>
                    </a:cubicBezTo>
                    <a:cubicBezTo>
                      <a:pt x="245" y="36"/>
                      <a:pt x="242" y="40"/>
                      <a:pt x="242" y="44"/>
                    </a:cubicBezTo>
                    <a:cubicBezTo>
                      <a:pt x="242" y="47"/>
                      <a:pt x="239" y="53"/>
                      <a:pt x="236" y="56"/>
                    </a:cubicBezTo>
                    <a:cubicBezTo>
                      <a:pt x="233" y="58"/>
                      <a:pt x="234" y="62"/>
                      <a:pt x="234" y="65"/>
                    </a:cubicBezTo>
                    <a:cubicBezTo>
                      <a:pt x="234" y="68"/>
                      <a:pt x="230" y="77"/>
                      <a:pt x="219" y="77"/>
                    </a:cubicBezTo>
                    <a:cubicBezTo>
                      <a:pt x="208" y="77"/>
                      <a:pt x="207" y="70"/>
                      <a:pt x="202" y="70"/>
                    </a:cubicBezTo>
                    <a:cubicBezTo>
                      <a:pt x="198" y="70"/>
                      <a:pt x="192" y="74"/>
                      <a:pt x="190" y="74"/>
                    </a:cubicBezTo>
                    <a:cubicBezTo>
                      <a:pt x="188" y="74"/>
                      <a:pt x="188" y="73"/>
                      <a:pt x="187" y="71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23" name="Freeform 6"/>
              <p:cNvSpPr>
                <a:spLocks/>
              </p:cNvSpPr>
              <p:nvPr/>
            </p:nvSpPr>
            <p:spPr bwMode="auto">
              <a:xfrm>
                <a:off x="675" y="4000"/>
                <a:ext cx="73" cy="31"/>
              </a:xfrm>
              <a:custGeom>
                <a:avLst/>
                <a:gdLst>
                  <a:gd name="T0" fmla="*/ 6 w 31"/>
                  <a:gd name="T1" fmla="*/ 13 h 13"/>
                  <a:gd name="T2" fmla="*/ 0 w 31"/>
                  <a:gd name="T3" fmla="*/ 13 h 13"/>
                  <a:gd name="T4" fmla="*/ 0 w 31"/>
                  <a:gd name="T5" fmla="*/ 8 h 13"/>
                  <a:gd name="T6" fmla="*/ 13 w 31"/>
                  <a:gd name="T7" fmla="*/ 4 h 13"/>
                  <a:gd name="T8" fmla="*/ 21 w 31"/>
                  <a:gd name="T9" fmla="*/ 5 h 13"/>
                  <a:gd name="T10" fmla="*/ 28 w 31"/>
                  <a:gd name="T11" fmla="*/ 2 h 13"/>
                  <a:gd name="T12" fmla="*/ 17 w 31"/>
                  <a:gd name="T13" fmla="*/ 11 h 13"/>
                  <a:gd name="T14" fmla="*/ 6 w 31"/>
                  <a:gd name="T1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" h="13">
                    <a:moveTo>
                      <a:pt x="6" y="13"/>
                    </a:moveTo>
                    <a:cubicBezTo>
                      <a:pt x="0" y="13"/>
                      <a:pt x="0" y="13"/>
                      <a:pt x="0" y="13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6"/>
                      <a:pt x="6" y="4"/>
                      <a:pt x="13" y="4"/>
                    </a:cubicBezTo>
                    <a:cubicBezTo>
                      <a:pt x="20" y="4"/>
                      <a:pt x="20" y="5"/>
                      <a:pt x="21" y="5"/>
                    </a:cubicBezTo>
                    <a:cubicBezTo>
                      <a:pt x="23" y="5"/>
                      <a:pt x="26" y="0"/>
                      <a:pt x="28" y="2"/>
                    </a:cubicBezTo>
                    <a:cubicBezTo>
                      <a:pt x="31" y="4"/>
                      <a:pt x="24" y="11"/>
                      <a:pt x="17" y="11"/>
                    </a:cubicBezTo>
                    <a:cubicBezTo>
                      <a:pt x="11" y="11"/>
                      <a:pt x="9" y="13"/>
                      <a:pt x="6" y="13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24" name="Freeform 7"/>
              <p:cNvSpPr>
                <a:spLocks/>
              </p:cNvSpPr>
              <p:nvPr/>
            </p:nvSpPr>
            <p:spPr bwMode="auto">
              <a:xfrm>
                <a:off x="500" y="4029"/>
                <a:ext cx="47" cy="30"/>
              </a:xfrm>
              <a:custGeom>
                <a:avLst/>
                <a:gdLst>
                  <a:gd name="T0" fmla="*/ 3 w 20"/>
                  <a:gd name="T1" fmla="*/ 10 h 13"/>
                  <a:gd name="T2" fmla="*/ 7 w 20"/>
                  <a:gd name="T3" fmla="*/ 3 h 13"/>
                  <a:gd name="T4" fmla="*/ 15 w 20"/>
                  <a:gd name="T5" fmla="*/ 0 h 13"/>
                  <a:gd name="T6" fmla="*/ 16 w 20"/>
                  <a:gd name="T7" fmla="*/ 4 h 13"/>
                  <a:gd name="T8" fmla="*/ 3 w 20"/>
                  <a:gd name="T9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3">
                    <a:moveTo>
                      <a:pt x="3" y="10"/>
                    </a:moveTo>
                    <a:cubicBezTo>
                      <a:pt x="0" y="8"/>
                      <a:pt x="4" y="5"/>
                      <a:pt x="7" y="3"/>
                    </a:cubicBezTo>
                    <a:cubicBezTo>
                      <a:pt x="10" y="1"/>
                      <a:pt x="12" y="0"/>
                      <a:pt x="15" y="0"/>
                    </a:cubicBezTo>
                    <a:cubicBezTo>
                      <a:pt x="18" y="0"/>
                      <a:pt x="20" y="1"/>
                      <a:pt x="16" y="4"/>
                    </a:cubicBezTo>
                    <a:cubicBezTo>
                      <a:pt x="13" y="7"/>
                      <a:pt x="6" y="13"/>
                      <a:pt x="3" y="10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25" name="Freeform 8"/>
              <p:cNvSpPr>
                <a:spLocks/>
              </p:cNvSpPr>
              <p:nvPr/>
            </p:nvSpPr>
            <p:spPr bwMode="auto">
              <a:xfrm>
                <a:off x="412" y="3754"/>
                <a:ext cx="76" cy="38"/>
              </a:xfrm>
              <a:custGeom>
                <a:avLst/>
                <a:gdLst>
                  <a:gd name="T0" fmla="*/ 11 w 32"/>
                  <a:gd name="T1" fmla="*/ 13 h 16"/>
                  <a:gd name="T2" fmla="*/ 3 w 32"/>
                  <a:gd name="T3" fmla="*/ 16 h 16"/>
                  <a:gd name="T4" fmla="*/ 2 w 32"/>
                  <a:gd name="T5" fmla="*/ 12 h 16"/>
                  <a:gd name="T6" fmla="*/ 8 w 32"/>
                  <a:gd name="T7" fmla="*/ 6 h 16"/>
                  <a:gd name="T8" fmla="*/ 20 w 32"/>
                  <a:gd name="T9" fmla="*/ 0 h 16"/>
                  <a:gd name="T10" fmla="*/ 25 w 32"/>
                  <a:gd name="T11" fmla="*/ 3 h 16"/>
                  <a:gd name="T12" fmla="*/ 28 w 32"/>
                  <a:gd name="T13" fmla="*/ 1 h 16"/>
                  <a:gd name="T14" fmla="*/ 29 w 32"/>
                  <a:gd name="T15" fmla="*/ 6 h 16"/>
                  <a:gd name="T16" fmla="*/ 23 w 32"/>
                  <a:gd name="T17" fmla="*/ 9 h 16"/>
                  <a:gd name="T18" fmla="*/ 16 w 32"/>
                  <a:gd name="T19" fmla="*/ 13 h 16"/>
                  <a:gd name="T20" fmla="*/ 11 w 32"/>
                  <a:gd name="T21" fmla="*/ 13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" h="16">
                    <a:moveTo>
                      <a:pt x="11" y="13"/>
                    </a:moveTo>
                    <a:cubicBezTo>
                      <a:pt x="6" y="13"/>
                      <a:pt x="6" y="16"/>
                      <a:pt x="3" y="16"/>
                    </a:cubicBezTo>
                    <a:cubicBezTo>
                      <a:pt x="0" y="16"/>
                      <a:pt x="1" y="13"/>
                      <a:pt x="2" y="12"/>
                    </a:cubicBezTo>
                    <a:cubicBezTo>
                      <a:pt x="4" y="10"/>
                      <a:pt x="4" y="6"/>
                      <a:pt x="8" y="6"/>
                    </a:cubicBezTo>
                    <a:cubicBezTo>
                      <a:pt x="13" y="6"/>
                      <a:pt x="16" y="0"/>
                      <a:pt x="20" y="0"/>
                    </a:cubicBezTo>
                    <a:cubicBezTo>
                      <a:pt x="24" y="0"/>
                      <a:pt x="23" y="3"/>
                      <a:pt x="25" y="3"/>
                    </a:cubicBezTo>
                    <a:cubicBezTo>
                      <a:pt x="27" y="3"/>
                      <a:pt x="26" y="1"/>
                      <a:pt x="28" y="1"/>
                    </a:cubicBezTo>
                    <a:cubicBezTo>
                      <a:pt x="29" y="1"/>
                      <a:pt x="32" y="3"/>
                      <a:pt x="29" y="6"/>
                    </a:cubicBezTo>
                    <a:cubicBezTo>
                      <a:pt x="27" y="8"/>
                      <a:pt x="26" y="9"/>
                      <a:pt x="23" y="9"/>
                    </a:cubicBezTo>
                    <a:cubicBezTo>
                      <a:pt x="19" y="10"/>
                      <a:pt x="18" y="13"/>
                      <a:pt x="16" y="13"/>
                    </a:cubicBezTo>
                    <a:cubicBezTo>
                      <a:pt x="13" y="13"/>
                      <a:pt x="11" y="13"/>
                      <a:pt x="11" y="13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26" name="Freeform 9"/>
              <p:cNvSpPr>
                <a:spLocks/>
              </p:cNvSpPr>
              <p:nvPr/>
            </p:nvSpPr>
            <p:spPr bwMode="auto">
              <a:xfrm>
                <a:off x="336" y="3595"/>
                <a:ext cx="48" cy="36"/>
              </a:xfrm>
              <a:custGeom>
                <a:avLst/>
                <a:gdLst>
                  <a:gd name="T0" fmla="*/ 2 w 20"/>
                  <a:gd name="T1" fmla="*/ 15 h 15"/>
                  <a:gd name="T2" fmla="*/ 0 w 20"/>
                  <a:gd name="T3" fmla="*/ 12 h 15"/>
                  <a:gd name="T4" fmla="*/ 8 w 20"/>
                  <a:gd name="T5" fmla="*/ 6 h 15"/>
                  <a:gd name="T6" fmla="*/ 16 w 20"/>
                  <a:gd name="T7" fmla="*/ 0 h 15"/>
                  <a:gd name="T8" fmla="*/ 17 w 20"/>
                  <a:gd name="T9" fmla="*/ 6 h 15"/>
                  <a:gd name="T10" fmla="*/ 11 w 20"/>
                  <a:gd name="T11" fmla="*/ 10 h 15"/>
                  <a:gd name="T12" fmla="*/ 2 w 20"/>
                  <a:gd name="T13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5">
                    <a:moveTo>
                      <a:pt x="2" y="15"/>
                    </a:moveTo>
                    <a:cubicBezTo>
                      <a:pt x="1" y="15"/>
                      <a:pt x="0" y="13"/>
                      <a:pt x="0" y="12"/>
                    </a:cubicBezTo>
                    <a:cubicBezTo>
                      <a:pt x="0" y="10"/>
                      <a:pt x="4" y="6"/>
                      <a:pt x="8" y="6"/>
                    </a:cubicBezTo>
                    <a:cubicBezTo>
                      <a:pt x="12" y="6"/>
                      <a:pt x="12" y="0"/>
                      <a:pt x="16" y="0"/>
                    </a:cubicBezTo>
                    <a:cubicBezTo>
                      <a:pt x="20" y="0"/>
                      <a:pt x="18" y="4"/>
                      <a:pt x="17" y="6"/>
                    </a:cubicBezTo>
                    <a:cubicBezTo>
                      <a:pt x="15" y="9"/>
                      <a:pt x="14" y="10"/>
                      <a:pt x="11" y="10"/>
                    </a:cubicBezTo>
                    <a:cubicBezTo>
                      <a:pt x="9" y="10"/>
                      <a:pt x="5" y="15"/>
                      <a:pt x="2" y="15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27" name="Freeform 10"/>
              <p:cNvSpPr>
                <a:spLocks/>
              </p:cNvSpPr>
              <p:nvPr/>
            </p:nvSpPr>
            <p:spPr bwMode="auto">
              <a:xfrm>
                <a:off x="891" y="2795"/>
                <a:ext cx="23" cy="24"/>
              </a:xfrm>
              <a:custGeom>
                <a:avLst/>
                <a:gdLst>
                  <a:gd name="T0" fmla="*/ 6 w 10"/>
                  <a:gd name="T1" fmla="*/ 10 h 10"/>
                  <a:gd name="T2" fmla="*/ 0 w 10"/>
                  <a:gd name="T3" fmla="*/ 4 h 10"/>
                  <a:gd name="T4" fmla="*/ 7 w 10"/>
                  <a:gd name="T5" fmla="*/ 0 h 10"/>
                  <a:gd name="T6" fmla="*/ 10 w 10"/>
                  <a:gd name="T7" fmla="*/ 3 h 10"/>
                  <a:gd name="T8" fmla="*/ 6 w 10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6" y="10"/>
                    </a:moveTo>
                    <a:cubicBezTo>
                      <a:pt x="3" y="10"/>
                      <a:pt x="0" y="8"/>
                      <a:pt x="0" y="4"/>
                    </a:cubicBezTo>
                    <a:cubicBezTo>
                      <a:pt x="0" y="1"/>
                      <a:pt x="4" y="0"/>
                      <a:pt x="7" y="0"/>
                    </a:cubicBezTo>
                    <a:cubicBezTo>
                      <a:pt x="9" y="0"/>
                      <a:pt x="10" y="2"/>
                      <a:pt x="10" y="3"/>
                    </a:cubicBezTo>
                    <a:cubicBezTo>
                      <a:pt x="10" y="5"/>
                      <a:pt x="9" y="10"/>
                      <a:pt x="6" y="10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28" name="Freeform 11"/>
              <p:cNvSpPr>
                <a:spLocks/>
              </p:cNvSpPr>
              <p:nvPr/>
            </p:nvSpPr>
            <p:spPr bwMode="auto">
              <a:xfrm>
                <a:off x="860" y="2769"/>
                <a:ext cx="26" cy="26"/>
              </a:xfrm>
              <a:custGeom>
                <a:avLst/>
                <a:gdLst>
                  <a:gd name="T0" fmla="*/ 4 w 11"/>
                  <a:gd name="T1" fmla="*/ 11 h 11"/>
                  <a:gd name="T2" fmla="*/ 0 w 11"/>
                  <a:gd name="T3" fmla="*/ 7 h 11"/>
                  <a:gd name="T4" fmla="*/ 9 w 11"/>
                  <a:gd name="T5" fmla="*/ 0 h 11"/>
                  <a:gd name="T6" fmla="*/ 11 w 11"/>
                  <a:gd name="T7" fmla="*/ 0 h 11"/>
                  <a:gd name="T8" fmla="*/ 11 w 11"/>
                  <a:gd name="T9" fmla="*/ 4 h 11"/>
                  <a:gd name="T10" fmla="*/ 4 w 11"/>
                  <a:gd name="T11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11">
                    <a:moveTo>
                      <a:pt x="4" y="11"/>
                    </a:moveTo>
                    <a:cubicBezTo>
                      <a:pt x="2" y="11"/>
                      <a:pt x="0" y="9"/>
                      <a:pt x="0" y="7"/>
                    </a:cubicBezTo>
                    <a:cubicBezTo>
                      <a:pt x="0" y="4"/>
                      <a:pt x="5" y="0"/>
                      <a:pt x="9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1" y="6"/>
                      <a:pt x="8" y="11"/>
                      <a:pt x="4" y="11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29" name="Freeform 12"/>
              <p:cNvSpPr>
                <a:spLocks/>
              </p:cNvSpPr>
              <p:nvPr/>
            </p:nvSpPr>
            <p:spPr bwMode="auto">
              <a:xfrm>
                <a:off x="751" y="2717"/>
                <a:ext cx="106" cy="57"/>
              </a:xfrm>
              <a:custGeom>
                <a:avLst/>
                <a:gdLst>
                  <a:gd name="T0" fmla="*/ 39 w 45"/>
                  <a:gd name="T1" fmla="*/ 24 h 24"/>
                  <a:gd name="T2" fmla="*/ 30 w 45"/>
                  <a:gd name="T3" fmla="*/ 19 h 24"/>
                  <a:gd name="T4" fmla="*/ 18 w 45"/>
                  <a:gd name="T5" fmla="*/ 10 h 24"/>
                  <a:gd name="T6" fmla="*/ 5 w 45"/>
                  <a:gd name="T7" fmla="*/ 6 h 24"/>
                  <a:gd name="T8" fmla="*/ 0 w 45"/>
                  <a:gd name="T9" fmla="*/ 3 h 24"/>
                  <a:gd name="T10" fmla="*/ 5 w 45"/>
                  <a:gd name="T11" fmla="*/ 0 h 24"/>
                  <a:gd name="T12" fmla="*/ 13 w 45"/>
                  <a:gd name="T13" fmla="*/ 4 h 24"/>
                  <a:gd name="T14" fmla="*/ 21 w 45"/>
                  <a:gd name="T15" fmla="*/ 7 h 24"/>
                  <a:gd name="T16" fmla="*/ 26 w 45"/>
                  <a:gd name="T17" fmla="*/ 6 h 24"/>
                  <a:gd name="T18" fmla="*/ 36 w 45"/>
                  <a:gd name="T19" fmla="*/ 11 h 24"/>
                  <a:gd name="T20" fmla="*/ 38 w 45"/>
                  <a:gd name="T21" fmla="*/ 17 h 24"/>
                  <a:gd name="T22" fmla="*/ 43 w 45"/>
                  <a:gd name="T23" fmla="*/ 14 h 24"/>
                  <a:gd name="T24" fmla="*/ 45 w 45"/>
                  <a:gd name="T25" fmla="*/ 18 h 24"/>
                  <a:gd name="T26" fmla="*/ 39 w 45"/>
                  <a:gd name="T2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5" h="24">
                    <a:moveTo>
                      <a:pt x="39" y="24"/>
                    </a:moveTo>
                    <a:cubicBezTo>
                      <a:pt x="35" y="24"/>
                      <a:pt x="33" y="19"/>
                      <a:pt x="30" y="19"/>
                    </a:cubicBezTo>
                    <a:cubicBezTo>
                      <a:pt x="27" y="18"/>
                      <a:pt x="22" y="12"/>
                      <a:pt x="18" y="10"/>
                    </a:cubicBezTo>
                    <a:cubicBezTo>
                      <a:pt x="14" y="9"/>
                      <a:pt x="8" y="6"/>
                      <a:pt x="5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5" y="0"/>
                    </a:cubicBezTo>
                    <a:cubicBezTo>
                      <a:pt x="8" y="0"/>
                      <a:pt x="11" y="4"/>
                      <a:pt x="13" y="4"/>
                    </a:cubicBezTo>
                    <a:cubicBezTo>
                      <a:pt x="18" y="4"/>
                      <a:pt x="18" y="7"/>
                      <a:pt x="21" y="7"/>
                    </a:cubicBezTo>
                    <a:cubicBezTo>
                      <a:pt x="23" y="7"/>
                      <a:pt x="23" y="6"/>
                      <a:pt x="26" y="6"/>
                    </a:cubicBezTo>
                    <a:cubicBezTo>
                      <a:pt x="29" y="6"/>
                      <a:pt x="36" y="8"/>
                      <a:pt x="36" y="11"/>
                    </a:cubicBezTo>
                    <a:cubicBezTo>
                      <a:pt x="36" y="13"/>
                      <a:pt x="33" y="17"/>
                      <a:pt x="38" y="17"/>
                    </a:cubicBezTo>
                    <a:cubicBezTo>
                      <a:pt x="42" y="17"/>
                      <a:pt x="40" y="14"/>
                      <a:pt x="43" y="14"/>
                    </a:cubicBezTo>
                    <a:cubicBezTo>
                      <a:pt x="45" y="14"/>
                      <a:pt x="45" y="16"/>
                      <a:pt x="45" y="18"/>
                    </a:cubicBezTo>
                    <a:cubicBezTo>
                      <a:pt x="45" y="20"/>
                      <a:pt x="43" y="24"/>
                      <a:pt x="39" y="24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30" name="Freeform 13"/>
              <p:cNvSpPr>
                <a:spLocks/>
              </p:cNvSpPr>
              <p:nvPr/>
            </p:nvSpPr>
            <p:spPr bwMode="auto">
              <a:xfrm>
                <a:off x="812" y="2611"/>
                <a:ext cx="36" cy="47"/>
              </a:xfrm>
              <a:custGeom>
                <a:avLst/>
                <a:gdLst>
                  <a:gd name="T0" fmla="*/ 9 w 15"/>
                  <a:gd name="T1" fmla="*/ 20 h 20"/>
                  <a:gd name="T2" fmla="*/ 1 w 15"/>
                  <a:gd name="T3" fmla="*/ 14 h 20"/>
                  <a:gd name="T4" fmla="*/ 3 w 15"/>
                  <a:gd name="T5" fmla="*/ 5 h 20"/>
                  <a:gd name="T6" fmla="*/ 11 w 15"/>
                  <a:gd name="T7" fmla="*/ 0 h 20"/>
                  <a:gd name="T8" fmla="*/ 14 w 15"/>
                  <a:gd name="T9" fmla="*/ 6 h 20"/>
                  <a:gd name="T10" fmla="*/ 15 w 15"/>
                  <a:gd name="T11" fmla="*/ 10 h 20"/>
                  <a:gd name="T12" fmla="*/ 13 w 15"/>
                  <a:gd name="T13" fmla="*/ 15 h 20"/>
                  <a:gd name="T14" fmla="*/ 9 w 15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20">
                    <a:moveTo>
                      <a:pt x="9" y="20"/>
                    </a:moveTo>
                    <a:cubicBezTo>
                      <a:pt x="4" y="20"/>
                      <a:pt x="1" y="19"/>
                      <a:pt x="1" y="14"/>
                    </a:cubicBezTo>
                    <a:cubicBezTo>
                      <a:pt x="1" y="10"/>
                      <a:pt x="0" y="5"/>
                      <a:pt x="3" y="5"/>
                    </a:cubicBezTo>
                    <a:cubicBezTo>
                      <a:pt x="6" y="5"/>
                      <a:pt x="7" y="0"/>
                      <a:pt x="11" y="0"/>
                    </a:cubicBezTo>
                    <a:cubicBezTo>
                      <a:pt x="14" y="0"/>
                      <a:pt x="14" y="4"/>
                      <a:pt x="14" y="6"/>
                    </a:cubicBezTo>
                    <a:cubicBezTo>
                      <a:pt x="14" y="8"/>
                      <a:pt x="15" y="8"/>
                      <a:pt x="15" y="10"/>
                    </a:cubicBezTo>
                    <a:cubicBezTo>
                      <a:pt x="15" y="12"/>
                      <a:pt x="13" y="13"/>
                      <a:pt x="13" y="15"/>
                    </a:cubicBezTo>
                    <a:cubicBezTo>
                      <a:pt x="13" y="18"/>
                      <a:pt x="13" y="20"/>
                      <a:pt x="9" y="20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31" name="Freeform 14"/>
              <p:cNvSpPr>
                <a:spLocks/>
              </p:cNvSpPr>
              <p:nvPr/>
            </p:nvSpPr>
            <p:spPr bwMode="auto">
              <a:xfrm>
                <a:off x="817" y="2592"/>
                <a:ext cx="38" cy="21"/>
              </a:xfrm>
              <a:custGeom>
                <a:avLst/>
                <a:gdLst>
                  <a:gd name="T0" fmla="*/ 6 w 16"/>
                  <a:gd name="T1" fmla="*/ 7 h 9"/>
                  <a:gd name="T2" fmla="*/ 0 w 16"/>
                  <a:gd name="T3" fmla="*/ 3 h 9"/>
                  <a:gd name="T4" fmla="*/ 6 w 16"/>
                  <a:gd name="T5" fmla="*/ 0 h 9"/>
                  <a:gd name="T6" fmla="*/ 12 w 16"/>
                  <a:gd name="T7" fmla="*/ 1 h 9"/>
                  <a:gd name="T8" fmla="*/ 13 w 16"/>
                  <a:gd name="T9" fmla="*/ 4 h 9"/>
                  <a:gd name="T10" fmla="*/ 6 w 16"/>
                  <a:gd name="T11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" h="9">
                    <a:moveTo>
                      <a:pt x="6" y="7"/>
                    </a:moveTo>
                    <a:cubicBezTo>
                      <a:pt x="3" y="9"/>
                      <a:pt x="0" y="5"/>
                      <a:pt x="0" y="3"/>
                    </a:cubicBezTo>
                    <a:cubicBezTo>
                      <a:pt x="0" y="0"/>
                      <a:pt x="2" y="0"/>
                      <a:pt x="6" y="0"/>
                    </a:cubicBezTo>
                    <a:cubicBezTo>
                      <a:pt x="9" y="0"/>
                      <a:pt x="10" y="1"/>
                      <a:pt x="12" y="1"/>
                    </a:cubicBezTo>
                    <a:cubicBezTo>
                      <a:pt x="14" y="1"/>
                      <a:pt x="16" y="3"/>
                      <a:pt x="13" y="4"/>
                    </a:cubicBezTo>
                    <a:cubicBezTo>
                      <a:pt x="9" y="6"/>
                      <a:pt x="7" y="6"/>
                      <a:pt x="6" y="7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32" name="Freeform 15"/>
              <p:cNvSpPr>
                <a:spLocks/>
              </p:cNvSpPr>
              <p:nvPr/>
            </p:nvSpPr>
            <p:spPr bwMode="auto">
              <a:xfrm>
                <a:off x="540" y="2298"/>
                <a:ext cx="45" cy="24"/>
              </a:xfrm>
              <a:custGeom>
                <a:avLst/>
                <a:gdLst>
                  <a:gd name="T0" fmla="*/ 12 w 19"/>
                  <a:gd name="T1" fmla="*/ 10 h 10"/>
                  <a:gd name="T2" fmla="*/ 3 w 19"/>
                  <a:gd name="T3" fmla="*/ 8 h 10"/>
                  <a:gd name="T4" fmla="*/ 3 w 19"/>
                  <a:gd name="T5" fmla="*/ 3 h 10"/>
                  <a:gd name="T6" fmla="*/ 9 w 19"/>
                  <a:gd name="T7" fmla="*/ 4 h 10"/>
                  <a:gd name="T8" fmla="*/ 16 w 19"/>
                  <a:gd name="T9" fmla="*/ 0 h 10"/>
                  <a:gd name="T10" fmla="*/ 18 w 19"/>
                  <a:gd name="T11" fmla="*/ 6 h 10"/>
                  <a:gd name="T12" fmla="*/ 12 w 19"/>
                  <a:gd name="T1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0">
                    <a:moveTo>
                      <a:pt x="12" y="10"/>
                    </a:moveTo>
                    <a:cubicBezTo>
                      <a:pt x="6" y="10"/>
                      <a:pt x="5" y="10"/>
                      <a:pt x="3" y="8"/>
                    </a:cubicBezTo>
                    <a:cubicBezTo>
                      <a:pt x="0" y="6"/>
                      <a:pt x="0" y="3"/>
                      <a:pt x="3" y="3"/>
                    </a:cubicBezTo>
                    <a:cubicBezTo>
                      <a:pt x="5" y="3"/>
                      <a:pt x="6" y="4"/>
                      <a:pt x="9" y="4"/>
                    </a:cubicBezTo>
                    <a:cubicBezTo>
                      <a:pt x="12" y="4"/>
                      <a:pt x="12" y="0"/>
                      <a:pt x="16" y="0"/>
                    </a:cubicBezTo>
                    <a:cubicBezTo>
                      <a:pt x="19" y="0"/>
                      <a:pt x="19" y="3"/>
                      <a:pt x="18" y="6"/>
                    </a:cubicBezTo>
                    <a:cubicBezTo>
                      <a:pt x="17" y="8"/>
                      <a:pt x="15" y="10"/>
                      <a:pt x="12" y="10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33" name="Freeform 16"/>
              <p:cNvSpPr>
                <a:spLocks/>
              </p:cNvSpPr>
              <p:nvPr/>
            </p:nvSpPr>
            <p:spPr bwMode="auto">
              <a:xfrm>
                <a:off x="609" y="2234"/>
                <a:ext cx="26" cy="19"/>
              </a:xfrm>
              <a:custGeom>
                <a:avLst/>
                <a:gdLst>
                  <a:gd name="T0" fmla="*/ 4 w 11"/>
                  <a:gd name="T1" fmla="*/ 8 h 8"/>
                  <a:gd name="T2" fmla="*/ 1 w 11"/>
                  <a:gd name="T3" fmla="*/ 8 h 8"/>
                  <a:gd name="T4" fmla="*/ 4 w 11"/>
                  <a:gd name="T5" fmla="*/ 1 h 8"/>
                  <a:gd name="T6" fmla="*/ 9 w 11"/>
                  <a:gd name="T7" fmla="*/ 5 h 8"/>
                  <a:gd name="T8" fmla="*/ 4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4" y="8"/>
                    </a:moveTo>
                    <a:cubicBezTo>
                      <a:pt x="1" y="8"/>
                      <a:pt x="1" y="8"/>
                      <a:pt x="1" y="8"/>
                    </a:cubicBezTo>
                    <a:cubicBezTo>
                      <a:pt x="1" y="8"/>
                      <a:pt x="0" y="2"/>
                      <a:pt x="4" y="1"/>
                    </a:cubicBezTo>
                    <a:cubicBezTo>
                      <a:pt x="8" y="0"/>
                      <a:pt x="11" y="2"/>
                      <a:pt x="9" y="5"/>
                    </a:cubicBezTo>
                    <a:cubicBezTo>
                      <a:pt x="8" y="7"/>
                      <a:pt x="7" y="8"/>
                      <a:pt x="4" y="8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34" name="Freeform 17"/>
              <p:cNvSpPr>
                <a:spLocks/>
              </p:cNvSpPr>
              <p:nvPr/>
            </p:nvSpPr>
            <p:spPr bwMode="auto">
              <a:xfrm>
                <a:off x="549" y="1971"/>
                <a:ext cx="171" cy="126"/>
              </a:xfrm>
              <a:custGeom>
                <a:avLst/>
                <a:gdLst>
                  <a:gd name="T0" fmla="*/ 63 w 72"/>
                  <a:gd name="T1" fmla="*/ 53 h 53"/>
                  <a:gd name="T2" fmla="*/ 56 w 72"/>
                  <a:gd name="T3" fmla="*/ 48 h 53"/>
                  <a:gd name="T4" fmla="*/ 47 w 72"/>
                  <a:gd name="T5" fmla="*/ 41 h 53"/>
                  <a:gd name="T6" fmla="*/ 42 w 72"/>
                  <a:gd name="T7" fmla="*/ 34 h 53"/>
                  <a:gd name="T8" fmla="*/ 45 w 72"/>
                  <a:gd name="T9" fmla="*/ 26 h 53"/>
                  <a:gd name="T10" fmla="*/ 40 w 72"/>
                  <a:gd name="T11" fmla="*/ 21 h 53"/>
                  <a:gd name="T12" fmla="*/ 28 w 72"/>
                  <a:gd name="T13" fmla="*/ 22 h 53"/>
                  <a:gd name="T14" fmla="*/ 20 w 72"/>
                  <a:gd name="T15" fmla="*/ 22 h 53"/>
                  <a:gd name="T16" fmla="*/ 16 w 72"/>
                  <a:gd name="T17" fmla="*/ 23 h 53"/>
                  <a:gd name="T18" fmla="*/ 5 w 72"/>
                  <a:gd name="T19" fmla="*/ 18 h 53"/>
                  <a:gd name="T20" fmla="*/ 0 w 72"/>
                  <a:gd name="T21" fmla="*/ 16 h 53"/>
                  <a:gd name="T22" fmla="*/ 7 w 72"/>
                  <a:gd name="T23" fmla="*/ 13 h 53"/>
                  <a:gd name="T24" fmla="*/ 15 w 72"/>
                  <a:gd name="T25" fmla="*/ 7 h 53"/>
                  <a:gd name="T26" fmla="*/ 20 w 72"/>
                  <a:gd name="T27" fmla="*/ 3 h 53"/>
                  <a:gd name="T28" fmla="*/ 27 w 72"/>
                  <a:gd name="T29" fmla="*/ 6 h 53"/>
                  <a:gd name="T30" fmla="*/ 34 w 72"/>
                  <a:gd name="T31" fmla="*/ 8 h 53"/>
                  <a:gd name="T32" fmla="*/ 38 w 72"/>
                  <a:gd name="T33" fmla="*/ 4 h 53"/>
                  <a:gd name="T34" fmla="*/ 43 w 72"/>
                  <a:gd name="T35" fmla="*/ 0 h 53"/>
                  <a:gd name="T36" fmla="*/ 53 w 72"/>
                  <a:gd name="T37" fmla="*/ 4 h 53"/>
                  <a:gd name="T38" fmla="*/ 62 w 72"/>
                  <a:gd name="T39" fmla="*/ 0 h 53"/>
                  <a:gd name="T40" fmla="*/ 66 w 72"/>
                  <a:gd name="T41" fmla="*/ 5 h 53"/>
                  <a:gd name="T42" fmla="*/ 70 w 72"/>
                  <a:gd name="T43" fmla="*/ 10 h 53"/>
                  <a:gd name="T44" fmla="*/ 66 w 72"/>
                  <a:gd name="T45" fmla="*/ 17 h 53"/>
                  <a:gd name="T46" fmla="*/ 65 w 72"/>
                  <a:gd name="T47" fmla="*/ 24 h 53"/>
                  <a:gd name="T48" fmla="*/ 65 w 72"/>
                  <a:gd name="T49" fmla="*/ 27 h 53"/>
                  <a:gd name="T50" fmla="*/ 69 w 72"/>
                  <a:gd name="T51" fmla="*/ 24 h 53"/>
                  <a:gd name="T52" fmla="*/ 72 w 72"/>
                  <a:gd name="T53" fmla="*/ 28 h 53"/>
                  <a:gd name="T54" fmla="*/ 70 w 72"/>
                  <a:gd name="T55" fmla="*/ 34 h 53"/>
                  <a:gd name="T56" fmla="*/ 68 w 72"/>
                  <a:gd name="T57" fmla="*/ 46 h 53"/>
                  <a:gd name="T58" fmla="*/ 63 w 72"/>
                  <a:gd name="T59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72" h="53">
                    <a:moveTo>
                      <a:pt x="63" y="53"/>
                    </a:moveTo>
                    <a:cubicBezTo>
                      <a:pt x="59" y="53"/>
                      <a:pt x="56" y="51"/>
                      <a:pt x="56" y="48"/>
                    </a:cubicBezTo>
                    <a:cubicBezTo>
                      <a:pt x="56" y="45"/>
                      <a:pt x="50" y="41"/>
                      <a:pt x="47" y="41"/>
                    </a:cubicBezTo>
                    <a:cubicBezTo>
                      <a:pt x="44" y="41"/>
                      <a:pt x="42" y="37"/>
                      <a:pt x="42" y="34"/>
                    </a:cubicBezTo>
                    <a:cubicBezTo>
                      <a:pt x="42" y="31"/>
                      <a:pt x="45" y="30"/>
                      <a:pt x="45" y="26"/>
                    </a:cubicBezTo>
                    <a:cubicBezTo>
                      <a:pt x="45" y="22"/>
                      <a:pt x="42" y="21"/>
                      <a:pt x="40" y="21"/>
                    </a:cubicBezTo>
                    <a:cubicBezTo>
                      <a:pt x="37" y="21"/>
                      <a:pt x="34" y="22"/>
                      <a:pt x="28" y="22"/>
                    </a:cubicBezTo>
                    <a:cubicBezTo>
                      <a:pt x="20" y="22"/>
                      <a:pt x="20" y="22"/>
                      <a:pt x="20" y="22"/>
                    </a:cubicBezTo>
                    <a:cubicBezTo>
                      <a:pt x="18" y="22"/>
                      <a:pt x="17" y="23"/>
                      <a:pt x="16" y="23"/>
                    </a:cubicBezTo>
                    <a:cubicBezTo>
                      <a:pt x="14" y="23"/>
                      <a:pt x="9" y="18"/>
                      <a:pt x="5" y="18"/>
                    </a:cubicBezTo>
                    <a:cubicBezTo>
                      <a:pt x="1" y="18"/>
                      <a:pt x="0" y="17"/>
                      <a:pt x="0" y="16"/>
                    </a:cubicBezTo>
                    <a:cubicBezTo>
                      <a:pt x="0" y="14"/>
                      <a:pt x="3" y="13"/>
                      <a:pt x="7" y="13"/>
                    </a:cubicBezTo>
                    <a:cubicBezTo>
                      <a:pt x="12" y="13"/>
                      <a:pt x="15" y="10"/>
                      <a:pt x="15" y="7"/>
                    </a:cubicBezTo>
                    <a:cubicBezTo>
                      <a:pt x="15" y="4"/>
                      <a:pt x="17" y="3"/>
                      <a:pt x="20" y="3"/>
                    </a:cubicBezTo>
                    <a:cubicBezTo>
                      <a:pt x="24" y="3"/>
                      <a:pt x="24" y="6"/>
                      <a:pt x="27" y="6"/>
                    </a:cubicBezTo>
                    <a:cubicBezTo>
                      <a:pt x="30" y="6"/>
                      <a:pt x="32" y="8"/>
                      <a:pt x="34" y="8"/>
                    </a:cubicBezTo>
                    <a:cubicBezTo>
                      <a:pt x="35" y="8"/>
                      <a:pt x="38" y="7"/>
                      <a:pt x="38" y="4"/>
                    </a:cubicBezTo>
                    <a:cubicBezTo>
                      <a:pt x="38" y="2"/>
                      <a:pt x="40" y="0"/>
                      <a:pt x="43" y="0"/>
                    </a:cubicBezTo>
                    <a:cubicBezTo>
                      <a:pt x="47" y="0"/>
                      <a:pt x="49" y="4"/>
                      <a:pt x="53" y="4"/>
                    </a:cubicBezTo>
                    <a:cubicBezTo>
                      <a:pt x="57" y="4"/>
                      <a:pt x="59" y="0"/>
                      <a:pt x="62" y="0"/>
                    </a:cubicBezTo>
                    <a:cubicBezTo>
                      <a:pt x="65" y="0"/>
                      <a:pt x="65" y="4"/>
                      <a:pt x="66" y="5"/>
                    </a:cubicBezTo>
                    <a:cubicBezTo>
                      <a:pt x="67" y="6"/>
                      <a:pt x="70" y="8"/>
                      <a:pt x="70" y="10"/>
                    </a:cubicBezTo>
                    <a:cubicBezTo>
                      <a:pt x="70" y="13"/>
                      <a:pt x="66" y="14"/>
                      <a:pt x="66" y="17"/>
                    </a:cubicBezTo>
                    <a:cubicBezTo>
                      <a:pt x="66" y="20"/>
                      <a:pt x="66" y="22"/>
                      <a:pt x="65" y="24"/>
                    </a:cubicBezTo>
                    <a:cubicBezTo>
                      <a:pt x="64" y="25"/>
                      <a:pt x="64" y="27"/>
                      <a:pt x="65" y="27"/>
                    </a:cubicBezTo>
                    <a:cubicBezTo>
                      <a:pt x="67" y="27"/>
                      <a:pt x="67" y="24"/>
                      <a:pt x="69" y="24"/>
                    </a:cubicBezTo>
                    <a:cubicBezTo>
                      <a:pt x="71" y="24"/>
                      <a:pt x="72" y="26"/>
                      <a:pt x="72" y="28"/>
                    </a:cubicBezTo>
                    <a:cubicBezTo>
                      <a:pt x="72" y="30"/>
                      <a:pt x="70" y="30"/>
                      <a:pt x="70" y="34"/>
                    </a:cubicBezTo>
                    <a:cubicBezTo>
                      <a:pt x="70" y="40"/>
                      <a:pt x="68" y="42"/>
                      <a:pt x="68" y="46"/>
                    </a:cubicBezTo>
                    <a:cubicBezTo>
                      <a:pt x="68" y="50"/>
                      <a:pt x="67" y="53"/>
                      <a:pt x="63" y="53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35" name="Freeform 18"/>
              <p:cNvSpPr>
                <a:spLocks/>
              </p:cNvSpPr>
              <p:nvPr/>
            </p:nvSpPr>
            <p:spPr bwMode="auto">
              <a:xfrm>
                <a:off x="1412" y="1133"/>
                <a:ext cx="38" cy="52"/>
              </a:xfrm>
              <a:custGeom>
                <a:avLst/>
                <a:gdLst>
                  <a:gd name="T0" fmla="*/ 9 w 16"/>
                  <a:gd name="T1" fmla="*/ 22 h 22"/>
                  <a:gd name="T2" fmla="*/ 4 w 16"/>
                  <a:gd name="T3" fmla="*/ 19 h 22"/>
                  <a:gd name="T4" fmla="*/ 0 w 16"/>
                  <a:gd name="T5" fmla="*/ 15 h 22"/>
                  <a:gd name="T6" fmla="*/ 3 w 16"/>
                  <a:gd name="T7" fmla="*/ 8 h 22"/>
                  <a:gd name="T8" fmla="*/ 5 w 16"/>
                  <a:gd name="T9" fmla="*/ 0 h 22"/>
                  <a:gd name="T10" fmla="*/ 10 w 16"/>
                  <a:gd name="T11" fmla="*/ 5 h 22"/>
                  <a:gd name="T12" fmla="*/ 14 w 16"/>
                  <a:gd name="T13" fmla="*/ 11 h 22"/>
                  <a:gd name="T14" fmla="*/ 16 w 16"/>
                  <a:gd name="T15" fmla="*/ 17 h 22"/>
                  <a:gd name="T16" fmla="*/ 9 w 16"/>
                  <a:gd name="T17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" h="22">
                    <a:moveTo>
                      <a:pt x="9" y="22"/>
                    </a:moveTo>
                    <a:cubicBezTo>
                      <a:pt x="6" y="22"/>
                      <a:pt x="7" y="19"/>
                      <a:pt x="4" y="19"/>
                    </a:cubicBezTo>
                    <a:cubicBezTo>
                      <a:pt x="0" y="19"/>
                      <a:pt x="0" y="17"/>
                      <a:pt x="0" y="15"/>
                    </a:cubicBezTo>
                    <a:cubicBezTo>
                      <a:pt x="0" y="14"/>
                      <a:pt x="3" y="11"/>
                      <a:pt x="3" y="8"/>
                    </a:cubicBezTo>
                    <a:cubicBezTo>
                      <a:pt x="3" y="5"/>
                      <a:pt x="2" y="0"/>
                      <a:pt x="5" y="0"/>
                    </a:cubicBezTo>
                    <a:cubicBezTo>
                      <a:pt x="7" y="0"/>
                      <a:pt x="8" y="3"/>
                      <a:pt x="10" y="5"/>
                    </a:cubicBezTo>
                    <a:cubicBezTo>
                      <a:pt x="13" y="6"/>
                      <a:pt x="14" y="8"/>
                      <a:pt x="14" y="11"/>
                    </a:cubicBezTo>
                    <a:cubicBezTo>
                      <a:pt x="14" y="14"/>
                      <a:pt x="16" y="14"/>
                      <a:pt x="16" y="17"/>
                    </a:cubicBezTo>
                    <a:cubicBezTo>
                      <a:pt x="16" y="19"/>
                      <a:pt x="12" y="22"/>
                      <a:pt x="9" y="22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36" name="Freeform 19"/>
              <p:cNvSpPr>
                <a:spLocks/>
              </p:cNvSpPr>
              <p:nvPr/>
            </p:nvSpPr>
            <p:spPr bwMode="auto">
              <a:xfrm>
                <a:off x="1108" y="1604"/>
                <a:ext cx="496" cy="476"/>
              </a:xfrm>
              <a:custGeom>
                <a:avLst/>
                <a:gdLst>
                  <a:gd name="T0" fmla="*/ 134 w 209"/>
                  <a:gd name="T1" fmla="*/ 192 h 201"/>
                  <a:gd name="T2" fmla="*/ 115 w 209"/>
                  <a:gd name="T3" fmla="*/ 182 h 201"/>
                  <a:gd name="T4" fmla="*/ 116 w 209"/>
                  <a:gd name="T5" fmla="*/ 174 h 201"/>
                  <a:gd name="T6" fmla="*/ 97 w 209"/>
                  <a:gd name="T7" fmla="*/ 165 h 201"/>
                  <a:gd name="T8" fmla="*/ 86 w 209"/>
                  <a:gd name="T9" fmla="*/ 173 h 201"/>
                  <a:gd name="T10" fmla="*/ 65 w 209"/>
                  <a:gd name="T11" fmla="*/ 182 h 201"/>
                  <a:gd name="T12" fmla="*/ 58 w 209"/>
                  <a:gd name="T13" fmla="*/ 177 h 201"/>
                  <a:gd name="T14" fmla="*/ 48 w 209"/>
                  <a:gd name="T15" fmla="*/ 166 h 201"/>
                  <a:gd name="T16" fmla="*/ 37 w 209"/>
                  <a:gd name="T17" fmla="*/ 162 h 201"/>
                  <a:gd name="T18" fmla="*/ 34 w 209"/>
                  <a:gd name="T19" fmla="*/ 134 h 201"/>
                  <a:gd name="T20" fmla="*/ 39 w 209"/>
                  <a:gd name="T21" fmla="*/ 118 h 201"/>
                  <a:gd name="T22" fmla="*/ 29 w 209"/>
                  <a:gd name="T23" fmla="*/ 117 h 201"/>
                  <a:gd name="T24" fmla="*/ 16 w 209"/>
                  <a:gd name="T25" fmla="*/ 119 h 201"/>
                  <a:gd name="T26" fmla="*/ 2 w 209"/>
                  <a:gd name="T27" fmla="*/ 120 h 201"/>
                  <a:gd name="T28" fmla="*/ 3 w 209"/>
                  <a:gd name="T29" fmla="*/ 111 h 201"/>
                  <a:gd name="T30" fmla="*/ 7 w 209"/>
                  <a:gd name="T31" fmla="*/ 98 h 201"/>
                  <a:gd name="T32" fmla="*/ 18 w 209"/>
                  <a:gd name="T33" fmla="*/ 72 h 201"/>
                  <a:gd name="T34" fmla="*/ 38 w 209"/>
                  <a:gd name="T35" fmla="*/ 62 h 201"/>
                  <a:gd name="T36" fmla="*/ 61 w 209"/>
                  <a:gd name="T37" fmla="*/ 72 h 201"/>
                  <a:gd name="T38" fmla="*/ 75 w 209"/>
                  <a:gd name="T39" fmla="*/ 73 h 201"/>
                  <a:gd name="T40" fmla="*/ 90 w 209"/>
                  <a:gd name="T41" fmla="*/ 72 h 201"/>
                  <a:gd name="T42" fmla="*/ 109 w 209"/>
                  <a:gd name="T43" fmla="*/ 81 h 201"/>
                  <a:gd name="T44" fmla="*/ 123 w 209"/>
                  <a:gd name="T45" fmla="*/ 94 h 201"/>
                  <a:gd name="T46" fmla="*/ 131 w 209"/>
                  <a:gd name="T47" fmla="*/ 93 h 201"/>
                  <a:gd name="T48" fmla="*/ 132 w 209"/>
                  <a:gd name="T49" fmla="*/ 92 h 201"/>
                  <a:gd name="T50" fmla="*/ 121 w 209"/>
                  <a:gd name="T51" fmla="*/ 82 h 201"/>
                  <a:gd name="T52" fmla="*/ 120 w 209"/>
                  <a:gd name="T53" fmla="*/ 68 h 201"/>
                  <a:gd name="T54" fmla="*/ 130 w 209"/>
                  <a:gd name="T55" fmla="*/ 70 h 201"/>
                  <a:gd name="T56" fmla="*/ 140 w 209"/>
                  <a:gd name="T57" fmla="*/ 66 h 201"/>
                  <a:gd name="T58" fmla="*/ 123 w 209"/>
                  <a:gd name="T59" fmla="*/ 54 h 201"/>
                  <a:gd name="T60" fmla="*/ 129 w 209"/>
                  <a:gd name="T61" fmla="*/ 52 h 201"/>
                  <a:gd name="T62" fmla="*/ 137 w 209"/>
                  <a:gd name="T63" fmla="*/ 56 h 201"/>
                  <a:gd name="T64" fmla="*/ 137 w 209"/>
                  <a:gd name="T65" fmla="*/ 54 h 201"/>
                  <a:gd name="T66" fmla="*/ 126 w 209"/>
                  <a:gd name="T67" fmla="*/ 49 h 201"/>
                  <a:gd name="T68" fmla="*/ 112 w 209"/>
                  <a:gd name="T69" fmla="*/ 53 h 201"/>
                  <a:gd name="T70" fmla="*/ 104 w 209"/>
                  <a:gd name="T71" fmla="*/ 48 h 201"/>
                  <a:gd name="T72" fmla="*/ 108 w 209"/>
                  <a:gd name="T73" fmla="*/ 36 h 201"/>
                  <a:gd name="T74" fmla="*/ 117 w 209"/>
                  <a:gd name="T75" fmla="*/ 31 h 201"/>
                  <a:gd name="T76" fmla="*/ 130 w 209"/>
                  <a:gd name="T77" fmla="*/ 25 h 201"/>
                  <a:gd name="T78" fmla="*/ 136 w 209"/>
                  <a:gd name="T79" fmla="*/ 20 h 201"/>
                  <a:gd name="T80" fmla="*/ 141 w 209"/>
                  <a:gd name="T81" fmla="*/ 7 h 201"/>
                  <a:gd name="T82" fmla="*/ 153 w 209"/>
                  <a:gd name="T83" fmla="*/ 5 h 201"/>
                  <a:gd name="T84" fmla="*/ 162 w 209"/>
                  <a:gd name="T85" fmla="*/ 2 h 201"/>
                  <a:gd name="T86" fmla="*/ 160 w 209"/>
                  <a:gd name="T87" fmla="*/ 13 h 201"/>
                  <a:gd name="T88" fmla="*/ 158 w 209"/>
                  <a:gd name="T89" fmla="*/ 21 h 201"/>
                  <a:gd name="T90" fmla="*/ 167 w 209"/>
                  <a:gd name="T91" fmla="*/ 17 h 201"/>
                  <a:gd name="T92" fmla="*/ 168 w 209"/>
                  <a:gd name="T93" fmla="*/ 29 h 201"/>
                  <a:gd name="T94" fmla="*/ 167 w 209"/>
                  <a:gd name="T95" fmla="*/ 56 h 201"/>
                  <a:gd name="T96" fmla="*/ 171 w 209"/>
                  <a:gd name="T97" fmla="*/ 100 h 201"/>
                  <a:gd name="T98" fmla="*/ 190 w 209"/>
                  <a:gd name="T99" fmla="*/ 117 h 201"/>
                  <a:gd name="T100" fmla="*/ 207 w 209"/>
                  <a:gd name="T101" fmla="*/ 130 h 201"/>
                  <a:gd name="T102" fmla="*/ 199 w 209"/>
                  <a:gd name="T103" fmla="*/ 143 h 201"/>
                  <a:gd name="T104" fmla="*/ 172 w 209"/>
                  <a:gd name="T105" fmla="*/ 175 h 201"/>
                  <a:gd name="T106" fmla="*/ 170 w 209"/>
                  <a:gd name="T107" fmla="*/ 187 h 201"/>
                  <a:gd name="T108" fmla="*/ 149 w 209"/>
                  <a:gd name="T109" fmla="*/ 201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09" h="201">
                    <a:moveTo>
                      <a:pt x="149" y="201"/>
                    </a:moveTo>
                    <a:cubicBezTo>
                      <a:pt x="146" y="201"/>
                      <a:pt x="143" y="198"/>
                      <a:pt x="140" y="196"/>
                    </a:cubicBezTo>
                    <a:cubicBezTo>
                      <a:pt x="138" y="194"/>
                      <a:pt x="136" y="192"/>
                      <a:pt x="134" y="192"/>
                    </a:cubicBezTo>
                    <a:cubicBezTo>
                      <a:pt x="132" y="192"/>
                      <a:pt x="130" y="190"/>
                      <a:pt x="127" y="188"/>
                    </a:cubicBezTo>
                    <a:cubicBezTo>
                      <a:pt x="124" y="185"/>
                      <a:pt x="120" y="182"/>
                      <a:pt x="116" y="182"/>
                    </a:cubicBezTo>
                    <a:cubicBezTo>
                      <a:pt x="115" y="182"/>
                      <a:pt x="115" y="182"/>
                      <a:pt x="115" y="182"/>
                    </a:cubicBezTo>
                    <a:cubicBezTo>
                      <a:pt x="115" y="181"/>
                      <a:pt x="115" y="181"/>
                      <a:pt x="115" y="181"/>
                    </a:cubicBezTo>
                    <a:cubicBezTo>
                      <a:pt x="115" y="177"/>
                      <a:pt x="115" y="177"/>
                      <a:pt x="115" y="177"/>
                    </a:cubicBezTo>
                    <a:cubicBezTo>
                      <a:pt x="115" y="176"/>
                      <a:pt x="115" y="175"/>
                      <a:pt x="116" y="174"/>
                    </a:cubicBezTo>
                    <a:cubicBezTo>
                      <a:pt x="116" y="173"/>
                      <a:pt x="116" y="172"/>
                      <a:pt x="116" y="171"/>
                    </a:cubicBezTo>
                    <a:cubicBezTo>
                      <a:pt x="116" y="170"/>
                      <a:pt x="111" y="160"/>
                      <a:pt x="103" y="160"/>
                    </a:cubicBezTo>
                    <a:cubicBezTo>
                      <a:pt x="99" y="160"/>
                      <a:pt x="98" y="162"/>
                      <a:pt x="97" y="165"/>
                    </a:cubicBezTo>
                    <a:cubicBezTo>
                      <a:pt x="96" y="166"/>
                      <a:pt x="95" y="168"/>
                      <a:pt x="93" y="168"/>
                    </a:cubicBezTo>
                    <a:cubicBezTo>
                      <a:pt x="92" y="168"/>
                      <a:pt x="91" y="168"/>
                      <a:pt x="91" y="169"/>
                    </a:cubicBezTo>
                    <a:cubicBezTo>
                      <a:pt x="90" y="170"/>
                      <a:pt x="89" y="172"/>
                      <a:pt x="86" y="173"/>
                    </a:cubicBezTo>
                    <a:cubicBezTo>
                      <a:pt x="84" y="173"/>
                      <a:pt x="82" y="174"/>
                      <a:pt x="81" y="176"/>
                    </a:cubicBezTo>
                    <a:cubicBezTo>
                      <a:pt x="78" y="178"/>
                      <a:pt x="75" y="181"/>
                      <a:pt x="67" y="181"/>
                    </a:cubicBezTo>
                    <a:cubicBezTo>
                      <a:pt x="67" y="181"/>
                      <a:pt x="66" y="181"/>
                      <a:pt x="65" y="182"/>
                    </a:cubicBezTo>
                    <a:cubicBezTo>
                      <a:pt x="65" y="182"/>
                      <a:pt x="64" y="182"/>
                      <a:pt x="63" y="182"/>
                    </a:cubicBezTo>
                    <a:cubicBezTo>
                      <a:pt x="61" y="182"/>
                      <a:pt x="60" y="181"/>
                      <a:pt x="60" y="180"/>
                    </a:cubicBezTo>
                    <a:cubicBezTo>
                      <a:pt x="60" y="179"/>
                      <a:pt x="59" y="178"/>
                      <a:pt x="58" y="177"/>
                    </a:cubicBezTo>
                    <a:cubicBezTo>
                      <a:pt x="55" y="175"/>
                      <a:pt x="53" y="172"/>
                      <a:pt x="53" y="169"/>
                    </a:cubicBezTo>
                    <a:cubicBezTo>
                      <a:pt x="53" y="166"/>
                      <a:pt x="52" y="165"/>
                      <a:pt x="51" y="165"/>
                    </a:cubicBezTo>
                    <a:cubicBezTo>
                      <a:pt x="50" y="165"/>
                      <a:pt x="49" y="166"/>
                      <a:pt x="48" y="166"/>
                    </a:cubicBezTo>
                    <a:cubicBezTo>
                      <a:pt x="48" y="167"/>
                      <a:pt x="47" y="167"/>
                      <a:pt x="45" y="167"/>
                    </a:cubicBezTo>
                    <a:cubicBezTo>
                      <a:pt x="43" y="167"/>
                      <a:pt x="43" y="166"/>
                      <a:pt x="42" y="165"/>
                    </a:cubicBezTo>
                    <a:cubicBezTo>
                      <a:pt x="41" y="163"/>
                      <a:pt x="40" y="162"/>
                      <a:pt x="37" y="162"/>
                    </a:cubicBezTo>
                    <a:cubicBezTo>
                      <a:pt x="30" y="162"/>
                      <a:pt x="24" y="159"/>
                      <a:pt x="24" y="152"/>
                    </a:cubicBezTo>
                    <a:cubicBezTo>
                      <a:pt x="24" y="146"/>
                      <a:pt x="28" y="141"/>
                      <a:pt x="31" y="138"/>
                    </a:cubicBezTo>
                    <a:cubicBezTo>
                      <a:pt x="32" y="136"/>
                      <a:pt x="34" y="135"/>
                      <a:pt x="34" y="134"/>
                    </a:cubicBezTo>
                    <a:cubicBezTo>
                      <a:pt x="34" y="131"/>
                      <a:pt x="36" y="128"/>
                      <a:pt x="39" y="128"/>
                    </a:cubicBezTo>
                    <a:cubicBezTo>
                      <a:pt x="40" y="128"/>
                      <a:pt x="42" y="126"/>
                      <a:pt x="42" y="122"/>
                    </a:cubicBezTo>
                    <a:cubicBezTo>
                      <a:pt x="42" y="118"/>
                      <a:pt x="41" y="118"/>
                      <a:pt x="39" y="118"/>
                    </a:cubicBezTo>
                    <a:cubicBezTo>
                      <a:pt x="38" y="118"/>
                      <a:pt x="37" y="118"/>
                      <a:pt x="37" y="118"/>
                    </a:cubicBezTo>
                    <a:cubicBezTo>
                      <a:pt x="36" y="119"/>
                      <a:pt x="35" y="119"/>
                      <a:pt x="33" y="119"/>
                    </a:cubicBezTo>
                    <a:cubicBezTo>
                      <a:pt x="31" y="119"/>
                      <a:pt x="30" y="118"/>
                      <a:pt x="29" y="117"/>
                    </a:cubicBezTo>
                    <a:cubicBezTo>
                      <a:pt x="28" y="116"/>
                      <a:pt x="27" y="115"/>
                      <a:pt x="25" y="115"/>
                    </a:cubicBezTo>
                    <a:cubicBezTo>
                      <a:pt x="23" y="115"/>
                      <a:pt x="22" y="116"/>
                      <a:pt x="21" y="117"/>
                    </a:cubicBezTo>
                    <a:cubicBezTo>
                      <a:pt x="20" y="118"/>
                      <a:pt x="18" y="119"/>
                      <a:pt x="16" y="119"/>
                    </a:cubicBezTo>
                    <a:cubicBezTo>
                      <a:pt x="13" y="119"/>
                      <a:pt x="11" y="120"/>
                      <a:pt x="9" y="120"/>
                    </a:cubicBezTo>
                    <a:cubicBezTo>
                      <a:pt x="7" y="121"/>
                      <a:pt x="5" y="121"/>
                      <a:pt x="4" y="121"/>
                    </a:cubicBezTo>
                    <a:cubicBezTo>
                      <a:pt x="3" y="121"/>
                      <a:pt x="2" y="121"/>
                      <a:pt x="2" y="120"/>
                    </a:cubicBezTo>
                    <a:cubicBezTo>
                      <a:pt x="0" y="118"/>
                      <a:pt x="2" y="113"/>
                      <a:pt x="2" y="112"/>
                    </a:cubicBezTo>
                    <a:cubicBezTo>
                      <a:pt x="2" y="111"/>
                      <a:pt x="2" y="111"/>
                      <a:pt x="2" y="111"/>
                    </a:cubicBezTo>
                    <a:cubicBezTo>
                      <a:pt x="3" y="111"/>
                      <a:pt x="3" y="111"/>
                      <a:pt x="3" y="111"/>
                    </a:cubicBezTo>
                    <a:cubicBezTo>
                      <a:pt x="3" y="111"/>
                      <a:pt x="4" y="108"/>
                      <a:pt x="4" y="107"/>
                    </a:cubicBezTo>
                    <a:cubicBezTo>
                      <a:pt x="5" y="105"/>
                      <a:pt x="6" y="103"/>
                      <a:pt x="6" y="101"/>
                    </a:cubicBezTo>
                    <a:cubicBezTo>
                      <a:pt x="7" y="100"/>
                      <a:pt x="7" y="99"/>
                      <a:pt x="7" y="98"/>
                    </a:cubicBezTo>
                    <a:cubicBezTo>
                      <a:pt x="7" y="96"/>
                      <a:pt x="8" y="93"/>
                      <a:pt x="9" y="91"/>
                    </a:cubicBezTo>
                    <a:cubicBezTo>
                      <a:pt x="12" y="88"/>
                      <a:pt x="16" y="81"/>
                      <a:pt x="16" y="78"/>
                    </a:cubicBezTo>
                    <a:cubicBezTo>
                      <a:pt x="16" y="76"/>
                      <a:pt x="17" y="74"/>
                      <a:pt x="18" y="72"/>
                    </a:cubicBezTo>
                    <a:cubicBezTo>
                      <a:pt x="18" y="71"/>
                      <a:pt x="19" y="69"/>
                      <a:pt x="19" y="68"/>
                    </a:cubicBezTo>
                    <a:cubicBezTo>
                      <a:pt x="20" y="63"/>
                      <a:pt x="23" y="62"/>
                      <a:pt x="29" y="62"/>
                    </a:cubicBezTo>
                    <a:cubicBezTo>
                      <a:pt x="33" y="62"/>
                      <a:pt x="35" y="62"/>
                      <a:pt x="38" y="62"/>
                    </a:cubicBezTo>
                    <a:cubicBezTo>
                      <a:pt x="40" y="63"/>
                      <a:pt x="42" y="63"/>
                      <a:pt x="44" y="63"/>
                    </a:cubicBezTo>
                    <a:cubicBezTo>
                      <a:pt x="48" y="63"/>
                      <a:pt x="51" y="66"/>
                      <a:pt x="54" y="68"/>
                    </a:cubicBezTo>
                    <a:cubicBezTo>
                      <a:pt x="56" y="70"/>
                      <a:pt x="59" y="72"/>
                      <a:pt x="61" y="72"/>
                    </a:cubicBezTo>
                    <a:cubicBezTo>
                      <a:pt x="63" y="72"/>
                      <a:pt x="65" y="73"/>
                      <a:pt x="66" y="74"/>
                    </a:cubicBezTo>
                    <a:cubicBezTo>
                      <a:pt x="67" y="74"/>
                      <a:pt x="68" y="75"/>
                      <a:pt x="70" y="75"/>
                    </a:cubicBezTo>
                    <a:cubicBezTo>
                      <a:pt x="71" y="75"/>
                      <a:pt x="73" y="74"/>
                      <a:pt x="75" y="73"/>
                    </a:cubicBezTo>
                    <a:cubicBezTo>
                      <a:pt x="77" y="71"/>
                      <a:pt x="80" y="69"/>
                      <a:pt x="83" y="69"/>
                    </a:cubicBezTo>
                    <a:cubicBezTo>
                      <a:pt x="85" y="69"/>
                      <a:pt x="86" y="70"/>
                      <a:pt x="86" y="71"/>
                    </a:cubicBezTo>
                    <a:cubicBezTo>
                      <a:pt x="87" y="72"/>
                      <a:pt x="88" y="72"/>
                      <a:pt x="90" y="72"/>
                    </a:cubicBezTo>
                    <a:cubicBezTo>
                      <a:pt x="92" y="72"/>
                      <a:pt x="93" y="72"/>
                      <a:pt x="95" y="71"/>
                    </a:cubicBezTo>
                    <a:cubicBezTo>
                      <a:pt x="96" y="71"/>
                      <a:pt x="97" y="70"/>
                      <a:pt x="100" y="70"/>
                    </a:cubicBezTo>
                    <a:cubicBezTo>
                      <a:pt x="105" y="70"/>
                      <a:pt x="109" y="76"/>
                      <a:pt x="109" y="81"/>
                    </a:cubicBezTo>
                    <a:cubicBezTo>
                      <a:pt x="109" y="83"/>
                      <a:pt x="114" y="86"/>
                      <a:pt x="116" y="88"/>
                    </a:cubicBezTo>
                    <a:cubicBezTo>
                      <a:pt x="120" y="90"/>
                      <a:pt x="121" y="91"/>
                      <a:pt x="121" y="93"/>
                    </a:cubicBezTo>
                    <a:cubicBezTo>
                      <a:pt x="121" y="94"/>
                      <a:pt x="121" y="94"/>
                      <a:pt x="123" y="94"/>
                    </a:cubicBezTo>
                    <a:cubicBezTo>
                      <a:pt x="123" y="94"/>
                      <a:pt x="124" y="94"/>
                      <a:pt x="124" y="93"/>
                    </a:cubicBezTo>
                    <a:cubicBezTo>
                      <a:pt x="125" y="93"/>
                      <a:pt x="126" y="92"/>
                      <a:pt x="128" y="92"/>
                    </a:cubicBezTo>
                    <a:cubicBezTo>
                      <a:pt x="129" y="92"/>
                      <a:pt x="130" y="93"/>
                      <a:pt x="131" y="93"/>
                    </a:cubicBezTo>
                    <a:cubicBezTo>
                      <a:pt x="131" y="94"/>
                      <a:pt x="132" y="94"/>
                      <a:pt x="132" y="94"/>
                    </a:cubicBezTo>
                    <a:cubicBezTo>
                      <a:pt x="133" y="94"/>
                      <a:pt x="133" y="94"/>
                      <a:pt x="133" y="93"/>
                    </a:cubicBezTo>
                    <a:cubicBezTo>
                      <a:pt x="133" y="93"/>
                      <a:pt x="133" y="92"/>
                      <a:pt x="132" y="92"/>
                    </a:cubicBezTo>
                    <a:cubicBezTo>
                      <a:pt x="132" y="92"/>
                      <a:pt x="132" y="92"/>
                      <a:pt x="131" y="91"/>
                    </a:cubicBezTo>
                    <a:cubicBezTo>
                      <a:pt x="128" y="90"/>
                      <a:pt x="124" y="88"/>
                      <a:pt x="122" y="84"/>
                    </a:cubicBezTo>
                    <a:cubicBezTo>
                      <a:pt x="122" y="83"/>
                      <a:pt x="121" y="83"/>
                      <a:pt x="121" y="82"/>
                    </a:cubicBezTo>
                    <a:cubicBezTo>
                      <a:pt x="120" y="79"/>
                      <a:pt x="119" y="79"/>
                      <a:pt x="118" y="79"/>
                    </a:cubicBezTo>
                    <a:cubicBezTo>
                      <a:pt x="114" y="79"/>
                      <a:pt x="113" y="77"/>
                      <a:pt x="113" y="76"/>
                    </a:cubicBezTo>
                    <a:cubicBezTo>
                      <a:pt x="113" y="74"/>
                      <a:pt x="116" y="68"/>
                      <a:pt x="120" y="68"/>
                    </a:cubicBezTo>
                    <a:cubicBezTo>
                      <a:pt x="123" y="68"/>
                      <a:pt x="124" y="69"/>
                      <a:pt x="125" y="70"/>
                    </a:cubicBezTo>
                    <a:cubicBezTo>
                      <a:pt x="126" y="70"/>
                      <a:pt x="126" y="70"/>
                      <a:pt x="127" y="70"/>
                    </a:cubicBezTo>
                    <a:cubicBezTo>
                      <a:pt x="127" y="70"/>
                      <a:pt x="129" y="70"/>
                      <a:pt x="130" y="70"/>
                    </a:cubicBezTo>
                    <a:cubicBezTo>
                      <a:pt x="132" y="69"/>
                      <a:pt x="135" y="68"/>
                      <a:pt x="137" y="68"/>
                    </a:cubicBezTo>
                    <a:cubicBezTo>
                      <a:pt x="140" y="68"/>
                      <a:pt x="140" y="68"/>
                      <a:pt x="141" y="68"/>
                    </a:cubicBezTo>
                    <a:cubicBezTo>
                      <a:pt x="141" y="67"/>
                      <a:pt x="141" y="67"/>
                      <a:pt x="140" y="66"/>
                    </a:cubicBezTo>
                    <a:cubicBezTo>
                      <a:pt x="138" y="65"/>
                      <a:pt x="137" y="64"/>
                      <a:pt x="135" y="64"/>
                    </a:cubicBezTo>
                    <a:cubicBezTo>
                      <a:pt x="133" y="64"/>
                      <a:pt x="131" y="64"/>
                      <a:pt x="129" y="62"/>
                    </a:cubicBezTo>
                    <a:cubicBezTo>
                      <a:pt x="126" y="60"/>
                      <a:pt x="123" y="57"/>
                      <a:pt x="123" y="54"/>
                    </a:cubicBezTo>
                    <a:cubicBezTo>
                      <a:pt x="123" y="53"/>
                      <a:pt x="123" y="52"/>
                      <a:pt x="125" y="51"/>
                    </a:cubicBezTo>
                    <a:cubicBezTo>
                      <a:pt x="125" y="51"/>
                      <a:pt x="126" y="51"/>
                      <a:pt x="126" y="51"/>
                    </a:cubicBezTo>
                    <a:cubicBezTo>
                      <a:pt x="127" y="51"/>
                      <a:pt x="128" y="52"/>
                      <a:pt x="129" y="52"/>
                    </a:cubicBezTo>
                    <a:cubicBezTo>
                      <a:pt x="130" y="53"/>
                      <a:pt x="130" y="54"/>
                      <a:pt x="132" y="54"/>
                    </a:cubicBezTo>
                    <a:cubicBezTo>
                      <a:pt x="134" y="54"/>
                      <a:pt x="134" y="55"/>
                      <a:pt x="135" y="55"/>
                    </a:cubicBezTo>
                    <a:cubicBezTo>
                      <a:pt x="136" y="56"/>
                      <a:pt x="136" y="56"/>
                      <a:pt x="137" y="56"/>
                    </a:cubicBezTo>
                    <a:cubicBezTo>
                      <a:pt x="137" y="56"/>
                      <a:pt x="137" y="56"/>
                      <a:pt x="137" y="56"/>
                    </a:cubicBezTo>
                    <a:cubicBezTo>
                      <a:pt x="137" y="56"/>
                      <a:pt x="137" y="55"/>
                      <a:pt x="137" y="55"/>
                    </a:cubicBezTo>
                    <a:cubicBezTo>
                      <a:pt x="137" y="55"/>
                      <a:pt x="137" y="55"/>
                      <a:pt x="137" y="54"/>
                    </a:cubicBezTo>
                    <a:cubicBezTo>
                      <a:pt x="137" y="53"/>
                      <a:pt x="137" y="53"/>
                      <a:pt x="135" y="53"/>
                    </a:cubicBezTo>
                    <a:cubicBezTo>
                      <a:pt x="134" y="53"/>
                      <a:pt x="133" y="52"/>
                      <a:pt x="132" y="51"/>
                    </a:cubicBezTo>
                    <a:cubicBezTo>
                      <a:pt x="131" y="50"/>
                      <a:pt x="129" y="49"/>
                      <a:pt x="126" y="49"/>
                    </a:cubicBezTo>
                    <a:cubicBezTo>
                      <a:pt x="122" y="49"/>
                      <a:pt x="120" y="49"/>
                      <a:pt x="119" y="50"/>
                    </a:cubicBezTo>
                    <a:cubicBezTo>
                      <a:pt x="118" y="50"/>
                      <a:pt x="117" y="50"/>
                      <a:pt x="116" y="50"/>
                    </a:cubicBezTo>
                    <a:cubicBezTo>
                      <a:pt x="114" y="50"/>
                      <a:pt x="113" y="51"/>
                      <a:pt x="112" y="53"/>
                    </a:cubicBezTo>
                    <a:cubicBezTo>
                      <a:pt x="112" y="54"/>
                      <a:pt x="111" y="55"/>
                      <a:pt x="109" y="55"/>
                    </a:cubicBezTo>
                    <a:cubicBezTo>
                      <a:pt x="107" y="55"/>
                      <a:pt x="106" y="53"/>
                      <a:pt x="106" y="49"/>
                    </a:cubicBezTo>
                    <a:cubicBezTo>
                      <a:pt x="106" y="49"/>
                      <a:pt x="105" y="49"/>
                      <a:pt x="104" y="48"/>
                    </a:cubicBezTo>
                    <a:cubicBezTo>
                      <a:pt x="103" y="47"/>
                      <a:pt x="101" y="45"/>
                      <a:pt x="101" y="42"/>
                    </a:cubicBezTo>
                    <a:cubicBezTo>
                      <a:pt x="101" y="36"/>
                      <a:pt x="106" y="36"/>
                      <a:pt x="108" y="36"/>
                    </a:cubicBezTo>
                    <a:cubicBezTo>
                      <a:pt x="108" y="36"/>
                      <a:pt x="108" y="36"/>
                      <a:pt x="108" y="36"/>
                    </a:cubicBezTo>
                    <a:cubicBezTo>
                      <a:pt x="109" y="36"/>
                      <a:pt x="109" y="36"/>
                      <a:pt x="109" y="36"/>
                    </a:cubicBezTo>
                    <a:cubicBezTo>
                      <a:pt x="111" y="36"/>
                      <a:pt x="112" y="35"/>
                      <a:pt x="112" y="35"/>
                    </a:cubicBezTo>
                    <a:cubicBezTo>
                      <a:pt x="112" y="33"/>
                      <a:pt x="114" y="31"/>
                      <a:pt x="117" y="31"/>
                    </a:cubicBezTo>
                    <a:cubicBezTo>
                      <a:pt x="120" y="31"/>
                      <a:pt x="123" y="29"/>
                      <a:pt x="123" y="27"/>
                    </a:cubicBezTo>
                    <a:cubicBezTo>
                      <a:pt x="123" y="24"/>
                      <a:pt x="125" y="23"/>
                      <a:pt x="127" y="23"/>
                    </a:cubicBezTo>
                    <a:cubicBezTo>
                      <a:pt x="128" y="23"/>
                      <a:pt x="129" y="24"/>
                      <a:pt x="130" y="25"/>
                    </a:cubicBezTo>
                    <a:cubicBezTo>
                      <a:pt x="130" y="25"/>
                      <a:pt x="130" y="25"/>
                      <a:pt x="131" y="25"/>
                    </a:cubicBezTo>
                    <a:cubicBezTo>
                      <a:pt x="131" y="25"/>
                      <a:pt x="132" y="24"/>
                      <a:pt x="133" y="24"/>
                    </a:cubicBezTo>
                    <a:cubicBezTo>
                      <a:pt x="134" y="22"/>
                      <a:pt x="135" y="21"/>
                      <a:pt x="136" y="20"/>
                    </a:cubicBezTo>
                    <a:cubicBezTo>
                      <a:pt x="141" y="17"/>
                      <a:pt x="143" y="14"/>
                      <a:pt x="143" y="12"/>
                    </a:cubicBezTo>
                    <a:cubicBezTo>
                      <a:pt x="143" y="11"/>
                      <a:pt x="143" y="10"/>
                      <a:pt x="142" y="9"/>
                    </a:cubicBezTo>
                    <a:cubicBezTo>
                      <a:pt x="142" y="9"/>
                      <a:pt x="141" y="8"/>
                      <a:pt x="141" y="7"/>
                    </a:cubicBezTo>
                    <a:cubicBezTo>
                      <a:pt x="141" y="3"/>
                      <a:pt x="145" y="0"/>
                      <a:pt x="148" y="0"/>
                    </a:cubicBezTo>
                    <a:cubicBezTo>
                      <a:pt x="152" y="0"/>
                      <a:pt x="153" y="2"/>
                      <a:pt x="153" y="4"/>
                    </a:cubicBezTo>
                    <a:cubicBezTo>
                      <a:pt x="153" y="4"/>
                      <a:pt x="153" y="4"/>
                      <a:pt x="153" y="5"/>
                    </a:cubicBezTo>
                    <a:cubicBezTo>
                      <a:pt x="155" y="5"/>
                      <a:pt x="155" y="4"/>
                      <a:pt x="156" y="3"/>
                    </a:cubicBezTo>
                    <a:cubicBezTo>
                      <a:pt x="158" y="3"/>
                      <a:pt x="159" y="2"/>
                      <a:pt x="162" y="2"/>
                    </a:cubicBezTo>
                    <a:cubicBezTo>
                      <a:pt x="162" y="2"/>
                      <a:pt x="162" y="2"/>
                      <a:pt x="162" y="2"/>
                    </a:cubicBezTo>
                    <a:cubicBezTo>
                      <a:pt x="163" y="2"/>
                      <a:pt x="163" y="2"/>
                      <a:pt x="163" y="2"/>
                    </a:cubicBezTo>
                    <a:cubicBezTo>
                      <a:pt x="163" y="2"/>
                      <a:pt x="164" y="4"/>
                      <a:pt x="164" y="6"/>
                    </a:cubicBezTo>
                    <a:cubicBezTo>
                      <a:pt x="164" y="9"/>
                      <a:pt x="163" y="11"/>
                      <a:pt x="160" y="13"/>
                    </a:cubicBezTo>
                    <a:cubicBezTo>
                      <a:pt x="159" y="14"/>
                      <a:pt x="156" y="16"/>
                      <a:pt x="155" y="18"/>
                    </a:cubicBezTo>
                    <a:cubicBezTo>
                      <a:pt x="155" y="19"/>
                      <a:pt x="156" y="19"/>
                      <a:pt x="156" y="20"/>
                    </a:cubicBezTo>
                    <a:cubicBezTo>
                      <a:pt x="157" y="21"/>
                      <a:pt x="157" y="21"/>
                      <a:pt x="158" y="21"/>
                    </a:cubicBezTo>
                    <a:cubicBezTo>
                      <a:pt x="158" y="21"/>
                      <a:pt x="159" y="20"/>
                      <a:pt x="160" y="20"/>
                    </a:cubicBezTo>
                    <a:cubicBezTo>
                      <a:pt x="161" y="19"/>
                      <a:pt x="161" y="19"/>
                      <a:pt x="162" y="19"/>
                    </a:cubicBezTo>
                    <a:cubicBezTo>
                      <a:pt x="163" y="18"/>
                      <a:pt x="166" y="17"/>
                      <a:pt x="167" y="17"/>
                    </a:cubicBezTo>
                    <a:cubicBezTo>
                      <a:pt x="169" y="17"/>
                      <a:pt x="170" y="18"/>
                      <a:pt x="170" y="20"/>
                    </a:cubicBezTo>
                    <a:cubicBezTo>
                      <a:pt x="170" y="21"/>
                      <a:pt x="170" y="22"/>
                      <a:pt x="169" y="23"/>
                    </a:cubicBezTo>
                    <a:cubicBezTo>
                      <a:pt x="168" y="24"/>
                      <a:pt x="168" y="26"/>
                      <a:pt x="168" y="29"/>
                    </a:cubicBezTo>
                    <a:cubicBezTo>
                      <a:pt x="168" y="32"/>
                      <a:pt x="166" y="35"/>
                      <a:pt x="164" y="37"/>
                    </a:cubicBezTo>
                    <a:cubicBezTo>
                      <a:pt x="162" y="39"/>
                      <a:pt x="161" y="41"/>
                      <a:pt x="161" y="43"/>
                    </a:cubicBezTo>
                    <a:cubicBezTo>
                      <a:pt x="161" y="47"/>
                      <a:pt x="164" y="51"/>
                      <a:pt x="167" y="56"/>
                    </a:cubicBezTo>
                    <a:cubicBezTo>
                      <a:pt x="171" y="61"/>
                      <a:pt x="176" y="68"/>
                      <a:pt x="176" y="77"/>
                    </a:cubicBezTo>
                    <a:cubicBezTo>
                      <a:pt x="176" y="81"/>
                      <a:pt x="175" y="85"/>
                      <a:pt x="174" y="88"/>
                    </a:cubicBezTo>
                    <a:cubicBezTo>
                      <a:pt x="172" y="92"/>
                      <a:pt x="171" y="95"/>
                      <a:pt x="171" y="100"/>
                    </a:cubicBezTo>
                    <a:cubicBezTo>
                      <a:pt x="171" y="103"/>
                      <a:pt x="172" y="104"/>
                      <a:pt x="174" y="105"/>
                    </a:cubicBezTo>
                    <a:cubicBezTo>
                      <a:pt x="175" y="106"/>
                      <a:pt x="177" y="107"/>
                      <a:pt x="177" y="111"/>
                    </a:cubicBezTo>
                    <a:cubicBezTo>
                      <a:pt x="177" y="115"/>
                      <a:pt x="184" y="116"/>
                      <a:pt x="190" y="117"/>
                    </a:cubicBezTo>
                    <a:cubicBezTo>
                      <a:pt x="192" y="117"/>
                      <a:pt x="194" y="117"/>
                      <a:pt x="195" y="118"/>
                    </a:cubicBezTo>
                    <a:cubicBezTo>
                      <a:pt x="199" y="119"/>
                      <a:pt x="202" y="123"/>
                      <a:pt x="204" y="126"/>
                    </a:cubicBezTo>
                    <a:cubicBezTo>
                      <a:pt x="205" y="128"/>
                      <a:pt x="206" y="130"/>
                      <a:pt x="207" y="130"/>
                    </a:cubicBezTo>
                    <a:cubicBezTo>
                      <a:pt x="209" y="130"/>
                      <a:pt x="209" y="130"/>
                      <a:pt x="209" y="130"/>
                    </a:cubicBezTo>
                    <a:cubicBezTo>
                      <a:pt x="207" y="132"/>
                      <a:pt x="207" y="132"/>
                      <a:pt x="207" y="132"/>
                    </a:cubicBezTo>
                    <a:cubicBezTo>
                      <a:pt x="207" y="132"/>
                      <a:pt x="201" y="138"/>
                      <a:pt x="199" y="143"/>
                    </a:cubicBezTo>
                    <a:cubicBezTo>
                      <a:pt x="196" y="149"/>
                      <a:pt x="194" y="153"/>
                      <a:pt x="188" y="153"/>
                    </a:cubicBezTo>
                    <a:cubicBezTo>
                      <a:pt x="183" y="153"/>
                      <a:pt x="176" y="162"/>
                      <a:pt x="176" y="168"/>
                    </a:cubicBezTo>
                    <a:cubicBezTo>
                      <a:pt x="176" y="171"/>
                      <a:pt x="174" y="173"/>
                      <a:pt x="172" y="175"/>
                    </a:cubicBezTo>
                    <a:cubicBezTo>
                      <a:pt x="170" y="176"/>
                      <a:pt x="169" y="177"/>
                      <a:pt x="169" y="179"/>
                    </a:cubicBezTo>
                    <a:cubicBezTo>
                      <a:pt x="169" y="182"/>
                      <a:pt x="170" y="183"/>
                      <a:pt x="170" y="184"/>
                    </a:cubicBezTo>
                    <a:cubicBezTo>
                      <a:pt x="170" y="185"/>
                      <a:pt x="170" y="186"/>
                      <a:pt x="170" y="187"/>
                    </a:cubicBezTo>
                    <a:cubicBezTo>
                      <a:pt x="170" y="193"/>
                      <a:pt x="166" y="197"/>
                      <a:pt x="160" y="197"/>
                    </a:cubicBezTo>
                    <a:cubicBezTo>
                      <a:pt x="156" y="197"/>
                      <a:pt x="155" y="198"/>
                      <a:pt x="153" y="199"/>
                    </a:cubicBezTo>
                    <a:cubicBezTo>
                      <a:pt x="152" y="200"/>
                      <a:pt x="151" y="201"/>
                      <a:pt x="149" y="201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37" name="Freeform 21"/>
              <p:cNvSpPr>
                <a:spLocks/>
              </p:cNvSpPr>
              <p:nvPr/>
            </p:nvSpPr>
            <p:spPr bwMode="auto">
              <a:xfrm>
                <a:off x="1658" y="1737"/>
                <a:ext cx="668" cy="471"/>
              </a:xfrm>
              <a:custGeom>
                <a:avLst/>
                <a:gdLst>
                  <a:gd name="T0" fmla="*/ 33 w 282"/>
                  <a:gd name="T1" fmla="*/ 8 h 199"/>
                  <a:gd name="T2" fmla="*/ 42 w 282"/>
                  <a:gd name="T3" fmla="*/ 36 h 199"/>
                  <a:gd name="T4" fmla="*/ 79 w 282"/>
                  <a:gd name="T5" fmla="*/ 42 h 199"/>
                  <a:gd name="T6" fmla="*/ 90 w 282"/>
                  <a:gd name="T7" fmla="*/ 52 h 199"/>
                  <a:gd name="T8" fmla="*/ 101 w 282"/>
                  <a:gd name="T9" fmla="*/ 63 h 199"/>
                  <a:gd name="T10" fmla="*/ 110 w 282"/>
                  <a:gd name="T11" fmla="*/ 64 h 199"/>
                  <a:gd name="T12" fmla="*/ 125 w 282"/>
                  <a:gd name="T13" fmla="*/ 61 h 199"/>
                  <a:gd name="T14" fmla="*/ 136 w 282"/>
                  <a:gd name="T15" fmla="*/ 52 h 199"/>
                  <a:gd name="T16" fmla="*/ 135 w 282"/>
                  <a:gd name="T17" fmla="*/ 62 h 199"/>
                  <a:gd name="T18" fmla="*/ 147 w 282"/>
                  <a:gd name="T19" fmla="*/ 62 h 199"/>
                  <a:gd name="T20" fmla="*/ 158 w 282"/>
                  <a:gd name="T21" fmla="*/ 69 h 199"/>
                  <a:gd name="T22" fmla="*/ 179 w 282"/>
                  <a:gd name="T23" fmla="*/ 80 h 199"/>
                  <a:gd name="T24" fmla="*/ 197 w 282"/>
                  <a:gd name="T25" fmla="*/ 80 h 199"/>
                  <a:gd name="T26" fmla="*/ 214 w 282"/>
                  <a:gd name="T27" fmla="*/ 80 h 199"/>
                  <a:gd name="T28" fmla="*/ 237 w 282"/>
                  <a:gd name="T29" fmla="*/ 107 h 199"/>
                  <a:gd name="T30" fmla="*/ 254 w 282"/>
                  <a:gd name="T31" fmla="*/ 126 h 199"/>
                  <a:gd name="T32" fmla="*/ 282 w 282"/>
                  <a:gd name="T33" fmla="*/ 147 h 199"/>
                  <a:gd name="T34" fmla="*/ 267 w 282"/>
                  <a:gd name="T35" fmla="*/ 159 h 199"/>
                  <a:gd name="T36" fmla="*/ 250 w 282"/>
                  <a:gd name="T37" fmla="*/ 160 h 199"/>
                  <a:gd name="T38" fmla="*/ 239 w 282"/>
                  <a:gd name="T39" fmla="*/ 160 h 199"/>
                  <a:gd name="T40" fmla="*/ 240 w 282"/>
                  <a:gd name="T41" fmla="*/ 184 h 199"/>
                  <a:gd name="T42" fmla="*/ 221 w 282"/>
                  <a:gd name="T43" fmla="*/ 199 h 199"/>
                  <a:gd name="T44" fmla="*/ 202 w 282"/>
                  <a:gd name="T45" fmla="*/ 194 h 199"/>
                  <a:gd name="T46" fmla="*/ 187 w 282"/>
                  <a:gd name="T47" fmla="*/ 192 h 199"/>
                  <a:gd name="T48" fmla="*/ 171 w 282"/>
                  <a:gd name="T49" fmla="*/ 191 h 199"/>
                  <a:gd name="T50" fmla="*/ 160 w 282"/>
                  <a:gd name="T51" fmla="*/ 184 h 199"/>
                  <a:gd name="T52" fmla="*/ 152 w 282"/>
                  <a:gd name="T53" fmla="*/ 193 h 199"/>
                  <a:gd name="T54" fmla="*/ 141 w 282"/>
                  <a:gd name="T55" fmla="*/ 192 h 199"/>
                  <a:gd name="T56" fmla="*/ 130 w 282"/>
                  <a:gd name="T57" fmla="*/ 185 h 199"/>
                  <a:gd name="T58" fmla="*/ 103 w 282"/>
                  <a:gd name="T59" fmla="*/ 159 h 199"/>
                  <a:gd name="T60" fmla="*/ 94 w 282"/>
                  <a:gd name="T61" fmla="*/ 136 h 199"/>
                  <a:gd name="T62" fmla="*/ 96 w 282"/>
                  <a:gd name="T63" fmla="*/ 109 h 199"/>
                  <a:gd name="T64" fmla="*/ 82 w 282"/>
                  <a:gd name="T65" fmla="*/ 94 h 199"/>
                  <a:gd name="T66" fmla="*/ 68 w 282"/>
                  <a:gd name="T67" fmla="*/ 82 h 199"/>
                  <a:gd name="T68" fmla="*/ 46 w 282"/>
                  <a:gd name="T69" fmla="*/ 77 h 199"/>
                  <a:gd name="T70" fmla="*/ 24 w 282"/>
                  <a:gd name="T71" fmla="*/ 55 h 199"/>
                  <a:gd name="T72" fmla="*/ 4 w 282"/>
                  <a:gd name="T73" fmla="*/ 49 h 199"/>
                  <a:gd name="T74" fmla="*/ 3 w 282"/>
                  <a:gd name="T75" fmla="*/ 37 h 199"/>
                  <a:gd name="T76" fmla="*/ 13 w 282"/>
                  <a:gd name="T77" fmla="*/ 13 h 199"/>
                  <a:gd name="T78" fmla="*/ 23 w 282"/>
                  <a:gd name="T79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82" h="199">
                    <a:moveTo>
                      <a:pt x="23" y="0"/>
                    </a:moveTo>
                    <a:cubicBezTo>
                      <a:pt x="28" y="5"/>
                      <a:pt x="30" y="8"/>
                      <a:pt x="33" y="8"/>
                    </a:cubicBezTo>
                    <a:cubicBezTo>
                      <a:pt x="37" y="8"/>
                      <a:pt x="39" y="15"/>
                      <a:pt x="40" y="22"/>
                    </a:cubicBezTo>
                    <a:cubicBezTo>
                      <a:pt x="40" y="30"/>
                      <a:pt x="41" y="35"/>
                      <a:pt x="42" y="36"/>
                    </a:cubicBezTo>
                    <a:cubicBezTo>
                      <a:pt x="44" y="36"/>
                      <a:pt x="56" y="38"/>
                      <a:pt x="66" y="38"/>
                    </a:cubicBezTo>
                    <a:cubicBezTo>
                      <a:pt x="75" y="39"/>
                      <a:pt x="79" y="39"/>
                      <a:pt x="79" y="42"/>
                    </a:cubicBezTo>
                    <a:cubicBezTo>
                      <a:pt x="79" y="46"/>
                      <a:pt x="81" y="46"/>
                      <a:pt x="83" y="46"/>
                    </a:cubicBezTo>
                    <a:cubicBezTo>
                      <a:pt x="85" y="46"/>
                      <a:pt x="90" y="47"/>
                      <a:pt x="90" y="52"/>
                    </a:cubicBezTo>
                    <a:cubicBezTo>
                      <a:pt x="90" y="57"/>
                      <a:pt x="91" y="59"/>
                      <a:pt x="95" y="59"/>
                    </a:cubicBezTo>
                    <a:cubicBezTo>
                      <a:pt x="98" y="59"/>
                      <a:pt x="100" y="61"/>
                      <a:pt x="101" y="63"/>
                    </a:cubicBezTo>
                    <a:cubicBezTo>
                      <a:pt x="102" y="65"/>
                      <a:pt x="104" y="66"/>
                      <a:pt x="106" y="66"/>
                    </a:cubicBezTo>
                    <a:cubicBezTo>
                      <a:pt x="108" y="66"/>
                      <a:pt x="107" y="64"/>
                      <a:pt x="110" y="64"/>
                    </a:cubicBezTo>
                    <a:cubicBezTo>
                      <a:pt x="114" y="64"/>
                      <a:pt x="114" y="68"/>
                      <a:pt x="118" y="68"/>
                    </a:cubicBezTo>
                    <a:cubicBezTo>
                      <a:pt x="122" y="68"/>
                      <a:pt x="124" y="62"/>
                      <a:pt x="125" y="61"/>
                    </a:cubicBezTo>
                    <a:cubicBezTo>
                      <a:pt x="127" y="61"/>
                      <a:pt x="129" y="57"/>
                      <a:pt x="131" y="56"/>
                    </a:cubicBezTo>
                    <a:cubicBezTo>
                      <a:pt x="133" y="56"/>
                      <a:pt x="133" y="52"/>
                      <a:pt x="136" y="52"/>
                    </a:cubicBezTo>
                    <a:cubicBezTo>
                      <a:pt x="140" y="52"/>
                      <a:pt x="140" y="55"/>
                      <a:pt x="140" y="56"/>
                    </a:cubicBezTo>
                    <a:cubicBezTo>
                      <a:pt x="140" y="58"/>
                      <a:pt x="135" y="59"/>
                      <a:pt x="135" y="62"/>
                    </a:cubicBezTo>
                    <a:cubicBezTo>
                      <a:pt x="135" y="65"/>
                      <a:pt x="137" y="64"/>
                      <a:pt x="141" y="64"/>
                    </a:cubicBezTo>
                    <a:cubicBezTo>
                      <a:pt x="144" y="64"/>
                      <a:pt x="144" y="62"/>
                      <a:pt x="147" y="62"/>
                    </a:cubicBezTo>
                    <a:cubicBezTo>
                      <a:pt x="149" y="62"/>
                      <a:pt x="147" y="70"/>
                      <a:pt x="156" y="70"/>
                    </a:cubicBezTo>
                    <a:cubicBezTo>
                      <a:pt x="157" y="70"/>
                      <a:pt x="158" y="69"/>
                      <a:pt x="158" y="69"/>
                    </a:cubicBezTo>
                    <a:cubicBezTo>
                      <a:pt x="158" y="69"/>
                      <a:pt x="158" y="71"/>
                      <a:pt x="158" y="72"/>
                    </a:cubicBezTo>
                    <a:cubicBezTo>
                      <a:pt x="158" y="77"/>
                      <a:pt x="164" y="80"/>
                      <a:pt x="179" y="80"/>
                    </a:cubicBezTo>
                    <a:cubicBezTo>
                      <a:pt x="184" y="80"/>
                      <a:pt x="185" y="85"/>
                      <a:pt x="189" y="85"/>
                    </a:cubicBezTo>
                    <a:cubicBezTo>
                      <a:pt x="193" y="85"/>
                      <a:pt x="193" y="80"/>
                      <a:pt x="197" y="80"/>
                    </a:cubicBezTo>
                    <a:cubicBezTo>
                      <a:pt x="201" y="80"/>
                      <a:pt x="202" y="83"/>
                      <a:pt x="206" y="83"/>
                    </a:cubicBezTo>
                    <a:cubicBezTo>
                      <a:pt x="211" y="83"/>
                      <a:pt x="208" y="80"/>
                      <a:pt x="214" y="80"/>
                    </a:cubicBezTo>
                    <a:cubicBezTo>
                      <a:pt x="219" y="80"/>
                      <a:pt x="221" y="88"/>
                      <a:pt x="225" y="94"/>
                    </a:cubicBezTo>
                    <a:cubicBezTo>
                      <a:pt x="229" y="100"/>
                      <a:pt x="232" y="102"/>
                      <a:pt x="237" y="107"/>
                    </a:cubicBezTo>
                    <a:cubicBezTo>
                      <a:pt x="242" y="111"/>
                      <a:pt x="243" y="116"/>
                      <a:pt x="247" y="118"/>
                    </a:cubicBezTo>
                    <a:cubicBezTo>
                      <a:pt x="251" y="120"/>
                      <a:pt x="254" y="122"/>
                      <a:pt x="254" y="126"/>
                    </a:cubicBezTo>
                    <a:cubicBezTo>
                      <a:pt x="254" y="131"/>
                      <a:pt x="257" y="133"/>
                      <a:pt x="263" y="138"/>
                    </a:cubicBezTo>
                    <a:cubicBezTo>
                      <a:pt x="269" y="143"/>
                      <a:pt x="275" y="147"/>
                      <a:pt x="282" y="147"/>
                    </a:cubicBezTo>
                    <a:cubicBezTo>
                      <a:pt x="282" y="147"/>
                      <a:pt x="271" y="148"/>
                      <a:pt x="271" y="152"/>
                    </a:cubicBezTo>
                    <a:cubicBezTo>
                      <a:pt x="271" y="157"/>
                      <a:pt x="269" y="159"/>
                      <a:pt x="267" y="159"/>
                    </a:cubicBezTo>
                    <a:cubicBezTo>
                      <a:pt x="263" y="159"/>
                      <a:pt x="264" y="155"/>
                      <a:pt x="259" y="155"/>
                    </a:cubicBezTo>
                    <a:cubicBezTo>
                      <a:pt x="255" y="155"/>
                      <a:pt x="256" y="160"/>
                      <a:pt x="250" y="160"/>
                    </a:cubicBezTo>
                    <a:cubicBezTo>
                      <a:pt x="245" y="160"/>
                      <a:pt x="245" y="157"/>
                      <a:pt x="240" y="157"/>
                    </a:cubicBezTo>
                    <a:cubicBezTo>
                      <a:pt x="238" y="157"/>
                      <a:pt x="239" y="158"/>
                      <a:pt x="239" y="160"/>
                    </a:cubicBezTo>
                    <a:cubicBezTo>
                      <a:pt x="239" y="163"/>
                      <a:pt x="233" y="162"/>
                      <a:pt x="233" y="167"/>
                    </a:cubicBezTo>
                    <a:cubicBezTo>
                      <a:pt x="233" y="172"/>
                      <a:pt x="240" y="175"/>
                      <a:pt x="240" y="184"/>
                    </a:cubicBezTo>
                    <a:cubicBezTo>
                      <a:pt x="240" y="190"/>
                      <a:pt x="238" y="195"/>
                      <a:pt x="235" y="195"/>
                    </a:cubicBezTo>
                    <a:cubicBezTo>
                      <a:pt x="229" y="195"/>
                      <a:pt x="228" y="199"/>
                      <a:pt x="221" y="199"/>
                    </a:cubicBezTo>
                    <a:cubicBezTo>
                      <a:pt x="207" y="199"/>
                      <a:pt x="207" y="199"/>
                      <a:pt x="207" y="199"/>
                    </a:cubicBezTo>
                    <a:cubicBezTo>
                      <a:pt x="204" y="199"/>
                      <a:pt x="202" y="196"/>
                      <a:pt x="202" y="194"/>
                    </a:cubicBezTo>
                    <a:cubicBezTo>
                      <a:pt x="202" y="192"/>
                      <a:pt x="200" y="191"/>
                      <a:pt x="196" y="191"/>
                    </a:cubicBezTo>
                    <a:cubicBezTo>
                      <a:pt x="192" y="191"/>
                      <a:pt x="189" y="191"/>
                      <a:pt x="187" y="192"/>
                    </a:cubicBezTo>
                    <a:cubicBezTo>
                      <a:pt x="185" y="193"/>
                      <a:pt x="180" y="198"/>
                      <a:pt x="178" y="198"/>
                    </a:cubicBezTo>
                    <a:cubicBezTo>
                      <a:pt x="175" y="198"/>
                      <a:pt x="175" y="195"/>
                      <a:pt x="171" y="191"/>
                    </a:cubicBezTo>
                    <a:cubicBezTo>
                      <a:pt x="169" y="189"/>
                      <a:pt x="167" y="187"/>
                      <a:pt x="164" y="185"/>
                    </a:cubicBezTo>
                    <a:cubicBezTo>
                      <a:pt x="163" y="185"/>
                      <a:pt x="161" y="184"/>
                      <a:pt x="160" y="184"/>
                    </a:cubicBezTo>
                    <a:cubicBezTo>
                      <a:pt x="156" y="184"/>
                      <a:pt x="157" y="187"/>
                      <a:pt x="157" y="189"/>
                    </a:cubicBezTo>
                    <a:cubicBezTo>
                      <a:pt x="157" y="191"/>
                      <a:pt x="156" y="193"/>
                      <a:pt x="152" y="193"/>
                    </a:cubicBezTo>
                    <a:cubicBezTo>
                      <a:pt x="148" y="193"/>
                      <a:pt x="148" y="190"/>
                      <a:pt x="145" y="190"/>
                    </a:cubicBezTo>
                    <a:cubicBezTo>
                      <a:pt x="142" y="190"/>
                      <a:pt x="142" y="191"/>
                      <a:pt x="141" y="192"/>
                    </a:cubicBezTo>
                    <a:cubicBezTo>
                      <a:pt x="140" y="192"/>
                      <a:pt x="140" y="192"/>
                      <a:pt x="139" y="192"/>
                    </a:cubicBezTo>
                    <a:cubicBezTo>
                      <a:pt x="136" y="192"/>
                      <a:pt x="133" y="190"/>
                      <a:pt x="130" y="185"/>
                    </a:cubicBezTo>
                    <a:cubicBezTo>
                      <a:pt x="126" y="180"/>
                      <a:pt x="121" y="168"/>
                      <a:pt x="118" y="168"/>
                    </a:cubicBezTo>
                    <a:cubicBezTo>
                      <a:pt x="115" y="168"/>
                      <a:pt x="103" y="167"/>
                      <a:pt x="103" y="159"/>
                    </a:cubicBezTo>
                    <a:cubicBezTo>
                      <a:pt x="103" y="154"/>
                      <a:pt x="94" y="148"/>
                      <a:pt x="94" y="144"/>
                    </a:cubicBezTo>
                    <a:cubicBezTo>
                      <a:pt x="94" y="141"/>
                      <a:pt x="94" y="139"/>
                      <a:pt x="94" y="136"/>
                    </a:cubicBezTo>
                    <a:cubicBezTo>
                      <a:pt x="95" y="131"/>
                      <a:pt x="96" y="128"/>
                      <a:pt x="96" y="124"/>
                    </a:cubicBezTo>
                    <a:cubicBezTo>
                      <a:pt x="96" y="119"/>
                      <a:pt x="96" y="115"/>
                      <a:pt x="96" y="109"/>
                    </a:cubicBezTo>
                    <a:cubicBezTo>
                      <a:pt x="96" y="109"/>
                      <a:pt x="89" y="106"/>
                      <a:pt x="89" y="102"/>
                    </a:cubicBezTo>
                    <a:cubicBezTo>
                      <a:pt x="89" y="98"/>
                      <a:pt x="87" y="95"/>
                      <a:pt x="82" y="94"/>
                    </a:cubicBezTo>
                    <a:cubicBezTo>
                      <a:pt x="78" y="92"/>
                      <a:pt x="75" y="91"/>
                      <a:pt x="75" y="88"/>
                    </a:cubicBezTo>
                    <a:cubicBezTo>
                      <a:pt x="75" y="85"/>
                      <a:pt x="72" y="82"/>
                      <a:pt x="68" y="82"/>
                    </a:cubicBezTo>
                    <a:cubicBezTo>
                      <a:pt x="64" y="81"/>
                      <a:pt x="60" y="74"/>
                      <a:pt x="56" y="74"/>
                    </a:cubicBezTo>
                    <a:cubicBezTo>
                      <a:pt x="49" y="74"/>
                      <a:pt x="49" y="77"/>
                      <a:pt x="46" y="77"/>
                    </a:cubicBezTo>
                    <a:cubicBezTo>
                      <a:pt x="42" y="77"/>
                      <a:pt x="39" y="65"/>
                      <a:pt x="36" y="65"/>
                    </a:cubicBezTo>
                    <a:cubicBezTo>
                      <a:pt x="32" y="65"/>
                      <a:pt x="29" y="55"/>
                      <a:pt x="24" y="55"/>
                    </a:cubicBezTo>
                    <a:cubicBezTo>
                      <a:pt x="19" y="55"/>
                      <a:pt x="14" y="46"/>
                      <a:pt x="10" y="46"/>
                    </a:cubicBezTo>
                    <a:cubicBezTo>
                      <a:pt x="6" y="46"/>
                      <a:pt x="6" y="49"/>
                      <a:pt x="4" y="49"/>
                    </a:cubicBezTo>
                    <a:cubicBezTo>
                      <a:pt x="2" y="49"/>
                      <a:pt x="0" y="47"/>
                      <a:pt x="0" y="44"/>
                    </a:cubicBezTo>
                    <a:cubicBezTo>
                      <a:pt x="0" y="41"/>
                      <a:pt x="3" y="42"/>
                      <a:pt x="3" y="37"/>
                    </a:cubicBezTo>
                    <a:cubicBezTo>
                      <a:pt x="3" y="32"/>
                      <a:pt x="1" y="30"/>
                      <a:pt x="1" y="25"/>
                    </a:cubicBezTo>
                    <a:cubicBezTo>
                      <a:pt x="1" y="21"/>
                      <a:pt x="10" y="16"/>
                      <a:pt x="13" y="13"/>
                    </a:cubicBezTo>
                    <a:cubicBezTo>
                      <a:pt x="16" y="10"/>
                      <a:pt x="17" y="6"/>
                      <a:pt x="20" y="4"/>
                    </a:cubicBezTo>
                    <a:cubicBezTo>
                      <a:pt x="22" y="1"/>
                      <a:pt x="23" y="0"/>
                      <a:pt x="23" y="0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38" name="Freeform 22"/>
              <p:cNvSpPr>
                <a:spLocks/>
              </p:cNvSpPr>
              <p:nvPr/>
            </p:nvSpPr>
            <p:spPr bwMode="auto">
              <a:xfrm>
                <a:off x="2326" y="1898"/>
                <a:ext cx="303" cy="343"/>
              </a:xfrm>
              <a:custGeom>
                <a:avLst/>
                <a:gdLst>
                  <a:gd name="T0" fmla="*/ 0 w 128"/>
                  <a:gd name="T1" fmla="*/ 79 h 145"/>
                  <a:gd name="T2" fmla="*/ 15 w 128"/>
                  <a:gd name="T3" fmla="*/ 67 h 145"/>
                  <a:gd name="T4" fmla="*/ 18 w 128"/>
                  <a:gd name="T5" fmla="*/ 55 h 145"/>
                  <a:gd name="T6" fmla="*/ 27 w 128"/>
                  <a:gd name="T7" fmla="*/ 52 h 145"/>
                  <a:gd name="T8" fmla="*/ 33 w 128"/>
                  <a:gd name="T9" fmla="*/ 44 h 145"/>
                  <a:gd name="T10" fmla="*/ 28 w 128"/>
                  <a:gd name="T11" fmla="*/ 25 h 145"/>
                  <a:gd name="T12" fmla="*/ 34 w 128"/>
                  <a:gd name="T13" fmla="*/ 21 h 145"/>
                  <a:gd name="T14" fmla="*/ 42 w 128"/>
                  <a:gd name="T15" fmla="*/ 19 h 145"/>
                  <a:gd name="T16" fmla="*/ 46 w 128"/>
                  <a:gd name="T17" fmla="*/ 20 h 145"/>
                  <a:gd name="T18" fmla="*/ 56 w 128"/>
                  <a:gd name="T19" fmla="*/ 12 h 145"/>
                  <a:gd name="T20" fmla="*/ 63 w 128"/>
                  <a:gd name="T21" fmla="*/ 18 h 145"/>
                  <a:gd name="T22" fmla="*/ 70 w 128"/>
                  <a:gd name="T23" fmla="*/ 16 h 145"/>
                  <a:gd name="T24" fmla="*/ 79 w 128"/>
                  <a:gd name="T25" fmla="*/ 11 h 145"/>
                  <a:gd name="T26" fmla="*/ 83 w 128"/>
                  <a:gd name="T27" fmla="*/ 6 h 145"/>
                  <a:gd name="T28" fmla="*/ 93 w 128"/>
                  <a:gd name="T29" fmla="*/ 0 h 145"/>
                  <a:gd name="T30" fmla="*/ 97 w 128"/>
                  <a:gd name="T31" fmla="*/ 6 h 145"/>
                  <a:gd name="T32" fmla="*/ 106 w 128"/>
                  <a:gd name="T33" fmla="*/ 15 h 145"/>
                  <a:gd name="T34" fmla="*/ 110 w 128"/>
                  <a:gd name="T35" fmla="*/ 20 h 145"/>
                  <a:gd name="T36" fmla="*/ 119 w 128"/>
                  <a:gd name="T37" fmla="*/ 28 h 145"/>
                  <a:gd name="T38" fmla="*/ 128 w 128"/>
                  <a:gd name="T39" fmla="*/ 37 h 145"/>
                  <a:gd name="T40" fmla="*/ 115 w 128"/>
                  <a:gd name="T41" fmla="*/ 46 h 145"/>
                  <a:gd name="T42" fmla="*/ 82 w 128"/>
                  <a:gd name="T43" fmla="*/ 35 h 145"/>
                  <a:gd name="T44" fmla="*/ 78 w 128"/>
                  <a:gd name="T45" fmla="*/ 37 h 145"/>
                  <a:gd name="T46" fmla="*/ 80 w 128"/>
                  <a:gd name="T47" fmla="*/ 41 h 145"/>
                  <a:gd name="T48" fmla="*/ 74 w 128"/>
                  <a:gd name="T49" fmla="*/ 62 h 145"/>
                  <a:gd name="T50" fmla="*/ 87 w 128"/>
                  <a:gd name="T51" fmla="*/ 86 h 145"/>
                  <a:gd name="T52" fmla="*/ 97 w 128"/>
                  <a:gd name="T53" fmla="*/ 89 h 145"/>
                  <a:gd name="T54" fmla="*/ 103 w 128"/>
                  <a:gd name="T55" fmla="*/ 93 h 145"/>
                  <a:gd name="T56" fmla="*/ 100 w 128"/>
                  <a:gd name="T57" fmla="*/ 102 h 145"/>
                  <a:gd name="T58" fmla="*/ 101 w 128"/>
                  <a:gd name="T59" fmla="*/ 109 h 145"/>
                  <a:gd name="T60" fmla="*/ 107 w 128"/>
                  <a:gd name="T61" fmla="*/ 114 h 145"/>
                  <a:gd name="T62" fmla="*/ 104 w 128"/>
                  <a:gd name="T63" fmla="*/ 123 h 145"/>
                  <a:gd name="T64" fmla="*/ 102 w 128"/>
                  <a:gd name="T65" fmla="*/ 133 h 145"/>
                  <a:gd name="T66" fmla="*/ 102 w 128"/>
                  <a:gd name="T67" fmla="*/ 135 h 145"/>
                  <a:gd name="T68" fmla="*/ 95 w 128"/>
                  <a:gd name="T69" fmla="*/ 138 h 145"/>
                  <a:gd name="T70" fmla="*/ 92 w 128"/>
                  <a:gd name="T71" fmla="*/ 142 h 145"/>
                  <a:gd name="T72" fmla="*/ 85 w 128"/>
                  <a:gd name="T73" fmla="*/ 145 h 145"/>
                  <a:gd name="T74" fmla="*/ 81 w 128"/>
                  <a:gd name="T75" fmla="*/ 140 h 145"/>
                  <a:gd name="T76" fmla="*/ 77 w 128"/>
                  <a:gd name="T77" fmla="*/ 142 h 145"/>
                  <a:gd name="T78" fmla="*/ 70 w 128"/>
                  <a:gd name="T79" fmla="*/ 140 h 145"/>
                  <a:gd name="T80" fmla="*/ 59 w 128"/>
                  <a:gd name="T81" fmla="*/ 144 h 145"/>
                  <a:gd name="T82" fmla="*/ 54 w 128"/>
                  <a:gd name="T83" fmla="*/ 140 h 145"/>
                  <a:gd name="T84" fmla="*/ 57 w 128"/>
                  <a:gd name="T85" fmla="*/ 134 h 145"/>
                  <a:gd name="T86" fmla="*/ 45 w 128"/>
                  <a:gd name="T87" fmla="*/ 127 h 145"/>
                  <a:gd name="T88" fmla="*/ 34 w 128"/>
                  <a:gd name="T89" fmla="*/ 120 h 145"/>
                  <a:gd name="T90" fmla="*/ 28 w 128"/>
                  <a:gd name="T91" fmla="*/ 98 h 145"/>
                  <a:gd name="T92" fmla="*/ 18 w 128"/>
                  <a:gd name="T93" fmla="*/ 89 h 145"/>
                  <a:gd name="T94" fmla="*/ 0 w 128"/>
                  <a:gd name="T95" fmla="*/ 79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8" h="145">
                    <a:moveTo>
                      <a:pt x="0" y="79"/>
                    </a:moveTo>
                    <a:cubicBezTo>
                      <a:pt x="11" y="79"/>
                      <a:pt x="15" y="72"/>
                      <a:pt x="15" y="67"/>
                    </a:cubicBezTo>
                    <a:cubicBezTo>
                      <a:pt x="15" y="63"/>
                      <a:pt x="17" y="57"/>
                      <a:pt x="18" y="55"/>
                    </a:cubicBezTo>
                    <a:cubicBezTo>
                      <a:pt x="19" y="53"/>
                      <a:pt x="23" y="52"/>
                      <a:pt x="27" y="52"/>
                    </a:cubicBezTo>
                    <a:cubicBezTo>
                      <a:pt x="32" y="53"/>
                      <a:pt x="33" y="49"/>
                      <a:pt x="33" y="44"/>
                    </a:cubicBezTo>
                    <a:cubicBezTo>
                      <a:pt x="33" y="33"/>
                      <a:pt x="28" y="25"/>
                      <a:pt x="28" y="25"/>
                    </a:cubicBezTo>
                    <a:cubicBezTo>
                      <a:pt x="31" y="25"/>
                      <a:pt x="31" y="21"/>
                      <a:pt x="34" y="21"/>
                    </a:cubicBezTo>
                    <a:cubicBezTo>
                      <a:pt x="37" y="21"/>
                      <a:pt x="39" y="19"/>
                      <a:pt x="42" y="19"/>
                    </a:cubicBezTo>
                    <a:cubicBezTo>
                      <a:pt x="45" y="19"/>
                      <a:pt x="44" y="20"/>
                      <a:pt x="46" y="20"/>
                    </a:cubicBezTo>
                    <a:cubicBezTo>
                      <a:pt x="50" y="20"/>
                      <a:pt x="52" y="12"/>
                      <a:pt x="56" y="12"/>
                    </a:cubicBezTo>
                    <a:cubicBezTo>
                      <a:pt x="59" y="12"/>
                      <a:pt x="60" y="18"/>
                      <a:pt x="63" y="18"/>
                    </a:cubicBezTo>
                    <a:cubicBezTo>
                      <a:pt x="66" y="18"/>
                      <a:pt x="67" y="16"/>
                      <a:pt x="70" y="16"/>
                    </a:cubicBezTo>
                    <a:cubicBezTo>
                      <a:pt x="74" y="16"/>
                      <a:pt x="79" y="14"/>
                      <a:pt x="79" y="11"/>
                    </a:cubicBezTo>
                    <a:cubicBezTo>
                      <a:pt x="79" y="7"/>
                      <a:pt x="80" y="6"/>
                      <a:pt x="83" y="6"/>
                    </a:cubicBezTo>
                    <a:cubicBezTo>
                      <a:pt x="89" y="6"/>
                      <a:pt x="90" y="0"/>
                      <a:pt x="93" y="0"/>
                    </a:cubicBezTo>
                    <a:cubicBezTo>
                      <a:pt x="97" y="0"/>
                      <a:pt x="97" y="6"/>
                      <a:pt x="97" y="6"/>
                    </a:cubicBezTo>
                    <a:cubicBezTo>
                      <a:pt x="97" y="6"/>
                      <a:pt x="99" y="15"/>
                      <a:pt x="106" y="15"/>
                    </a:cubicBezTo>
                    <a:cubicBezTo>
                      <a:pt x="109" y="15"/>
                      <a:pt x="108" y="18"/>
                      <a:pt x="110" y="20"/>
                    </a:cubicBezTo>
                    <a:cubicBezTo>
                      <a:pt x="112" y="23"/>
                      <a:pt x="115" y="28"/>
                      <a:pt x="119" y="28"/>
                    </a:cubicBezTo>
                    <a:cubicBezTo>
                      <a:pt x="124" y="28"/>
                      <a:pt x="128" y="33"/>
                      <a:pt x="128" y="37"/>
                    </a:cubicBezTo>
                    <a:cubicBezTo>
                      <a:pt x="128" y="41"/>
                      <a:pt x="122" y="46"/>
                      <a:pt x="115" y="46"/>
                    </a:cubicBezTo>
                    <a:cubicBezTo>
                      <a:pt x="107" y="46"/>
                      <a:pt x="89" y="35"/>
                      <a:pt x="82" y="35"/>
                    </a:cubicBezTo>
                    <a:cubicBezTo>
                      <a:pt x="80" y="35"/>
                      <a:pt x="78" y="35"/>
                      <a:pt x="78" y="37"/>
                    </a:cubicBezTo>
                    <a:cubicBezTo>
                      <a:pt x="78" y="39"/>
                      <a:pt x="80" y="39"/>
                      <a:pt x="80" y="41"/>
                    </a:cubicBezTo>
                    <a:cubicBezTo>
                      <a:pt x="80" y="43"/>
                      <a:pt x="74" y="44"/>
                      <a:pt x="74" y="62"/>
                    </a:cubicBezTo>
                    <a:cubicBezTo>
                      <a:pt x="74" y="80"/>
                      <a:pt x="81" y="86"/>
                      <a:pt x="87" y="86"/>
                    </a:cubicBezTo>
                    <a:cubicBezTo>
                      <a:pt x="93" y="86"/>
                      <a:pt x="93" y="89"/>
                      <a:pt x="97" y="89"/>
                    </a:cubicBezTo>
                    <a:cubicBezTo>
                      <a:pt x="100" y="89"/>
                      <a:pt x="103" y="89"/>
                      <a:pt x="103" y="93"/>
                    </a:cubicBezTo>
                    <a:cubicBezTo>
                      <a:pt x="103" y="96"/>
                      <a:pt x="100" y="98"/>
                      <a:pt x="100" y="102"/>
                    </a:cubicBezTo>
                    <a:cubicBezTo>
                      <a:pt x="100" y="105"/>
                      <a:pt x="101" y="106"/>
                      <a:pt x="101" y="109"/>
                    </a:cubicBezTo>
                    <a:cubicBezTo>
                      <a:pt x="101" y="111"/>
                      <a:pt x="107" y="111"/>
                      <a:pt x="107" y="114"/>
                    </a:cubicBezTo>
                    <a:cubicBezTo>
                      <a:pt x="107" y="117"/>
                      <a:pt x="104" y="119"/>
                      <a:pt x="104" y="123"/>
                    </a:cubicBezTo>
                    <a:cubicBezTo>
                      <a:pt x="104" y="126"/>
                      <a:pt x="102" y="127"/>
                      <a:pt x="102" y="133"/>
                    </a:cubicBezTo>
                    <a:cubicBezTo>
                      <a:pt x="102" y="133"/>
                      <a:pt x="102" y="135"/>
                      <a:pt x="102" y="135"/>
                    </a:cubicBezTo>
                    <a:cubicBezTo>
                      <a:pt x="98" y="135"/>
                      <a:pt x="95" y="135"/>
                      <a:pt x="95" y="138"/>
                    </a:cubicBezTo>
                    <a:cubicBezTo>
                      <a:pt x="95" y="141"/>
                      <a:pt x="94" y="142"/>
                      <a:pt x="92" y="142"/>
                    </a:cubicBezTo>
                    <a:cubicBezTo>
                      <a:pt x="90" y="142"/>
                      <a:pt x="90" y="145"/>
                      <a:pt x="85" y="145"/>
                    </a:cubicBezTo>
                    <a:cubicBezTo>
                      <a:pt x="82" y="145"/>
                      <a:pt x="84" y="140"/>
                      <a:pt x="81" y="140"/>
                    </a:cubicBezTo>
                    <a:cubicBezTo>
                      <a:pt x="78" y="140"/>
                      <a:pt x="79" y="142"/>
                      <a:pt x="77" y="142"/>
                    </a:cubicBezTo>
                    <a:cubicBezTo>
                      <a:pt x="74" y="142"/>
                      <a:pt x="74" y="140"/>
                      <a:pt x="70" y="140"/>
                    </a:cubicBezTo>
                    <a:cubicBezTo>
                      <a:pt x="66" y="140"/>
                      <a:pt x="64" y="144"/>
                      <a:pt x="59" y="144"/>
                    </a:cubicBezTo>
                    <a:cubicBezTo>
                      <a:pt x="55" y="144"/>
                      <a:pt x="54" y="142"/>
                      <a:pt x="54" y="140"/>
                    </a:cubicBezTo>
                    <a:cubicBezTo>
                      <a:pt x="54" y="138"/>
                      <a:pt x="57" y="138"/>
                      <a:pt x="57" y="134"/>
                    </a:cubicBezTo>
                    <a:cubicBezTo>
                      <a:pt x="57" y="130"/>
                      <a:pt x="51" y="129"/>
                      <a:pt x="45" y="127"/>
                    </a:cubicBezTo>
                    <a:cubicBezTo>
                      <a:pt x="39" y="125"/>
                      <a:pt x="37" y="125"/>
                      <a:pt x="34" y="120"/>
                    </a:cubicBezTo>
                    <a:cubicBezTo>
                      <a:pt x="31" y="115"/>
                      <a:pt x="28" y="103"/>
                      <a:pt x="28" y="98"/>
                    </a:cubicBezTo>
                    <a:cubicBezTo>
                      <a:pt x="28" y="94"/>
                      <a:pt x="23" y="91"/>
                      <a:pt x="18" y="89"/>
                    </a:cubicBezTo>
                    <a:cubicBezTo>
                      <a:pt x="8" y="87"/>
                      <a:pt x="0" y="79"/>
                      <a:pt x="0" y="79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39" name="Freeform 23"/>
              <p:cNvSpPr>
                <a:spLocks/>
              </p:cNvSpPr>
              <p:nvPr/>
            </p:nvSpPr>
            <p:spPr bwMode="auto">
              <a:xfrm>
                <a:off x="1672" y="2057"/>
                <a:ext cx="337" cy="364"/>
              </a:xfrm>
              <a:custGeom>
                <a:avLst/>
                <a:gdLst>
                  <a:gd name="T0" fmla="*/ 13 w 142"/>
                  <a:gd name="T1" fmla="*/ 152 h 154"/>
                  <a:gd name="T2" fmla="*/ 0 w 142"/>
                  <a:gd name="T3" fmla="*/ 110 h 154"/>
                  <a:gd name="T4" fmla="*/ 3 w 142"/>
                  <a:gd name="T5" fmla="*/ 99 h 154"/>
                  <a:gd name="T6" fmla="*/ 9 w 142"/>
                  <a:gd name="T7" fmla="*/ 87 h 154"/>
                  <a:gd name="T8" fmla="*/ 17 w 142"/>
                  <a:gd name="T9" fmla="*/ 75 h 154"/>
                  <a:gd name="T10" fmla="*/ 22 w 142"/>
                  <a:gd name="T11" fmla="*/ 68 h 154"/>
                  <a:gd name="T12" fmla="*/ 28 w 142"/>
                  <a:gd name="T13" fmla="*/ 61 h 154"/>
                  <a:gd name="T14" fmla="*/ 30 w 142"/>
                  <a:gd name="T15" fmla="*/ 56 h 154"/>
                  <a:gd name="T16" fmla="*/ 22 w 142"/>
                  <a:gd name="T17" fmla="*/ 46 h 154"/>
                  <a:gd name="T18" fmla="*/ 24 w 142"/>
                  <a:gd name="T19" fmla="*/ 38 h 154"/>
                  <a:gd name="T20" fmla="*/ 35 w 142"/>
                  <a:gd name="T21" fmla="*/ 41 h 154"/>
                  <a:gd name="T22" fmla="*/ 51 w 142"/>
                  <a:gd name="T23" fmla="*/ 28 h 154"/>
                  <a:gd name="T24" fmla="*/ 67 w 142"/>
                  <a:gd name="T25" fmla="*/ 12 h 154"/>
                  <a:gd name="T26" fmla="*/ 71 w 142"/>
                  <a:gd name="T27" fmla="*/ 6 h 154"/>
                  <a:gd name="T28" fmla="*/ 88 w 142"/>
                  <a:gd name="T29" fmla="*/ 0 h 154"/>
                  <a:gd name="T30" fmla="*/ 89 w 142"/>
                  <a:gd name="T31" fmla="*/ 1 h 154"/>
                  <a:gd name="T32" fmla="*/ 93 w 142"/>
                  <a:gd name="T33" fmla="*/ 16 h 154"/>
                  <a:gd name="T34" fmla="*/ 112 w 142"/>
                  <a:gd name="T35" fmla="*/ 32 h 154"/>
                  <a:gd name="T36" fmla="*/ 124 w 142"/>
                  <a:gd name="T37" fmla="*/ 49 h 154"/>
                  <a:gd name="T38" fmla="*/ 134 w 142"/>
                  <a:gd name="T39" fmla="*/ 56 h 154"/>
                  <a:gd name="T40" fmla="*/ 135 w 142"/>
                  <a:gd name="T41" fmla="*/ 56 h 154"/>
                  <a:gd name="T42" fmla="*/ 137 w 142"/>
                  <a:gd name="T43" fmla="*/ 74 h 154"/>
                  <a:gd name="T44" fmla="*/ 135 w 142"/>
                  <a:gd name="T45" fmla="*/ 79 h 154"/>
                  <a:gd name="T46" fmla="*/ 129 w 142"/>
                  <a:gd name="T47" fmla="*/ 80 h 154"/>
                  <a:gd name="T48" fmla="*/ 123 w 142"/>
                  <a:gd name="T49" fmla="*/ 80 h 154"/>
                  <a:gd name="T50" fmla="*/ 109 w 142"/>
                  <a:gd name="T51" fmla="*/ 90 h 154"/>
                  <a:gd name="T52" fmla="*/ 102 w 142"/>
                  <a:gd name="T53" fmla="*/ 97 h 154"/>
                  <a:gd name="T54" fmla="*/ 95 w 142"/>
                  <a:gd name="T55" fmla="*/ 106 h 154"/>
                  <a:gd name="T56" fmla="*/ 91 w 142"/>
                  <a:gd name="T57" fmla="*/ 110 h 154"/>
                  <a:gd name="T58" fmla="*/ 92 w 142"/>
                  <a:gd name="T59" fmla="*/ 119 h 154"/>
                  <a:gd name="T60" fmla="*/ 92 w 142"/>
                  <a:gd name="T61" fmla="*/ 123 h 154"/>
                  <a:gd name="T62" fmla="*/ 81 w 142"/>
                  <a:gd name="T63" fmla="*/ 142 h 154"/>
                  <a:gd name="T64" fmla="*/ 74 w 142"/>
                  <a:gd name="T65" fmla="*/ 148 h 154"/>
                  <a:gd name="T66" fmla="*/ 43 w 142"/>
                  <a:gd name="T67" fmla="*/ 144 h 154"/>
                  <a:gd name="T68" fmla="*/ 36 w 142"/>
                  <a:gd name="T69" fmla="*/ 144 h 154"/>
                  <a:gd name="T70" fmla="*/ 14 w 142"/>
                  <a:gd name="T71" fmla="*/ 152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2" h="154">
                    <a:moveTo>
                      <a:pt x="13" y="154"/>
                    </a:moveTo>
                    <a:cubicBezTo>
                      <a:pt x="13" y="152"/>
                      <a:pt x="13" y="152"/>
                      <a:pt x="13" y="152"/>
                    </a:cubicBezTo>
                    <a:cubicBezTo>
                      <a:pt x="12" y="145"/>
                      <a:pt x="6" y="134"/>
                      <a:pt x="3" y="129"/>
                    </a:cubicBezTo>
                    <a:cubicBezTo>
                      <a:pt x="0" y="123"/>
                      <a:pt x="0" y="116"/>
                      <a:pt x="0" y="110"/>
                    </a:cubicBezTo>
                    <a:cubicBezTo>
                      <a:pt x="0" y="108"/>
                      <a:pt x="1" y="106"/>
                      <a:pt x="1" y="105"/>
                    </a:cubicBezTo>
                    <a:cubicBezTo>
                      <a:pt x="2" y="104"/>
                      <a:pt x="3" y="102"/>
                      <a:pt x="3" y="99"/>
                    </a:cubicBezTo>
                    <a:cubicBezTo>
                      <a:pt x="3" y="96"/>
                      <a:pt x="5" y="93"/>
                      <a:pt x="7" y="91"/>
                    </a:cubicBezTo>
                    <a:cubicBezTo>
                      <a:pt x="8" y="90"/>
                      <a:pt x="9" y="88"/>
                      <a:pt x="9" y="87"/>
                    </a:cubicBezTo>
                    <a:cubicBezTo>
                      <a:pt x="9" y="84"/>
                      <a:pt x="11" y="82"/>
                      <a:pt x="13" y="80"/>
                    </a:cubicBezTo>
                    <a:cubicBezTo>
                      <a:pt x="15" y="78"/>
                      <a:pt x="17" y="77"/>
                      <a:pt x="17" y="75"/>
                    </a:cubicBezTo>
                    <a:cubicBezTo>
                      <a:pt x="17" y="73"/>
                      <a:pt x="18" y="72"/>
                      <a:pt x="19" y="71"/>
                    </a:cubicBezTo>
                    <a:cubicBezTo>
                      <a:pt x="21" y="70"/>
                      <a:pt x="22" y="69"/>
                      <a:pt x="22" y="68"/>
                    </a:cubicBezTo>
                    <a:cubicBezTo>
                      <a:pt x="22" y="65"/>
                      <a:pt x="24" y="64"/>
                      <a:pt x="26" y="63"/>
                    </a:cubicBezTo>
                    <a:cubicBezTo>
                      <a:pt x="27" y="62"/>
                      <a:pt x="28" y="62"/>
                      <a:pt x="28" y="61"/>
                    </a:cubicBezTo>
                    <a:cubicBezTo>
                      <a:pt x="28" y="60"/>
                      <a:pt x="29" y="59"/>
                      <a:pt x="29" y="58"/>
                    </a:cubicBezTo>
                    <a:cubicBezTo>
                      <a:pt x="30" y="57"/>
                      <a:pt x="30" y="57"/>
                      <a:pt x="30" y="56"/>
                    </a:cubicBezTo>
                    <a:cubicBezTo>
                      <a:pt x="30" y="54"/>
                      <a:pt x="30" y="54"/>
                      <a:pt x="27" y="54"/>
                    </a:cubicBezTo>
                    <a:cubicBezTo>
                      <a:pt x="24" y="54"/>
                      <a:pt x="22" y="51"/>
                      <a:pt x="22" y="46"/>
                    </a:cubicBezTo>
                    <a:cubicBezTo>
                      <a:pt x="22" y="38"/>
                      <a:pt x="22" y="38"/>
                      <a:pt x="22" y="38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24" y="40"/>
                      <a:pt x="26" y="41"/>
                      <a:pt x="32" y="41"/>
                    </a:cubicBezTo>
                    <a:cubicBezTo>
                      <a:pt x="33" y="41"/>
                      <a:pt x="34" y="41"/>
                      <a:pt x="35" y="41"/>
                    </a:cubicBezTo>
                    <a:cubicBezTo>
                      <a:pt x="37" y="41"/>
                      <a:pt x="38" y="41"/>
                      <a:pt x="39" y="41"/>
                    </a:cubicBezTo>
                    <a:cubicBezTo>
                      <a:pt x="47" y="41"/>
                      <a:pt x="51" y="33"/>
                      <a:pt x="51" y="28"/>
                    </a:cubicBezTo>
                    <a:cubicBezTo>
                      <a:pt x="51" y="22"/>
                      <a:pt x="54" y="20"/>
                      <a:pt x="61" y="18"/>
                    </a:cubicBezTo>
                    <a:cubicBezTo>
                      <a:pt x="65" y="17"/>
                      <a:pt x="66" y="15"/>
                      <a:pt x="67" y="12"/>
                    </a:cubicBezTo>
                    <a:cubicBezTo>
                      <a:pt x="68" y="11"/>
                      <a:pt x="68" y="9"/>
                      <a:pt x="70" y="8"/>
                    </a:cubicBezTo>
                    <a:cubicBezTo>
                      <a:pt x="70" y="7"/>
                      <a:pt x="70" y="6"/>
                      <a:pt x="71" y="6"/>
                    </a:cubicBezTo>
                    <a:cubicBezTo>
                      <a:pt x="73" y="2"/>
                      <a:pt x="75" y="0"/>
                      <a:pt x="79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89" y="1"/>
                      <a:pt x="89" y="1"/>
                      <a:pt x="89" y="1"/>
                    </a:cubicBezTo>
                    <a:cubicBezTo>
                      <a:pt x="89" y="4"/>
                      <a:pt x="89" y="6"/>
                      <a:pt x="89" y="9"/>
                    </a:cubicBezTo>
                    <a:cubicBezTo>
                      <a:pt x="89" y="11"/>
                      <a:pt x="91" y="13"/>
                      <a:pt x="93" y="16"/>
                    </a:cubicBezTo>
                    <a:cubicBezTo>
                      <a:pt x="95" y="19"/>
                      <a:pt x="98" y="21"/>
                      <a:pt x="98" y="24"/>
                    </a:cubicBezTo>
                    <a:cubicBezTo>
                      <a:pt x="98" y="32"/>
                      <a:pt x="109" y="32"/>
                      <a:pt x="112" y="32"/>
                    </a:cubicBezTo>
                    <a:cubicBezTo>
                      <a:pt x="114" y="32"/>
                      <a:pt x="117" y="36"/>
                      <a:pt x="120" y="42"/>
                    </a:cubicBezTo>
                    <a:cubicBezTo>
                      <a:pt x="122" y="45"/>
                      <a:pt x="123" y="47"/>
                      <a:pt x="124" y="49"/>
                    </a:cubicBezTo>
                    <a:cubicBezTo>
                      <a:pt x="128" y="54"/>
                      <a:pt x="130" y="56"/>
                      <a:pt x="133" y="56"/>
                    </a:cubicBezTo>
                    <a:cubicBezTo>
                      <a:pt x="134" y="56"/>
                      <a:pt x="134" y="56"/>
                      <a:pt x="134" y="56"/>
                    </a:cubicBezTo>
                    <a:cubicBezTo>
                      <a:pt x="135" y="55"/>
                      <a:pt x="135" y="55"/>
                      <a:pt x="135" y="55"/>
                    </a:cubicBezTo>
                    <a:cubicBezTo>
                      <a:pt x="135" y="56"/>
                      <a:pt x="135" y="56"/>
                      <a:pt x="135" y="56"/>
                    </a:cubicBezTo>
                    <a:cubicBezTo>
                      <a:pt x="136" y="56"/>
                      <a:pt x="142" y="60"/>
                      <a:pt x="142" y="65"/>
                    </a:cubicBezTo>
                    <a:cubicBezTo>
                      <a:pt x="142" y="69"/>
                      <a:pt x="142" y="72"/>
                      <a:pt x="137" y="74"/>
                    </a:cubicBezTo>
                    <a:cubicBezTo>
                      <a:pt x="135" y="75"/>
                      <a:pt x="135" y="76"/>
                      <a:pt x="135" y="77"/>
                    </a:cubicBezTo>
                    <a:cubicBezTo>
                      <a:pt x="135" y="78"/>
                      <a:pt x="136" y="79"/>
                      <a:pt x="135" y="79"/>
                    </a:cubicBezTo>
                    <a:cubicBezTo>
                      <a:pt x="135" y="80"/>
                      <a:pt x="134" y="80"/>
                      <a:pt x="133" y="80"/>
                    </a:cubicBezTo>
                    <a:cubicBezTo>
                      <a:pt x="132" y="80"/>
                      <a:pt x="131" y="80"/>
                      <a:pt x="129" y="80"/>
                    </a:cubicBezTo>
                    <a:cubicBezTo>
                      <a:pt x="128" y="80"/>
                      <a:pt x="126" y="80"/>
                      <a:pt x="125" y="80"/>
                    </a:cubicBezTo>
                    <a:cubicBezTo>
                      <a:pt x="124" y="80"/>
                      <a:pt x="124" y="80"/>
                      <a:pt x="123" y="80"/>
                    </a:cubicBezTo>
                    <a:cubicBezTo>
                      <a:pt x="121" y="80"/>
                      <a:pt x="117" y="80"/>
                      <a:pt x="117" y="82"/>
                    </a:cubicBezTo>
                    <a:cubicBezTo>
                      <a:pt x="117" y="85"/>
                      <a:pt x="114" y="90"/>
                      <a:pt x="109" y="90"/>
                    </a:cubicBezTo>
                    <a:cubicBezTo>
                      <a:pt x="107" y="90"/>
                      <a:pt x="106" y="91"/>
                      <a:pt x="104" y="94"/>
                    </a:cubicBezTo>
                    <a:cubicBezTo>
                      <a:pt x="104" y="95"/>
                      <a:pt x="103" y="96"/>
                      <a:pt x="102" y="97"/>
                    </a:cubicBezTo>
                    <a:cubicBezTo>
                      <a:pt x="101" y="98"/>
                      <a:pt x="101" y="100"/>
                      <a:pt x="100" y="101"/>
                    </a:cubicBezTo>
                    <a:cubicBezTo>
                      <a:pt x="99" y="104"/>
                      <a:pt x="98" y="106"/>
                      <a:pt x="95" y="106"/>
                    </a:cubicBezTo>
                    <a:cubicBezTo>
                      <a:pt x="90" y="106"/>
                      <a:pt x="90" y="107"/>
                      <a:pt x="90" y="108"/>
                    </a:cubicBezTo>
                    <a:cubicBezTo>
                      <a:pt x="90" y="108"/>
                      <a:pt x="91" y="109"/>
                      <a:pt x="91" y="110"/>
                    </a:cubicBezTo>
                    <a:cubicBezTo>
                      <a:pt x="92" y="111"/>
                      <a:pt x="94" y="113"/>
                      <a:pt x="94" y="115"/>
                    </a:cubicBezTo>
                    <a:cubicBezTo>
                      <a:pt x="94" y="117"/>
                      <a:pt x="93" y="118"/>
                      <a:pt x="92" y="119"/>
                    </a:cubicBezTo>
                    <a:cubicBezTo>
                      <a:pt x="92" y="120"/>
                      <a:pt x="91" y="120"/>
                      <a:pt x="91" y="121"/>
                    </a:cubicBezTo>
                    <a:cubicBezTo>
                      <a:pt x="91" y="122"/>
                      <a:pt x="92" y="122"/>
                      <a:pt x="92" y="123"/>
                    </a:cubicBezTo>
                    <a:cubicBezTo>
                      <a:pt x="93" y="125"/>
                      <a:pt x="93" y="126"/>
                      <a:pt x="91" y="129"/>
                    </a:cubicBezTo>
                    <a:cubicBezTo>
                      <a:pt x="86" y="132"/>
                      <a:pt x="82" y="136"/>
                      <a:pt x="81" y="142"/>
                    </a:cubicBezTo>
                    <a:cubicBezTo>
                      <a:pt x="81" y="143"/>
                      <a:pt x="81" y="143"/>
                      <a:pt x="80" y="143"/>
                    </a:cubicBezTo>
                    <a:cubicBezTo>
                      <a:pt x="80" y="147"/>
                      <a:pt x="79" y="148"/>
                      <a:pt x="74" y="148"/>
                    </a:cubicBezTo>
                    <a:cubicBezTo>
                      <a:pt x="51" y="148"/>
                      <a:pt x="51" y="148"/>
                      <a:pt x="51" y="148"/>
                    </a:cubicBezTo>
                    <a:cubicBezTo>
                      <a:pt x="48" y="148"/>
                      <a:pt x="46" y="146"/>
                      <a:pt x="43" y="144"/>
                    </a:cubicBezTo>
                    <a:cubicBezTo>
                      <a:pt x="42" y="143"/>
                      <a:pt x="40" y="141"/>
                      <a:pt x="39" y="141"/>
                    </a:cubicBezTo>
                    <a:cubicBezTo>
                      <a:pt x="38" y="141"/>
                      <a:pt x="37" y="142"/>
                      <a:pt x="36" y="144"/>
                    </a:cubicBezTo>
                    <a:cubicBezTo>
                      <a:pt x="35" y="145"/>
                      <a:pt x="33" y="147"/>
                      <a:pt x="30" y="147"/>
                    </a:cubicBezTo>
                    <a:cubicBezTo>
                      <a:pt x="21" y="147"/>
                      <a:pt x="14" y="152"/>
                      <a:pt x="14" y="152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40" name="Freeform 24"/>
              <p:cNvSpPr>
                <a:spLocks/>
              </p:cNvSpPr>
              <p:nvPr/>
            </p:nvSpPr>
            <p:spPr bwMode="auto">
              <a:xfrm>
                <a:off x="1279" y="1907"/>
                <a:ext cx="469" cy="722"/>
              </a:xfrm>
              <a:custGeom>
                <a:avLst/>
                <a:gdLst>
                  <a:gd name="T0" fmla="*/ 165 w 198"/>
                  <a:gd name="T1" fmla="*/ 305 h 305"/>
                  <a:gd name="T2" fmla="*/ 137 w 198"/>
                  <a:gd name="T3" fmla="*/ 292 h 305"/>
                  <a:gd name="T4" fmla="*/ 121 w 198"/>
                  <a:gd name="T5" fmla="*/ 267 h 305"/>
                  <a:gd name="T6" fmla="*/ 124 w 198"/>
                  <a:gd name="T7" fmla="*/ 260 h 305"/>
                  <a:gd name="T8" fmla="*/ 118 w 198"/>
                  <a:gd name="T9" fmla="*/ 251 h 305"/>
                  <a:gd name="T10" fmla="*/ 118 w 198"/>
                  <a:gd name="T11" fmla="*/ 241 h 305"/>
                  <a:gd name="T12" fmla="*/ 104 w 198"/>
                  <a:gd name="T13" fmla="*/ 193 h 305"/>
                  <a:gd name="T14" fmla="*/ 95 w 198"/>
                  <a:gd name="T15" fmla="*/ 186 h 305"/>
                  <a:gd name="T16" fmla="*/ 88 w 198"/>
                  <a:gd name="T17" fmla="*/ 178 h 305"/>
                  <a:gd name="T18" fmla="*/ 88 w 198"/>
                  <a:gd name="T19" fmla="*/ 170 h 305"/>
                  <a:gd name="T20" fmla="*/ 75 w 198"/>
                  <a:gd name="T21" fmla="*/ 154 h 305"/>
                  <a:gd name="T22" fmla="*/ 62 w 198"/>
                  <a:gd name="T23" fmla="*/ 147 h 305"/>
                  <a:gd name="T24" fmla="*/ 39 w 198"/>
                  <a:gd name="T25" fmla="*/ 148 h 305"/>
                  <a:gd name="T26" fmla="*/ 37 w 198"/>
                  <a:gd name="T27" fmla="*/ 153 h 305"/>
                  <a:gd name="T28" fmla="*/ 19 w 198"/>
                  <a:gd name="T29" fmla="*/ 163 h 305"/>
                  <a:gd name="T30" fmla="*/ 0 w 198"/>
                  <a:gd name="T31" fmla="*/ 160 h 305"/>
                  <a:gd name="T32" fmla="*/ 14 w 198"/>
                  <a:gd name="T33" fmla="*/ 145 h 305"/>
                  <a:gd name="T34" fmla="*/ 14 w 198"/>
                  <a:gd name="T35" fmla="*/ 145 h 305"/>
                  <a:gd name="T36" fmla="*/ 26 w 198"/>
                  <a:gd name="T37" fmla="*/ 126 h 305"/>
                  <a:gd name="T38" fmla="*/ 17 w 198"/>
                  <a:gd name="T39" fmla="*/ 108 h 305"/>
                  <a:gd name="T40" fmla="*/ 21 w 198"/>
                  <a:gd name="T41" fmla="*/ 95 h 305"/>
                  <a:gd name="T42" fmla="*/ 30 w 198"/>
                  <a:gd name="T43" fmla="*/ 86 h 305"/>
                  <a:gd name="T44" fmla="*/ 40 w 198"/>
                  <a:gd name="T45" fmla="*/ 83 h 305"/>
                  <a:gd name="T46" fmla="*/ 32 w 198"/>
                  <a:gd name="T47" fmla="*/ 74 h 305"/>
                  <a:gd name="T48" fmla="*/ 24 w 198"/>
                  <a:gd name="T49" fmla="*/ 62 h 305"/>
                  <a:gd name="T50" fmla="*/ 34 w 198"/>
                  <a:gd name="T51" fmla="*/ 51 h 305"/>
                  <a:gd name="T52" fmla="*/ 57 w 198"/>
                  <a:gd name="T53" fmla="*/ 58 h 305"/>
                  <a:gd name="T54" fmla="*/ 70 w 198"/>
                  <a:gd name="T55" fmla="*/ 66 h 305"/>
                  <a:gd name="T56" fmla="*/ 80 w 198"/>
                  <a:gd name="T57" fmla="*/ 69 h 305"/>
                  <a:gd name="T58" fmla="*/ 96 w 198"/>
                  <a:gd name="T59" fmla="*/ 59 h 305"/>
                  <a:gd name="T60" fmla="*/ 95 w 198"/>
                  <a:gd name="T61" fmla="*/ 51 h 305"/>
                  <a:gd name="T62" fmla="*/ 102 w 198"/>
                  <a:gd name="T63" fmla="*/ 40 h 305"/>
                  <a:gd name="T64" fmla="*/ 125 w 198"/>
                  <a:gd name="T65" fmla="*/ 14 h 305"/>
                  <a:gd name="T66" fmla="*/ 134 w 198"/>
                  <a:gd name="T67" fmla="*/ 2 h 305"/>
                  <a:gd name="T68" fmla="*/ 136 w 198"/>
                  <a:gd name="T69" fmla="*/ 2 h 305"/>
                  <a:gd name="T70" fmla="*/ 146 w 198"/>
                  <a:gd name="T71" fmla="*/ 2 h 305"/>
                  <a:gd name="T72" fmla="*/ 152 w 198"/>
                  <a:gd name="T73" fmla="*/ 2 h 305"/>
                  <a:gd name="T74" fmla="*/ 160 w 198"/>
                  <a:gd name="T75" fmla="*/ 3 h 305"/>
                  <a:gd name="T76" fmla="*/ 163 w 198"/>
                  <a:gd name="T77" fmla="*/ 14 h 305"/>
                  <a:gd name="T78" fmla="*/ 162 w 198"/>
                  <a:gd name="T79" fmla="*/ 20 h 305"/>
                  <a:gd name="T80" fmla="*/ 153 w 198"/>
                  <a:gd name="T81" fmla="*/ 28 h 305"/>
                  <a:gd name="T82" fmla="*/ 160 w 198"/>
                  <a:gd name="T83" fmla="*/ 44 h 305"/>
                  <a:gd name="T84" fmla="*/ 151 w 198"/>
                  <a:gd name="T85" fmla="*/ 56 h 305"/>
                  <a:gd name="T86" fmla="*/ 164 w 198"/>
                  <a:gd name="T87" fmla="*/ 67 h 305"/>
                  <a:gd name="T88" fmla="*/ 179 w 198"/>
                  <a:gd name="T89" fmla="*/ 74 h 305"/>
                  <a:gd name="T90" fmla="*/ 178 w 198"/>
                  <a:gd name="T91" fmla="*/ 84 h 305"/>
                  <a:gd name="T92" fmla="*/ 190 w 198"/>
                  <a:gd name="T93" fmla="*/ 101 h 305"/>
                  <a:gd name="T94" fmla="*/ 193 w 198"/>
                  <a:gd name="T95" fmla="*/ 115 h 305"/>
                  <a:gd name="T96" fmla="*/ 197 w 198"/>
                  <a:gd name="T97" fmla="*/ 122 h 305"/>
                  <a:gd name="T98" fmla="*/ 193 w 198"/>
                  <a:gd name="T99" fmla="*/ 128 h 305"/>
                  <a:gd name="T100" fmla="*/ 187 w 198"/>
                  <a:gd name="T101" fmla="*/ 136 h 305"/>
                  <a:gd name="T102" fmla="*/ 181 w 198"/>
                  <a:gd name="T103" fmla="*/ 144 h 305"/>
                  <a:gd name="T104" fmla="*/ 174 w 198"/>
                  <a:gd name="T105" fmla="*/ 156 h 305"/>
                  <a:gd name="T106" fmla="*/ 169 w 198"/>
                  <a:gd name="T107" fmla="*/ 169 h 305"/>
                  <a:gd name="T108" fmla="*/ 171 w 198"/>
                  <a:gd name="T109" fmla="*/ 191 h 305"/>
                  <a:gd name="T110" fmla="*/ 181 w 198"/>
                  <a:gd name="T111" fmla="*/ 216 h 305"/>
                  <a:gd name="T112" fmla="*/ 182 w 198"/>
                  <a:gd name="T113" fmla="*/ 227 h 305"/>
                  <a:gd name="T114" fmla="*/ 181 w 198"/>
                  <a:gd name="T115" fmla="*/ 240 h 305"/>
                  <a:gd name="T116" fmla="*/ 190 w 198"/>
                  <a:gd name="T117" fmla="*/ 261 h 305"/>
                  <a:gd name="T118" fmla="*/ 180 w 198"/>
                  <a:gd name="T119" fmla="*/ 278 h 305"/>
                  <a:gd name="T120" fmla="*/ 167 w 198"/>
                  <a:gd name="T121" fmla="*/ 295 h 305"/>
                  <a:gd name="T122" fmla="*/ 166 w 198"/>
                  <a:gd name="T123" fmla="*/ 304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98" h="305">
                    <a:moveTo>
                      <a:pt x="166" y="305"/>
                    </a:moveTo>
                    <a:cubicBezTo>
                      <a:pt x="165" y="305"/>
                      <a:pt x="165" y="305"/>
                      <a:pt x="165" y="305"/>
                    </a:cubicBezTo>
                    <a:cubicBezTo>
                      <a:pt x="149" y="305"/>
                      <a:pt x="149" y="305"/>
                      <a:pt x="149" y="305"/>
                    </a:cubicBezTo>
                    <a:cubicBezTo>
                      <a:pt x="142" y="305"/>
                      <a:pt x="137" y="299"/>
                      <a:pt x="137" y="292"/>
                    </a:cubicBezTo>
                    <a:cubicBezTo>
                      <a:pt x="137" y="286"/>
                      <a:pt x="132" y="276"/>
                      <a:pt x="128" y="276"/>
                    </a:cubicBezTo>
                    <a:cubicBezTo>
                      <a:pt x="124" y="276"/>
                      <a:pt x="121" y="272"/>
                      <a:pt x="121" y="267"/>
                    </a:cubicBezTo>
                    <a:cubicBezTo>
                      <a:pt x="121" y="266"/>
                      <a:pt x="122" y="264"/>
                      <a:pt x="122" y="263"/>
                    </a:cubicBezTo>
                    <a:cubicBezTo>
                      <a:pt x="123" y="262"/>
                      <a:pt x="124" y="262"/>
                      <a:pt x="124" y="260"/>
                    </a:cubicBezTo>
                    <a:cubicBezTo>
                      <a:pt x="124" y="258"/>
                      <a:pt x="122" y="257"/>
                      <a:pt x="121" y="256"/>
                    </a:cubicBezTo>
                    <a:cubicBezTo>
                      <a:pt x="120" y="255"/>
                      <a:pt x="118" y="253"/>
                      <a:pt x="118" y="251"/>
                    </a:cubicBezTo>
                    <a:cubicBezTo>
                      <a:pt x="118" y="250"/>
                      <a:pt x="118" y="249"/>
                      <a:pt x="119" y="248"/>
                    </a:cubicBezTo>
                    <a:cubicBezTo>
                      <a:pt x="119" y="246"/>
                      <a:pt x="120" y="243"/>
                      <a:pt x="118" y="241"/>
                    </a:cubicBezTo>
                    <a:cubicBezTo>
                      <a:pt x="117" y="238"/>
                      <a:pt x="112" y="228"/>
                      <a:pt x="112" y="221"/>
                    </a:cubicBezTo>
                    <a:cubicBezTo>
                      <a:pt x="112" y="212"/>
                      <a:pt x="111" y="200"/>
                      <a:pt x="104" y="193"/>
                    </a:cubicBezTo>
                    <a:cubicBezTo>
                      <a:pt x="101" y="190"/>
                      <a:pt x="99" y="189"/>
                      <a:pt x="98" y="188"/>
                    </a:cubicBezTo>
                    <a:cubicBezTo>
                      <a:pt x="97" y="187"/>
                      <a:pt x="96" y="187"/>
                      <a:pt x="95" y="186"/>
                    </a:cubicBezTo>
                    <a:cubicBezTo>
                      <a:pt x="95" y="185"/>
                      <a:pt x="94" y="185"/>
                      <a:pt x="93" y="184"/>
                    </a:cubicBezTo>
                    <a:cubicBezTo>
                      <a:pt x="91" y="183"/>
                      <a:pt x="88" y="182"/>
                      <a:pt x="88" y="178"/>
                    </a:cubicBezTo>
                    <a:cubicBezTo>
                      <a:pt x="88" y="176"/>
                      <a:pt x="88" y="175"/>
                      <a:pt x="88" y="173"/>
                    </a:cubicBezTo>
                    <a:cubicBezTo>
                      <a:pt x="88" y="172"/>
                      <a:pt x="88" y="171"/>
                      <a:pt x="88" y="170"/>
                    </a:cubicBezTo>
                    <a:cubicBezTo>
                      <a:pt x="88" y="168"/>
                      <a:pt x="85" y="165"/>
                      <a:pt x="80" y="162"/>
                    </a:cubicBezTo>
                    <a:cubicBezTo>
                      <a:pt x="78" y="160"/>
                      <a:pt x="77" y="157"/>
                      <a:pt x="75" y="154"/>
                    </a:cubicBezTo>
                    <a:cubicBezTo>
                      <a:pt x="73" y="151"/>
                      <a:pt x="72" y="148"/>
                      <a:pt x="70" y="148"/>
                    </a:cubicBezTo>
                    <a:cubicBezTo>
                      <a:pt x="67" y="148"/>
                      <a:pt x="65" y="147"/>
                      <a:pt x="62" y="147"/>
                    </a:cubicBezTo>
                    <a:cubicBezTo>
                      <a:pt x="59" y="146"/>
                      <a:pt x="56" y="146"/>
                      <a:pt x="53" y="146"/>
                    </a:cubicBezTo>
                    <a:cubicBezTo>
                      <a:pt x="48" y="146"/>
                      <a:pt x="42" y="146"/>
                      <a:pt x="39" y="148"/>
                    </a:cubicBezTo>
                    <a:cubicBezTo>
                      <a:pt x="37" y="150"/>
                      <a:pt x="37" y="150"/>
                      <a:pt x="37" y="151"/>
                    </a:cubicBezTo>
                    <a:cubicBezTo>
                      <a:pt x="37" y="152"/>
                      <a:pt x="37" y="152"/>
                      <a:pt x="37" y="153"/>
                    </a:cubicBezTo>
                    <a:cubicBezTo>
                      <a:pt x="37" y="155"/>
                      <a:pt x="34" y="161"/>
                      <a:pt x="27" y="161"/>
                    </a:cubicBezTo>
                    <a:cubicBezTo>
                      <a:pt x="24" y="161"/>
                      <a:pt x="22" y="162"/>
                      <a:pt x="19" y="163"/>
                    </a:cubicBezTo>
                    <a:cubicBezTo>
                      <a:pt x="17" y="164"/>
                      <a:pt x="14" y="165"/>
                      <a:pt x="10" y="165"/>
                    </a:cubicBezTo>
                    <a:cubicBezTo>
                      <a:pt x="2" y="165"/>
                      <a:pt x="0" y="164"/>
                      <a:pt x="0" y="160"/>
                    </a:cubicBezTo>
                    <a:cubicBezTo>
                      <a:pt x="0" y="156"/>
                      <a:pt x="1" y="150"/>
                      <a:pt x="6" y="150"/>
                    </a:cubicBezTo>
                    <a:cubicBezTo>
                      <a:pt x="10" y="150"/>
                      <a:pt x="12" y="147"/>
                      <a:pt x="14" y="145"/>
                    </a:cubicBezTo>
                    <a:cubicBezTo>
                      <a:pt x="14" y="145"/>
                      <a:pt x="14" y="145"/>
                      <a:pt x="14" y="145"/>
                    </a:cubicBezTo>
                    <a:cubicBezTo>
                      <a:pt x="14" y="145"/>
                      <a:pt x="14" y="145"/>
                      <a:pt x="14" y="145"/>
                    </a:cubicBezTo>
                    <a:cubicBezTo>
                      <a:pt x="16" y="143"/>
                      <a:pt x="17" y="141"/>
                      <a:pt x="20" y="141"/>
                    </a:cubicBezTo>
                    <a:cubicBezTo>
                      <a:pt x="22" y="141"/>
                      <a:pt x="26" y="135"/>
                      <a:pt x="26" y="126"/>
                    </a:cubicBezTo>
                    <a:cubicBezTo>
                      <a:pt x="26" y="121"/>
                      <a:pt x="23" y="119"/>
                      <a:pt x="21" y="116"/>
                    </a:cubicBezTo>
                    <a:cubicBezTo>
                      <a:pt x="19" y="113"/>
                      <a:pt x="17" y="111"/>
                      <a:pt x="17" y="108"/>
                    </a:cubicBezTo>
                    <a:cubicBezTo>
                      <a:pt x="17" y="104"/>
                      <a:pt x="18" y="102"/>
                      <a:pt x="19" y="100"/>
                    </a:cubicBezTo>
                    <a:cubicBezTo>
                      <a:pt x="20" y="98"/>
                      <a:pt x="21" y="97"/>
                      <a:pt x="21" y="95"/>
                    </a:cubicBezTo>
                    <a:cubicBezTo>
                      <a:pt x="21" y="92"/>
                      <a:pt x="21" y="84"/>
                      <a:pt x="26" y="84"/>
                    </a:cubicBezTo>
                    <a:cubicBezTo>
                      <a:pt x="28" y="84"/>
                      <a:pt x="29" y="85"/>
                      <a:pt x="30" y="86"/>
                    </a:cubicBezTo>
                    <a:cubicBezTo>
                      <a:pt x="30" y="87"/>
                      <a:pt x="31" y="88"/>
                      <a:pt x="33" y="88"/>
                    </a:cubicBezTo>
                    <a:cubicBezTo>
                      <a:pt x="36" y="88"/>
                      <a:pt x="40" y="86"/>
                      <a:pt x="40" y="83"/>
                    </a:cubicBezTo>
                    <a:cubicBezTo>
                      <a:pt x="40" y="80"/>
                      <a:pt x="36" y="77"/>
                      <a:pt x="33" y="75"/>
                    </a:cubicBezTo>
                    <a:cubicBezTo>
                      <a:pt x="33" y="75"/>
                      <a:pt x="32" y="74"/>
                      <a:pt x="32" y="74"/>
                    </a:cubicBezTo>
                    <a:cubicBezTo>
                      <a:pt x="29" y="72"/>
                      <a:pt x="26" y="69"/>
                      <a:pt x="26" y="65"/>
                    </a:cubicBezTo>
                    <a:cubicBezTo>
                      <a:pt x="26" y="64"/>
                      <a:pt x="26" y="63"/>
                      <a:pt x="24" y="62"/>
                    </a:cubicBezTo>
                    <a:cubicBezTo>
                      <a:pt x="23" y="61"/>
                      <a:pt x="22" y="60"/>
                      <a:pt x="22" y="58"/>
                    </a:cubicBezTo>
                    <a:cubicBezTo>
                      <a:pt x="22" y="54"/>
                      <a:pt x="29" y="51"/>
                      <a:pt x="34" y="51"/>
                    </a:cubicBezTo>
                    <a:cubicBezTo>
                      <a:pt x="39" y="51"/>
                      <a:pt x="43" y="52"/>
                      <a:pt x="44" y="52"/>
                    </a:cubicBezTo>
                    <a:cubicBezTo>
                      <a:pt x="49" y="52"/>
                      <a:pt x="53" y="56"/>
                      <a:pt x="57" y="58"/>
                    </a:cubicBezTo>
                    <a:cubicBezTo>
                      <a:pt x="59" y="60"/>
                      <a:pt x="61" y="62"/>
                      <a:pt x="62" y="62"/>
                    </a:cubicBezTo>
                    <a:cubicBezTo>
                      <a:pt x="65" y="62"/>
                      <a:pt x="67" y="64"/>
                      <a:pt x="70" y="66"/>
                    </a:cubicBezTo>
                    <a:cubicBezTo>
                      <a:pt x="72" y="68"/>
                      <a:pt x="75" y="71"/>
                      <a:pt x="77" y="71"/>
                    </a:cubicBezTo>
                    <a:cubicBezTo>
                      <a:pt x="78" y="71"/>
                      <a:pt x="79" y="70"/>
                      <a:pt x="80" y="69"/>
                    </a:cubicBezTo>
                    <a:cubicBezTo>
                      <a:pt x="82" y="68"/>
                      <a:pt x="84" y="67"/>
                      <a:pt x="88" y="67"/>
                    </a:cubicBezTo>
                    <a:cubicBezTo>
                      <a:pt x="93" y="67"/>
                      <a:pt x="96" y="64"/>
                      <a:pt x="96" y="59"/>
                    </a:cubicBezTo>
                    <a:cubicBezTo>
                      <a:pt x="96" y="58"/>
                      <a:pt x="96" y="58"/>
                      <a:pt x="96" y="57"/>
                    </a:cubicBezTo>
                    <a:cubicBezTo>
                      <a:pt x="96" y="56"/>
                      <a:pt x="95" y="54"/>
                      <a:pt x="95" y="51"/>
                    </a:cubicBezTo>
                    <a:cubicBezTo>
                      <a:pt x="95" y="48"/>
                      <a:pt x="97" y="46"/>
                      <a:pt x="99" y="45"/>
                    </a:cubicBezTo>
                    <a:cubicBezTo>
                      <a:pt x="100" y="44"/>
                      <a:pt x="102" y="42"/>
                      <a:pt x="102" y="40"/>
                    </a:cubicBezTo>
                    <a:cubicBezTo>
                      <a:pt x="102" y="33"/>
                      <a:pt x="109" y="23"/>
                      <a:pt x="116" y="23"/>
                    </a:cubicBezTo>
                    <a:cubicBezTo>
                      <a:pt x="120" y="23"/>
                      <a:pt x="122" y="20"/>
                      <a:pt x="125" y="14"/>
                    </a:cubicBezTo>
                    <a:cubicBezTo>
                      <a:pt x="127" y="9"/>
                      <a:pt x="134" y="3"/>
                      <a:pt x="134" y="3"/>
                    </a:cubicBezTo>
                    <a:cubicBezTo>
                      <a:pt x="134" y="2"/>
                      <a:pt x="134" y="2"/>
                      <a:pt x="134" y="2"/>
                    </a:cubicBezTo>
                    <a:cubicBezTo>
                      <a:pt x="135" y="2"/>
                      <a:pt x="135" y="2"/>
                      <a:pt x="135" y="2"/>
                    </a:cubicBezTo>
                    <a:cubicBezTo>
                      <a:pt x="135" y="2"/>
                      <a:pt x="135" y="2"/>
                      <a:pt x="136" y="2"/>
                    </a:cubicBezTo>
                    <a:cubicBezTo>
                      <a:pt x="136" y="1"/>
                      <a:pt x="137" y="0"/>
                      <a:pt x="140" y="0"/>
                    </a:cubicBezTo>
                    <a:cubicBezTo>
                      <a:pt x="142" y="0"/>
                      <a:pt x="144" y="1"/>
                      <a:pt x="146" y="2"/>
                    </a:cubicBezTo>
                    <a:cubicBezTo>
                      <a:pt x="147" y="2"/>
                      <a:pt x="148" y="3"/>
                      <a:pt x="149" y="3"/>
                    </a:cubicBezTo>
                    <a:cubicBezTo>
                      <a:pt x="150" y="3"/>
                      <a:pt x="151" y="3"/>
                      <a:pt x="152" y="2"/>
                    </a:cubicBezTo>
                    <a:cubicBezTo>
                      <a:pt x="153" y="2"/>
                      <a:pt x="155" y="1"/>
                      <a:pt x="156" y="1"/>
                    </a:cubicBezTo>
                    <a:cubicBezTo>
                      <a:pt x="158" y="1"/>
                      <a:pt x="159" y="2"/>
                      <a:pt x="160" y="3"/>
                    </a:cubicBezTo>
                    <a:cubicBezTo>
                      <a:pt x="163" y="6"/>
                      <a:pt x="163" y="12"/>
                      <a:pt x="163" y="14"/>
                    </a:cubicBezTo>
                    <a:cubicBezTo>
                      <a:pt x="163" y="14"/>
                      <a:pt x="163" y="14"/>
                      <a:pt x="163" y="14"/>
                    </a:cubicBezTo>
                    <a:cubicBezTo>
                      <a:pt x="163" y="15"/>
                      <a:pt x="163" y="15"/>
                      <a:pt x="163" y="15"/>
                    </a:cubicBezTo>
                    <a:cubicBezTo>
                      <a:pt x="163" y="17"/>
                      <a:pt x="163" y="19"/>
                      <a:pt x="162" y="20"/>
                    </a:cubicBezTo>
                    <a:cubicBezTo>
                      <a:pt x="161" y="21"/>
                      <a:pt x="160" y="21"/>
                      <a:pt x="159" y="21"/>
                    </a:cubicBezTo>
                    <a:cubicBezTo>
                      <a:pt x="155" y="21"/>
                      <a:pt x="153" y="23"/>
                      <a:pt x="153" y="28"/>
                    </a:cubicBezTo>
                    <a:cubicBezTo>
                      <a:pt x="153" y="30"/>
                      <a:pt x="155" y="33"/>
                      <a:pt x="157" y="36"/>
                    </a:cubicBezTo>
                    <a:cubicBezTo>
                      <a:pt x="158" y="39"/>
                      <a:pt x="160" y="41"/>
                      <a:pt x="160" y="44"/>
                    </a:cubicBezTo>
                    <a:cubicBezTo>
                      <a:pt x="160" y="47"/>
                      <a:pt x="157" y="49"/>
                      <a:pt x="155" y="51"/>
                    </a:cubicBezTo>
                    <a:cubicBezTo>
                      <a:pt x="153" y="53"/>
                      <a:pt x="151" y="54"/>
                      <a:pt x="151" y="56"/>
                    </a:cubicBezTo>
                    <a:cubicBezTo>
                      <a:pt x="151" y="58"/>
                      <a:pt x="156" y="70"/>
                      <a:pt x="160" y="70"/>
                    </a:cubicBezTo>
                    <a:cubicBezTo>
                      <a:pt x="162" y="70"/>
                      <a:pt x="163" y="69"/>
                      <a:pt x="164" y="67"/>
                    </a:cubicBezTo>
                    <a:cubicBezTo>
                      <a:pt x="165" y="66"/>
                      <a:pt x="167" y="64"/>
                      <a:pt x="169" y="64"/>
                    </a:cubicBezTo>
                    <a:cubicBezTo>
                      <a:pt x="174" y="64"/>
                      <a:pt x="179" y="70"/>
                      <a:pt x="179" y="74"/>
                    </a:cubicBezTo>
                    <a:cubicBezTo>
                      <a:pt x="179" y="76"/>
                      <a:pt x="178" y="77"/>
                      <a:pt x="178" y="78"/>
                    </a:cubicBezTo>
                    <a:cubicBezTo>
                      <a:pt x="178" y="79"/>
                      <a:pt x="178" y="81"/>
                      <a:pt x="178" y="84"/>
                    </a:cubicBezTo>
                    <a:cubicBezTo>
                      <a:pt x="178" y="87"/>
                      <a:pt x="180" y="89"/>
                      <a:pt x="183" y="91"/>
                    </a:cubicBezTo>
                    <a:cubicBezTo>
                      <a:pt x="186" y="94"/>
                      <a:pt x="190" y="97"/>
                      <a:pt x="190" y="101"/>
                    </a:cubicBezTo>
                    <a:cubicBezTo>
                      <a:pt x="190" y="109"/>
                      <a:pt x="190" y="109"/>
                      <a:pt x="190" y="109"/>
                    </a:cubicBezTo>
                    <a:cubicBezTo>
                      <a:pt x="190" y="112"/>
                      <a:pt x="190" y="115"/>
                      <a:pt x="193" y="115"/>
                    </a:cubicBezTo>
                    <a:cubicBezTo>
                      <a:pt x="197" y="115"/>
                      <a:pt x="198" y="116"/>
                      <a:pt x="198" y="119"/>
                    </a:cubicBezTo>
                    <a:cubicBezTo>
                      <a:pt x="198" y="121"/>
                      <a:pt x="197" y="122"/>
                      <a:pt x="197" y="122"/>
                    </a:cubicBezTo>
                    <a:cubicBezTo>
                      <a:pt x="196" y="123"/>
                      <a:pt x="196" y="123"/>
                      <a:pt x="196" y="124"/>
                    </a:cubicBezTo>
                    <a:cubicBezTo>
                      <a:pt x="196" y="126"/>
                      <a:pt x="194" y="127"/>
                      <a:pt x="193" y="128"/>
                    </a:cubicBezTo>
                    <a:cubicBezTo>
                      <a:pt x="191" y="129"/>
                      <a:pt x="190" y="129"/>
                      <a:pt x="190" y="131"/>
                    </a:cubicBezTo>
                    <a:cubicBezTo>
                      <a:pt x="190" y="133"/>
                      <a:pt x="188" y="134"/>
                      <a:pt x="187" y="136"/>
                    </a:cubicBezTo>
                    <a:cubicBezTo>
                      <a:pt x="185" y="137"/>
                      <a:pt x="185" y="137"/>
                      <a:pt x="185" y="138"/>
                    </a:cubicBezTo>
                    <a:cubicBezTo>
                      <a:pt x="185" y="141"/>
                      <a:pt x="183" y="142"/>
                      <a:pt x="181" y="144"/>
                    </a:cubicBezTo>
                    <a:cubicBezTo>
                      <a:pt x="179" y="146"/>
                      <a:pt x="177" y="148"/>
                      <a:pt x="177" y="150"/>
                    </a:cubicBezTo>
                    <a:cubicBezTo>
                      <a:pt x="177" y="152"/>
                      <a:pt x="176" y="154"/>
                      <a:pt x="174" y="156"/>
                    </a:cubicBezTo>
                    <a:cubicBezTo>
                      <a:pt x="173" y="158"/>
                      <a:pt x="171" y="159"/>
                      <a:pt x="171" y="162"/>
                    </a:cubicBezTo>
                    <a:cubicBezTo>
                      <a:pt x="171" y="166"/>
                      <a:pt x="170" y="168"/>
                      <a:pt x="169" y="169"/>
                    </a:cubicBezTo>
                    <a:cubicBezTo>
                      <a:pt x="168" y="170"/>
                      <a:pt x="168" y="171"/>
                      <a:pt x="168" y="173"/>
                    </a:cubicBezTo>
                    <a:cubicBezTo>
                      <a:pt x="168" y="177"/>
                      <a:pt x="168" y="185"/>
                      <a:pt x="171" y="191"/>
                    </a:cubicBezTo>
                    <a:cubicBezTo>
                      <a:pt x="174" y="196"/>
                      <a:pt x="180" y="207"/>
                      <a:pt x="181" y="214"/>
                    </a:cubicBezTo>
                    <a:cubicBezTo>
                      <a:pt x="181" y="215"/>
                      <a:pt x="181" y="216"/>
                      <a:pt x="181" y="216"/>
                    </a:cubicBezTo>
                    <a:cubicBezTo>
                      <a:pt x="181" y="218"/>
                      <a:pt x="181" y="219"/>
                      <a:pt x="181" y="221"/>
                    </a:cubicBezTo>
                    <a:cubicBezTo>
                      <a:pt x="182" y="222"/>
                      <a:pt x="182" y="224"/>
                      <a:pt x="182" y="227"/>
                    </a:cubicBezTo>
                    <a:cubicBezTo>
                      <a:pt x="182" y="229"/>
                      <a:pt x="182" y="231"/>
                      <a:pt x="181" y="233"/>
                    </a:cubicBezTo>
                    <a:cubicBezTo>
                      <a:pt x="181" y="235"/>
                      <a:pt x="181" y="237"/>
                      <a:pt x="181" y="240"/>
                    </a:cubicBezTo>
                    <a:cubicBezTo>
                      <a:pt x="181" y="242"/>
                      <a:pt x="183" y="245"/>
                      <a:pt x="185" y="248"/>
                    </a:cubicBezTo>
                    <a:cubicBezTo>
                      <a:pt x="187" y="252"/>
                      <a:pt x="190" y="256"/>
                      <a:pt x="190" y="261"/>
                    </a:cubicBezTo>
                    <a:cubicBezTo>
                      <a:pt x="190" y="265"/>
                      <a:pt x="189" y="268"/>
                      <a:pt x="187" y="272"/>
                    </a:cubicBezTo>
                    <a:cubicBezTo>
                      <a:pt x="185" y="275"/>
                      <a:pt x="183" y="277"/>
                      <a:pt x="180" y="278"/>
                    </a:cubicBezTo>
                    <a:cubicBezTo>
                      <a:pt x="175" y="281"/>
                      <a:pt x="168" y="285"/>
                      <a:pt x="168" y="289"/>
                    </a:cubicBezTo>
                    <a:cubicBezTo>
                      <a:pt x="168" y="291"/>
                      <a:pt x="168" y="293"/>
                      <a:pt x="167" y="295"/>
                    </a:cubicBezTo>
                    <a:cubicBezTo>
                      <a:pt x="167" y="296"/>
                      <a:pt x="166" y="297"/>
                      <a:pt x="166" y="299"/>
                    </a:cubicBezTo>
                    <a:cubicBezTo>
                      <a:pt x="166" y="304"/>
                      <a:pt x="166" y="304"/>
                      <a:pt x="166" y="304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41" name="Freeform 25"/>
              <p:cNvSpPr>
                <a:spLocks/>
              </p:cNvSpPr>
              <p:nvPr/>
            </p:nvSpPr>
            <p:spPr bwMode="auto">
              <a:xfrm>
                <a:off x="568" y="2248"/>
                <a:ext cx="1137" cy="632"/>
              </a:xfrm>
              <a:custGeom>
                <a:avLst/>
                <a:gdLst>
                  <a:gd name="T0" fmla="*/ 377 w 480"/>
                  <a:gd name="T1" fmla="*/ 265 h 267"/>
                  <a:gd name="T2" fmla="*/ 323 w 480"/>
                  <a:gd name="T3" fmla="*/ 249 h 267"/>
                  <a:gd name="T4" fmla="*/ 301 w 480"/>
                  <a:gd name="T5" fmla="*/ 265 h 267"/>
                  <a:gd name="T6" fmla="*/ 269 w 480"/>
                  <a:gd name="T7" fmla="*/ 230 h 267"/>
                  <a:gd name="T8" fmla="*/ 255 w 480"/>
                  <a:gd name="T9" fmla="*/ 203 h 267"/>
                  <a:gd name="T10" fmla="*/ 246 w 480"/>
                  <a:gd name="T11" fmla="*/ 195 h 267"/>
                  <a:gd name="T12" fmla="*/ 264 w 480"/>
                  <a:gd name="T13" fmla="*/ 199 h 267"/>
                  <a:gd name="T14" fmla="*/ 271 w 480"/>
                  <a:gd name="T15" fmla="*/ 205 h 267"/>
                  <a:gd name="T16" fmla="*/ 276 w 480"/>
                  <a:gd name="T17" fmla="*/ 181 h 267"/>
                  <a:gd name="T18" fmla="*/ 267 w 480"/>
                  <a:gd name="T19" fmla="*/ 184 h 267"/>
                  <a:gd name="T20" fmla="*/ 259 w 480"/>
                  <a:gd name="T21" fmla="*/ 173 h 267"/>
                  <a:gd name="T22" fmla="*/ 268 w 480"/>
                  <a:gd name="T23" fmla="*/ 165 h 267"/>
                  <a:gd name="T24" fmla="*/ 253 w 480"/>
                  <a:gd name="T25" fmla="*/ 161 h 267"/>
                  <a:gd name="T26" fmla="*/ 204 w 480"/>
                  <a:gd name="T27" fmla="*/ 170 h 267"/>
                  <a:gd name="T28" fmla="*/ 147 w 480"/>
                  <a:gd name="T29" fmla="*/ 175 h 267"/>
                  <a:gd name="T30" fmla="*/ 137 w 480"/>
                  <a:gd name="T31" fmla="*/ 157 h 267"/>
                  <a:gd name="T32" fmla="*/ 120 w 480"/>
                  <a:gd name="T33" fmla="*/ 164 h 267"/>
                  <a:gd name="T34" fmla="*/ 128 w 480"/>
                  <a:gd name="T35" fmla="*/ 137 h 267"/>
                  <a:gd name="T36" fmla="*/ 126 w 480"/>
                  <a:gd name="T37" fmla="*/ 128 h 267"/>
                  <a:gd name="T38" fmla="*/ 117 w 480"/>
                  <a:gd name="T39" fmla="*/ 130 h 267"/>
                  <a:gd name="T40" fmla="*/ 116 w 480"/>
                  <a:gd name="T41" fmla="*/ 119 h 267"/>
                  <a:gd name="T42" fmla="*/ 98 w 480"/>
                  <a:gd name="T43" fmla="*/ 145 h 267"/>
                  <a:gd name="T44" fmla="*/ 77 w 480"/>
                  <a:gd name="T45" fmla="*/ 140 h 267"/>
                  <a:gd name="T46" fmla="*/ 63 w 480"/>
                  <a:gd name="T47" fmla="*/ 132 h 267"/>
                  <a:gd name="T48" fmla="*/ 63 w 480"/>
                  <a:gd name="T49" fmla="*/ 124 h 267"/>
                  <a:gd name="T50" fmla="*/ 86 w 480"/>
                  <a:gd name="T51" fmla="*/ 111 h 267"/>
                  <a:gd name="T52" fmla="*/ 83 w 480"/>
                  <a:gd name="T53" fmla="*/ 104 h 267"/>
                  <a:gd name="T54" fmla="*/ 67 w 480"/>
                  <a:gd name="T55" fmla="*/ 106 h 267"/>
                  <a:gd name="T56" fmla="*/ 65 w 480"/>
                  <a:gd name="T57" fmla="*/ 106 h 267"/>
                  <a:gd name="T58" fmla="*/ 59 w 480"/>
                  <a:gd name="T59" fmla="*/ 115 h 267"/>
                  <a:gd name="T60" fmla="*/ 46 w 480"/>
                  <a:gd name="T61" fmla="*/ 117 h 267"/>
                  <a:gd name="T62" fmla="*/ 28 w 480"/>
                  <a:gd name="T63" fmla="*/ 101 h 267"/>
                  <a:gd name="T64" fmla="*/ 17 w 480"/>
                  <a:gd name="T65" fmla="*/ 107 h 267"/>
                  <a:gd name="T66" fmla="*/ 3 w 480"/>
                  <a:gd name="T67" fmla="*/ 101 h 267"/>
                  <a:gd name="T68" fmla="*/ 24 w 480"/>
                  <a:gd name="T69" fmla="*/ 92 h 267"/>
                  <a:gd name="T70" fmla="*/ 17 w 480"/>
                  <a:gd name="T71" fmla="*/ 71 h 267"/>
                  <a:gd name="T72" fmla="*/ 17 w 480"/>
                  <a:gd name="T73" fmla="*/ 65 h 267"/>
                  <a:gd name="T74" fmla="*/ 4 w 480"/>
                  <a:gd name="T75" fmla="*/ 59 h 267"/>
                  <a:gd name="T76" fmla="*/ 20 w 480"/>
                  <a:gd name="T77" fmla="*/ 47 h 267"/>
                  <a:gd name="T78" fmla="*/ 39 w 480"/>
                  <a:gd name="T79" fmla="*/ 45 h 267"/>
                  <a:gd name="T80" fmla="*/ 41 w 480"/>
                  <a:gd name="T81" fmla="*/ 33 h 267"/>
                  <a:gd name="T82" fmla="*/ 68 w 480"/>
                  <a:gd name="T83" fmla="*/ 32 h 267"/>
                  <a:gd name="T84" fmla="*/ 70 w 480"/>
                  <a:gd name="T85" fmla="*/ 26 h 267"/>
                  <a:gd name="T86" fmla="*/ 121 w 480"/>
                  <a:gd name="T87" fmla="*/ 30 h 267"/>
                  <a:gd name="T88" fmla="*/ 166 w 480"/>
                  <a:gd name="T89" fmla="*/ 49 h 267"/>
                  <a:gd name="T90" fmla="*/ 192 w 480"/>
                  <a:gd name="T91" fmla="*/ 59 h 267"/>
                  <a:gd name="T92" fmla="*/ 237 w 480"/>
                  <a:gd name="T93" fmla="*/ 75 h 267"/>
                  <a:gd name="T94" fmla="*/ 249 w 480"/>
                  <a:gd name="T95" fmla="*/ 51 h 267"/>
                  <a:gd name="T96" fmla="*/ 266 w 480"/>
                  <a:gd name="T97" fmla="*/ 26 h 267"/>
                  <a:gd name="T98" fmla="*/ 295 w 480"/>
                  <a:gd name="T99" fmla="*/ 17 h 267"/>
                  <a:gd name="T100" fmla="*/ 318 w 480"/>
                  <a:gd name="T101" fmla="*/ 17 h 267"/>
                  <a:gd name="T102" fmla="*/ 353 w 480"/>
                  <a:gd name="T103" fmla="*/ 0 h 267"/>
                  <a:gd name="T104" fmla="*/ 391 w 480"/>
                  <a:gd name="T105" fmla="*/ 26 h 267"/>
                  <a:gd name="T106" fmla="*/ 399 w 480"/>
                  <a:gd name="T107" fmla="*/ 42 h 267"/>
                  <a:gd name="T108" fmla="*/ 420 w 480"/>
                  <a:gd name="T109" fmla="*/ 107 h 267"/>
                  <a:gd name="T110" fmla="*/ 428 w 480"/>
                  <a:gd name="T111" fmla="*/ 129 h 267"/>
                  <a:gd name="T112" fmla="*/ 466 w 480"/>
                  <a:gd name="T113" fmla="*/ 159 h 267"/>
                  <a:gd name="T114" fmla="*/ 456 w 480"/>
                  <a:gd name="T115" fmla="*/ 195 h 267"/>
                  <a:gd name="T116" fmla="*/ 430 w 480"/>
                  <a:gd name="T117" fmla="*/ 228 h 267"/>
                  <a:gd name="T118" fmla="*/ 410 w 480"/>
                  <a:gd name="T119" fmla="*/ 255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80" h="267">
                    <a:moveTo>
                      <a:pt x="392" y="267"/>
                    </a:moveTo>
                    <a:cubicBezTo>
                      <a:pt x="389" y="267"/>
                      <a:pt x="388" y="266"/>
                      <a:pt x="387" y="265"/>
                    </a:cubicBezTo>
                    <a:cubicBezTo>
                      <a:pt x="386" y="264"/>
                      <a:pt x="386" y="263"/>
                      <a:pt x="384" y="263"/>
                    </a:cubicBezTo>
                    <a:cubicBezTo>
                      <a:pt x="383" y="263"/>
                      <a:pt x="382" y="264"/>
                      <a:pt x="381" y="264"/>
                    </a:cubicBezTo>
                    <a:cubicBezTo>
                      <a:pt x="381" y="265"/>
                      <a:pt x="380" y="265"/>
                      <a:pt x="377" y="265"/>
                    </a:cubicBezTo>
                    <a:cubicBezTo>
                      <a:pt x="373" y="265"/>
                      <a:pt x="368" y="260"/>
                      <a:pt x="364" y="256"/>
                    </a:cubicBezTo>
                    <a:cubicBezTo>
                      <a:pt x="363" y="255"/>
                      <a:pt x="362" y="255"/>
                      <a:pt x="362" y="254"/>
                    </a:cubicBezTo>
                    <a:cubicBezTo>
                      <a:pt x="360" y="253"/>
                      <a:pt x="359" y="252"/>
                      <a:pt x="358" y="250"/>
                    </a:cubicBezTo>
                    <a:cubicBezTo>
                      <a:pt x="355" y="247"/>
                      <a:pt x="353" y="244"/>
                      <a:pt x="349" y="244"/>
                    </a:cubicBezTo>
                    <a:cubicBezTo>
                      <a:pt x="342" y="244"/>
                      <a:pt x="330" y="246"/>
                      <a:pt x="323" y="249"/>
                    </a:cubicBezTo>
                    <a:cubicBezTo>
                      <a:pt x="320" y="250"/>
                      <a:pt x="319" y="252"/>
                      <a:pt x="318" y="253"/>
                    </a:cubicBezTo>
                    <a:cubicBezTo>
                      <a:pt x="317" y="255"/>
                      <a:pt x="316" y="256"/>
                      <a:pt x="313" y="256"/>
                    </a:cubicBezTo>
                    <a:cubicBezTo>
                      <a:pt x="311" y="256"/>
                      <a:pt x="309" y="257"/>
                      <a:pt x="309" y="260"/>
                    </a:cubicBezTo>
                    <a:cubicBezTo>
                      <a:pt x="309" y="262"/>
                      <a:pt x="308" y="265"/>
                      <a:pt x="303" y="265"/>
                    </a:cubicBezTo>
                    <a:cubicBezTo>
                      <a:pt x="302" y="265"/>
                      <a:pt x="302" y="265"/>
                      <a:pt x="301" y="265"/>
                    </a:cubicBezTo>
                    <a:cubicBezTo>
                      <a:pt x="301" y="265"/>
                      <a:pt x="300" y="265"/>
                      <a:pt x="300" y="265"/>
                    </a:cubicBezTo>
                    <a:cubicBezTo>
                      <a:pt x="296" y="265"/>
                      <a:pt x="286" y="265"/>
                      <a:pt x="283" y="253"/>
                    </a:cubicBezTo>
                    <a:cubicBezTo>
                      <a:pt x="282" y="250"/>
                      <a:pt x="281" y="248"/>
                      <a:pt x="281" y="246"/>
                    </a:cubicBezTo>
                    <a:cubicBezTo>
                      <a:pt x="279" y="237"/>
                      <a:pt x="278" y="234"/>
                      <a:pt x="271" y="231"/>
                    </a:cubicBezTo>
                    <a:cubicBezTo>
                      <a:pt x="271" y="231"/>
                      <a:pt x="270" y="230"/>
                      <a:pt x="269" y="230"/>
                    </a:cubicBezTo>
                    <a:cubicBezTo>
                      <a:pt x="262" y="227"/>
                      <a:pt x="257" y="225"/>
                      <a:pt x="257" y="218"/>
                    </a:cubicBezTo>
                    <a:cubicBezTo>
                      <a:pt x="257" y="212"/>
                      <a:pt x="255" y="204"/>
                      <a:pt x="255" y="204"/>
                    </a:cubicBezTo>
                    <a:cubicBezTo>
                      <a:pt x="254" y="204"/>
                      <a:pt x="254" y="204"/>
                      <a:pt x="254" y="204"/>
                    </a:cubicBezTo>
                    <a:cubicBezTo>
                      <a:pt x="255" y="203"/>
                      <a:pt x="255" y="203"/>
                      <a:pt x="255" y="203"/>
                    </a:cubicBezTo>
                    <a:cubicBezTo>
                      <a:pt x="255" y="203"/>
                      <a:pt x="255" y="203"/>
                      <a:pt x="255" y="203"/>
                    </a:cubicBezTo>
                    <a:cubicBezTo>
                      <a:pt x="255" y="203"/>
                      <a:pt x="255" y="203"/>
                      <a:pt x="254" y="202"/>
                    </a:cubicBezTo>
                    <a:cubicBezTo>
                      <a:pt x="254" y="202"/>
                      <a:pt x="254" y="202"/>
                      <a:pt x="253" y="202"/>
                    </a:cubicBezTo>
                    <a:cubicBezTo>
                      <a:pt x="252" y="201"/>
                      <a:pt x="250" y="200"/>
                      <a:pt x="247" y="200"/>
                    </a:cubicBezTo>
                    <a:cubicBezTo>
                      <a:pt x="244" y="200"/>
                      <a:pt x="240" y="200"/>
                      <a:pt x="240" y="197"/>
                    </a:cubicBezTo>
                    <a:cubicBezTo>
                      <a:pt x="240" y="195"/>
                      <a:pt x="242" y="195"/>
                      <a:pt x="246" y="195"/>
                    </a:cubicBezTo>
                    <a:cubicBezTo>
                      <a:pt x="247" y="195"/>
                      <a:pt x="248" y="195"/>
                      <a:pt x="249" y="195"/>
                    </a:cubicBezTo>
                    <a:cubicBezTo>
                      <a:pt x="250" y="195"/>
                      <a:pt x="251" y="195"/>
                      <a:pt x="252" y="195"/>
                    </a:cubicBezTo>
                    <a:cubicBezTo>
                      <a:pt x="255" y="195"/>
                      <a:pt x="257" y="195"/>
                      <a:pt x="258" y="194"/>
                    </a:cubicBezTo>
                    <a:cubicBezTo>
                      <a:pt x="259" y="194"/>
                      <a:pt x="260" y="194"/>
                      <a:pt x="261" y="194"/>
                    </a:cubicBezTo>
                    <a:cubicBezTo>
                      <a:pt x="264" y="194"/>
                      <a:pt x="264" y="197"/>
                      <a:pt x="264" y="199"/>
                    </a:cubicBezTo>
                    <a:cubicBezTo>
                      <a:pt x="264" y="201"/>
                      <a:pt x="265" y="201"/>
                      <a:pt x="265" y="201"/>
                    </a:cubicBezTo>
                    <a:cubicBezTo>
                      <a:pt x="267" y="201"/>
                      <a:pt x="268" y="202"/>
                      <a:pt x="268" y="204"/>
                    </a:cubicBezTo>
                    <a:cubicBezTo>
                      <a:pt x="269" y="205"/>
                      <a:pt x="270" y="205"/>
                      <a:pt x="271" y="205"/>
                    </a:cubicBezTo>
                    <a:cubicBezTo>
                      <a:pt x="271" y="205"/>
                      <a:pt x="271" y="205"/>
                      <a:pt x="271" y="205"/>
                    </a:cubicBezTo>
                    <a:cubicBezTo>
                      <a:pt x="271" y="205"/>
                      <a:pt x="271" y="205"/>
                      <a:pt x="271" y="205"/>
                    </a:cubicBezTo>
                    <a:cubicBezTo>
                      <a:pt x="270" y="204"/>
                      <a:pt x="269" y="203"/>
                      <a:pt x="269" y="201"/>
                    </a:cubicBezTo>
                    <a:cubicBezTo>
                      <a:pt x="269" y="200"/>
                      <a:pt x="269" y="200"/>
                      <a:pt x="269" y="199"/>
                    </a:cubicBezTo>
                    <a:cubicBezTo>
                      <a:pt x="268" y="198"/>
                      <a:pt x="268" y="197"/>
                      <a:pt x="268" y="195"/>
                    </a:cubicBezTo>
                    <a:cubicBezTo>
                      <a:pt x="268" y="188"/>
                      <a:pt x="271" y="185"/>
                      <a:pt x="274" y="183"/>
                    </a:cubicBezTo>
                    <a:cubicBezTo>
                      <a:pt x="275" y="182"/>
                      <a:pt x="276" y="181"/>
                      <a:pt x="276" y="181"/>
                    </a:cubicBezTo>
                    <a:cubicBezTo>
                      <a:pt x="276" y="180"/>
                      <a:pt x="276" y="180"/>
                      <a:pt x="276" y="180"/>
                    </a:cubicBezTo>
                    <a:cubicBezTo>
                      <a:pt x="276" y="180"/>
                      <a:pt x="276" y="180"/>
                      <a:pt x="276" y="180"/>
                    </a:cubicBezTo>
                    <a:cubicBezTo>
                      <a:pt x="275" y="180"/>
                      <a:pt x="274" y="180"/>
                      <a:pt x="274" y="181"/>
                    </a:cubicBezTo>
                    <a:cubicBezTo>
                      <a:pt x="273" y="181"/>
                      <a:pt x="272" y="182"/>
                      <a:pt x="272" y="182"/>
                    </a:cubicBezTo>
                    <a:cubicBezTo>
                      <a:pt x="271" y="183"/>
                      <a:pt x="269" y="184"/>
                      <a:pt x="267" y="184"/>
                    </a:cubicBezTo>
                    <a:cubicBezTo>
                      <a:pt x="265" y="184"/>
                      <a:pt x="264" y="183"/>
                      <a:pt x="264" y="182"/>
                    </a:cubicBezTo>
                    <a:cubicBezTo>
                      <a:pt x="263" y="181"/>
                      <a:pt x="262" y="181"/>
                      <a:pt x="261" y="181"/>
                    </a:cubicBezTo>
                    <a:cubicBezTo>
                      <a:pt x="260" y="181"/>
                      <a:pt x="255" y="181"/>
                      <a:pt x="255" y="177"/>
                    </a:cubicBezTo>
                    <a:cubicBezTo>
                      <a:pt x="255" y="175"/>
                      <a:pt x="257" y="174"/>
                      <a:pt x="258" y="174"/>
                    </a:cubicBezTo>
                    <a:cubicBezTo>
                      <a:pt x="258" y="174"/>
                      <a:pt x="258" y="173"/>
                      <a:pt x="259" y="173"/>
                    </a:cubicBezTo>
                    <a:cubicBezTo>
                      <a:pt x="259" y="172"/>
                      <a:pt x="260" y="172"/>
                      <a:pt x="260" y="171"/>
                    </a:cubicBezTo>
                    <a:cubicBezTo>
                      <a:pt x="261" y="171"/>
                      <a:pt x="262" y="170"/>
                      <a:pt x="262" y="169"/>
                    </a:cubicBezTo>
                    <a:cubicBezTo>
                      <a:pt x="262" y="165"/>
                      <a:pt x="265" y="165"/>
                      <a:pt x="267" y="165"/>
                    </a:cubicBezTo>
                    <a:cubicBezTo>
                      <a:pt x="267" y="165"/>
                      <a:pt x="267" y="165"/>
                      <a:pt x="267" y="165"/>
                    </a:cubicBezTo>
                    <a:cubicBezTo>
                      <a:pt x="268" y="165"/>
                      <a:pt x="268" y="165"/>
                      <a:pt x="268" y="165"/>
                    </a:cubicBezTo>
                    <a:cubicBezTo>
                      <a:pt x="270" y="165"/>
                      <a:pt x="270" y="164"/>
                      <a:pt x="270" y="162"/>
                    </a:cubicBezTo>
                    <a:cubicBezTo>
                      <a:pt x="270" y="161"/>
                      <a:pt x="270" y="161"/>
                      <a:pt x="267" y="161"/>
                    </a:cubicBezTo>
                    <a:cubicBezTo>
                      <a:pt x="267" y="161"/>
                      <a:pt x="267" y="161"/>
                      <a:pt x="267" y="161"/>
                    </a:cubicBezTo>
                    <a:cubicBezTo>
                      <a:pt x="266" y="161"/>
                      <a:pt x="266" y="161"/>
                      <a:pt x="266" y="161"/>
                    </a:cubicBezTo>
                    <a:cubicBezTo>
                      <a:pt x="253" y="161"/>
                      <a:pt x="253" y="161"/>
                      <a:pt x="253" y="161"/>
                    </a:cubicBezTo>
                    <a:cubicBezTo>
                      <a:pt x="251" y="161"/>
                      <a:pt x="250" y="162"/>
                      <a:pt x="248" y="163"/>
                    </a:cubicBezTo>
                    <a:cubicBezTo>
                      <a:pt x="246" y="164"/>
                      <a:pt x="244" y="166"/>
                      <a:pt x="240" y="166"/>
                    </a:cubicBezTo>
                    <a:cubicBezTo>
                      <a:pt x="238" y="166"/>
                      <a:pt x="235" y="167"/>
                      <a:pt x="232" y="168"/>
                    </a:cubicBezTo>
                    <a:cubicBezTo>
                      <a:pt x="228" y="169"/>
                      <a:pt x="223" y="170"/>
                      <a:pt x="219" y="170"/>
                    </a:cubicBezTo>
                    <a:cubicBezTo>
                      <a:pt x="215" y="170"/>
                      <a:pt x="209" y="170"/>
                      <a:pt x="204" y="170"/>
                    </a:cubicBezTo>
                    <a:cubicBezTo>
                      <a:pt x="199" y="171"/>
                      <a:pt x="194" y="171"/>
                      <a:pt x="191" y="171"/>
                    </a:cubicBezTo>
                    <a:cubicBezTo>
                      <a:pt x="188" y="171"/>
                      <a:pt x="184" y="171"/>
                      <a:pt x="180" y="172"/>
                    </a:cubicBezTo>
                    <a:cubicBezTo>
                      <a:pt x="175" y="173"/>
                      <a:pt x="170" y="174"/>
                      <a:pt x="166" y="174"/>
                    </a:cubicBezTo>
                    <a:cubicBezTo>
                      <a:pt x="161" y="174"/>
                      <a:pt x="157" y="174"/>
                      <a:pt x="153" y="174"/>
                    </a:cubicBezTo>
                    <a:cubicBezTo>
                      <a:pt x="151" y="175"/>
                      <a:pt x="149" y="175"/>
                      <a:pt x="147" y="175"/>
                    </a:cubicBezTo>
                    <a:cubicBezTo>
                      <a:pt x="143" y="175"/>
                      <a:pt x="137" y="171"/>
                      <a:pt x="137" y="167"/>
                    </a:cubicBezTo>
                    <a:cubicBezTo>
                      <a:pt x="137" y="165"/>
                      <a:pt x="136" y="165"/>
                      <a:pt x="136" y="164"/>
                    </a:cubicBezTo>
                    <a:cubicBezTo>
                      <a:pt x="136" y="163"/>
                      <a:pt x="135" y="162"/>
                      <a:pt x="135" y="161"/>
                    </a:cubicBezTo>
                    <a:cubicBezTo>
                      <a:pt x="135" y="159"/>
                      <a:pt x="136" y="159"/>
                      <a:pt x="136" y="158"/>
                    </a:cubicBezTo>
                    <a:cubicBezTo>
                      <a:pt x="137" y="158"/>
                      <a:pt x="137" y="157"/>
                      <a:pt x="137" y="157"/>
                    </a:cubicBezTo>
                    <a:cubicBezTo>
                      <a:pt x="137" y="156"/>
                      <a:pt x="137" y="155"/>
                      <a:pt x="137" y="155"/>
                    </a:cubicBezTo>
                    <a:cubicBezTo>
                      <a:pt x="137" y="155"/>
                      <a:pt x="136" y="155"/>
                      <a:pt x="136" y="155"/>
                    </a:cubicBezTo>
                    <a:cubicBezTo>
                      <a:pt x="136" y="155"/>
                      <a:pt x="134" y="157"/>
                      <a:pt x="134" y="161"/>
                    </a:cubicBezTo>
                    <a:cubicBezTo>
                      <a:pt x="134" y="167"/>
                      <a:pt x="132" y="171"/>
                      <a:pt x="128" y="171"/>
                    </a:cubicBezTo>
                    <a:cubicBezTo>
                      <a:pt x="124" y="171"/>
                      <a:pt x="120" y="168"/>
                      <a:pt x="120" y="164"/>
                    </a:cubicBezTo>
                    <a:cubicBezTo>
                      <a:pt x="120" y="162"/>
                      <a:pt x="122" y="160"/>
                      <a:pt x="123" y="158"/>
                    </a:cubicBezTo>
                    <a:cubicBezTo>
                      <a:pt x="124" y="157"/>
                      <a:pt x="125" y="155"/>
                      <a:pt x="125" y="153"/>
                    </a:cubicBezTo>
                    <a:cubicBezTo>
                      <a:pt x="125" y="151"/>
                      <a:pt x="125" y="149"/>
                      <a:pt x="124" y="147"/>
                    </a:cubicBezTo>
                    <a:cubicBezTo>
                      <a:pt x="124" y="145"/>
                      <a:pt x="123" y="143"/>
                      <a:pt x="123" y="141"/>
                    </a:cubicBezTo>
                    <a:cubicBezTo>
                      <a:pt x="123" y="137"/>
                      <a:pt x="126" y="137"/>
                      <a:pt x="128" y="137"/>
                    </a:cubicBezTo>
                    <a:cubicBezTo>
                      <a:pt x="129" y="137"/>
                      <a:pt x="129" y="137"/>
                      <a:pt x="129" y="137"/>
                    </a:cubicBezTo>
                    <a:cubicBezTo>
                      <a:pt x="129" y="137"/>
                      <a:pt x="129" y="137"/>
                      <a:pt x="129" y="137"/>
                    </a:cubicBezTo>
                    <a:cubicBezTo>
                      <a:pt x="132" y="137"/>
                      <a:pt x="132" y="133"/>
                      <a:pt x="132" y="132"/>
                    </a:cubicBezTo>
                    <a:cubicBezTo>
                      <a:pt x="132" y="129"/>
                      <a:pt x="130" y="127"/>
                      <a:pt x="128" y="127"/>
                    </a:cubicBezTo>
                    <a:cubicBezTo>
                      <a:pt x="127" y="127"/>
                      <a:pt x="126" y="127"/>
                      <a:pt x="126" y="128"/>
                    </a:cubicBezTo>
                    <a:cubicBezTo>
                      <a:pt x="126" y="129"/>
                      <a:pt x="127" y="129"/>
                      <a:pt x="127" y="129"/>
                    </a:cubicBezTo>
                    <a:cubicBezTo>
                      <a:pt x="127" y="130"/>
                      <a:pt x="128" y="130"/>
                      <a:pt x="128" y="131"/>
                    </a:cubicBezTo>
                    <a:cubicBezTo>
                      <a:pt x="128" y="134"/>
                      <a:pt x="124" y="137"/>
                      <a:pt x="120" y="137"/>
                    </a:cubicBezTo>
                    <a:cubicBezTo>
                      <a:pt x="115" y="137"/>
                      <a:pt x="114" y="136"/>
                      <a:pt x="114" y="133"/>
                    </a:cubicBezTo>
                    <a:cubicBezTo>
                      <a:pt x="114" y="131"/>
                      <a:pt x="115" y="130"/>
                      <a:pt x="117" y="130"/>
                    </a:cubicBezTo>
                    <a:cubicBezTo>
                      <a:pt x="117" y="129"/>
                      <a:pt x="118" y="129"/>
                      <a:pt x="119" y="129"/>
                    </a:cubicBezTo>
                    <a:cubicBezTo>
                      <a:pt x="119" y="128"/>
                      <a:pt x="119" y="127"/>
                      <a:pt x="120" y="126"/>
                    </a:cubicBezTo>
                    <a:cubicBezTo>
                      <a:pt x="120" y="125"/>
                      <a:pt x="121" y="123"/>
                      <a:pt x="121" y="122"/>
                    </a:cubicBezTo>
                    <a:cubicBezTo>
                      <a:pt x="121" y="119"/>
                      <a:pt x="119" y="118"/>
                      <a:pt x="118" y="118"/>
                    </a:cubicBezTo>
                    <a:cubicBezTo>
                      <a:pt x="118" y="118"/>
                      <a:pt x="117" y="118"/>
                      <a:pt x="116" y="119"/>
                    </a:cubicBezTo>
                    <a:cubicBezTo>
                      <a:pt x="115" y="121"/>
                      <a:pt x="114" y="123"/>
                      <a:pt x="111" y="124"/>
                    </a:cubicBezTo>
                    <a:cubicBezTo>
                      <a:pt x="108" y="125"/>
                      <a:pt x="108" y="126"/>
                      <a:pt x="107" y="129"/>
                    </a:cubicBezTo>
                    <a:cubicBezTo>
                      <a:pt x="106" y="130"/>
                      <a:pt x="106" y="132"/>
                      <a:pt x="105" y="133"/>
                    </a:cubicBezTo>
                    <a:cubicBezTo>
                      <a:pt x="104" y="135"/>
                      <a:pt x="103" y="137"/>
                      <a:pt x="103" y="139"/>
                    </a:cubicBezTo>
                    <a:cubicBezTo>
                      <a:pt x="102" y="142"/>
                      <a:pt x="101" y="145"/>
                      <a:pt x="98" y="145"/>
                    </a:cubicBezTo>
                    <a:cubicBezTo>
                      <a:pt x="95" y="145"/>
                      <a:pt x="94" y="145"/>
                      <a:pt x="93" y="146"/>
                    </a:cubicBezTo>
                    <a:cubicBezTo>
                      <a:pt x="92" y="147"/>
                      <a:pt x="92" y="147"/>
                      <a:pt x="90" y="147"/>
                    </a:cubicBezTo>
                    <a:cubicBezTo>
                      <a:pt x="87" y="147"/>
                      <a:pt x="84" y="145"/>
                      <a:pt x="82" y="144"/>
                    </a:cubicBezTo>
                    <a:cubicBezTo>
                      <a:pt x="81" y="143"/>
                      <a:pt x="80" y="142"/>
                      <a:pt x="79" y="142"/>
                    </a:cubicBezTo>
                    <a:cubicBezTo>
                      <a:pt x="78" y="141"/>
                      <a:pt x="77" y="141"/>
                      <a:pt x="77" y="140"/>
                    </a:cubicBezTo>
                    <a:cubicBezTo>
                      <a:pt x="76" y="139"/>
                      <a:pt x="75" y="138"/>
                      <a:pt x="74" y="138"/>
                    </a:cubicBezTo>
                    <a:cubicBezTo>
                      <a:pt x="72" y="138"/>
                      <a:pt x="71" y="139"/>
                      <a:pt x="70" y="140"/>
                    </a:cubicBezTo>
                    <a:cubicBezTo>
                      <a:pt x="69" y="140"/>
                      <a:pt x="68" y="141"/>
                      <a:pt x="66" y="141"/>
                    </a:cubicBezTo>
                    <a:cubicBezTo>
                      <a:pt x="63" y="141"/>
                      <a:pt x="61" y="139"/>
                      <a:pt x="61" y="136"/>
                    </a:cubicBezTo>
                    <a:cubicBezTo>
                      <a:pt x="61" y="135"/>
                      <a:pt x="62" y="133"/>
                      <a:pt x="63" y="132"/>
                    </a:cubicBezTo>
                    <a:cubicBezTo>
                      <a:pt x="63" y="131"/>
                      <a:pt x="64" y="130"/>
                      <a:pt x="64" y="130"/>
                    </a:cubicBezTo>
                    <a:cubicBezTo>
                      <a:pt x="64" y="129"/>
                      <a:pt x="64" y="129"/>
                      <a:pt x="65" y="128"/>
                    </a:cubicBezTo>
                    <a:cubicBezTo>
                      <a:pt x="65" y="128"/>
                      <a:pt x="65" y="128"/>
                      <a:pt x="65" y="127"/>
                    </a:cubicBezTo>
                    <a:cubicBezTo>
                      <a:pt x="65" y="127"/>
                      <a:pt x="65" y="127"/>
                      <a:pt x="65" y="127"/>
                    </a:cubicBezTo>
                    <a:cubicBezTo>
                      <a:pt x="64" y="126"/>
                      <a:pt x="63" y="126"/>
                      <a:pt x="63" y="124"/>
                    </a:cubicBezTo>
                    <a:cubicBezTo>
                      <a:pt x="63" y="120"/>
                      <a:pt x="68" y="120"/>
                      <a:pt x="70" y="120"/>
                    </a:cubicBezTo>
                    <a:cubicBezTo>
                      <a:pt x="71" y="120"/>
                      <a:pt x="73" y="119"/>
                      <a:pt x="75" y="118"/>
                    </a:cubicBezTo>
                    <a:cubicBezTo>
                      <a:pt x="77" y="117"/>
                      <a:pt x="79" y="116"/>
                      <a:pt x="81" y="116"/>
                    </a:cubicBezTo>
                    <a:cubicBezTo>
                      <a:pt x="83" y="116"/>
                      <a:pt x="87" y="113"/>
                      <a:pt x="87" y="111"/>
                    </a:cubicBezTo>
                    <a:cubicBezTo>
                      <a:pt x="87" y="111"/>
                      <a:pt x="87" y="111"/>
                      <a:pt x="86" y="111"/>
                    </a:cubicBezTo>
                    <a:cubicBezTo>
                      <a:pt x="86" y="111"/>
                      <a:pt x="86" y="111"/>
                      <a:pt x="86" y="111"/>
                    </a:cubicBezTo>
                    <a:cubicBezTo>
                      <a:pt x="85" y="111"/>
                      <a:pt x="85" y="111"/>
                      <a:pt x="85" y="111"/>
                    </a:cubicBezTo>
                    <a:cubicBezTo>
                      <a:pt x="81" y="111"/>
                      <a:pt x="81" y="109"/>
                      <a:pt x="81" y="108"/>
                    </a:cubicBezTo>
                    <a:cubicBezTo>
                      <a:pt x="81" y="106"/>
                      <a:pt x="82" y="105"/>
                      <a:pt x="82" y="105"/>
                    </a:cubicBezTo>
                    <a:cubicBezTo>
                      <a:pt x="83" y="104"/>
                      <a:pt x="83" y="104"/>
                      <a:pt x="83" y="104"/>
                    </a:cubicBezTo>
                    <a:cubicBezTo>
                      <a:pt x="83" y="104"/>
                      <a:pt x="83" y="104"/>
                      <a:pt x="83" y="104"/>
                    </a:cubicBezTo>
                    <a:cubicBezTo>
                      <a:pt x="82" y="104"/>
                      <a:pt x="81" y="104"/>
                      <a:pt x="80" y="105"/>
                    </a:cubicBezTo>
                    <a:cubicBezTo>
                      <a:pt x="80" y="105"/>
                      <a:pt x="80" y="106"/>
                      <a:pt x="79" y="106"/>
                    </a:cubicBezTo>
                    <a:cubicBezTo>
                      <a:pt x="77" y="108"/>
                      <a:pt x="75" y="110"/>
                      <a:pt x="72" y="110"/>
                    </a:cubicBezTo>
                    <a:cubicBezTo>
                      <a:pt x="68" y="110"/>
                      <a:pt x="67" y="109"/>
                      <a:pt x="67" y="106"/>
                    </a:cubicBezTo>
                    <a:cubicBezTo>
                      <a:pt x="67" y="105"/>
                      <a:pt x="67" y="104"/>
                      <a:pt x="68" y="103"/>
                    </a:cubicBezTo>
                    <a:cubicBezTo>
                      <a:pt x="68" y="103"/>
                      <a:pt x="68" y="103"/>
                      <a:pt x="68" y="103"/>
                    </a:cubicBezTo>
                    <a:cubicBezTo>
                      <a:pt x="68" y="103"/>
                      <a:pt x="68" y="103"/>
                      <a:pt x="68" y="103"/>
                    </a:cubicBezTo>
                    <a:cubicBezTo>
                      <a:pt x="65" y="103"/>
                      <a:pt x="64" y="103"/>
                      <a:pt x="64" y="104"/>
                    </a:cubicBezTo>
                    <a:cubicBezTo>
                      <a:pt x="64" y="104"/>
                      <a:pt x="64" y="105"/>
                      <a:pt x="65" y="106"/>
                    </a:cubicBezTo>
                    <a:cubicBezTo>
                      <a:pt x="66" y="108"/>
                      <a:pt x="67" y="109"/>
                      <a:pt x="67" y="111"/>
                    </a:cubicBezTo>
                    <a:cubicBezTo>
                      <a:pt x="67" y="115"/>
                      <a:pt x="65" y="117"/>
                      <a:pt x="63" y="117"/>
                    </a:cubicBezTo>
                    <a:cubicBezTo>
                      <a:pt x="61" y="117"/>
                      <a:pt x="61" y="116"/>
                      <a:pt x="60" y="115"/>
                    </a:cubicBezTo>
                    <a:cubicBezTo>
                      <a:pt x="60" y="115"/>
                      <a:pt x="60" y="114"/>
                      <a:pt x="60" y="114"/>
                    </a:cubicBezTo>
                    <a:cubicBezTo>
                      <a:pt x="59" y="114"/>
                      <a:pt x="59" y="114"/>
                      <a:pt x="59" y="115"/>
                    </a:cubicBezTo>
                    <a:cubicBezTo>
                      <a:pt x="58" y="116"/>
                      <a:pt x="57" y="117"/>
                      <a:pt x="56" y="117"/>
                    </a:cubicBezTo>
                    <a:cubicBezTo>
                      <a:pt x="55" y="117"/>
                      <a:pt x="54" y="117"/>
                      <a:pt x="54" y="118"/>
                    </a:cubicBezTo>
                    <a:cubicBezTo>
                      <a:pt x="53" y="119"/>
                      <a:pt x="52" y="120"/>
                      <a:pt x="51" y="120"/>
                    </a:cubicBezTo>
                    <a:cubicBezTo>
                      <a:pt x="50" y="120"/>
                      <a:pt x="49" y="119"/>
                      <a:pt x="48" y="118"/>
                    </a:cubicBezTo>
                    <a:cubicBezTo>
                      <a:pt x="48" y="117"/>
                      <a:pt x="47" y="117"/>
                      <a:pt x="46" y="117"/>
                    </a:cubicBezTo>
                    <a:cubicBezTo>
                      <a:pt x="36" y="117"/>
                      <a:pt x="32" y="111"/>
                      <a:pt x="32" y="106"/>
                    </a:cubicBezTo>
                    <a:cubicBezTo>
                      <a:pt x="32" y="105"/>
                      <a:pt x="32" y="105"/>
                      <a:pt x="31" y="105"/>
                    </a:cubicBezTo>
                    <a:cubicBezTo>
                      <a:pt x="30" y="105"/>
                      <a:pt x="30" y="104"/>
                      <a:pt x="29" y="103"/>
                    </a:cubicBezTo>
                    <a:cubicBezTo>
                      <a:pt x="28" y="103"/>
                      <a:pt x="28" y="102"/>
                      <a:pt x="28" y="102"/>
                    </a:cubicBezTo>
                    <a:cubicBezTo>
                      <a:pt x="28" y="102"/>
                      <a:pt x="28" y="101"/>
                      <a:pt x="28" y="101"/>
                    </a:cubicBezTo>
                    <a:cubicBezTo>
                      <a:pt x="28" y="101"/>
                      <a:pt x="28" y="101"/>
                      <a:pt x="27" y="101"/>
                    </a:cubicBezTo>
                    <a:cubicBezTo>
                      <a:pt x="27" y="101"/>
                      <a:pt x="27" y="101"/>
                      <a:pt x="27" y="102"/>
                    </a:cubicBezTo>
                    <a:cubicBezTo>
                      <a:pt x="26" y="102"/>
                      <a:pt x="26" y="104"/>
                      <a:pt x="24" y="104"/>
                    </a:cubicBezTo>
                    <a:cubicBezTo>
                      <a:pt x="22" y="104"/>
                      <a:pt x="21" y="104"/>
                      <a:pt x="20" y="105"/>
                    </a:cubicBezTo>
                    <a:cubicBezTo>
                      <a:pt x="19" y="106"/>
                      <a:pt x="19" y="107"/>
                      <a:pt x="17" y="107"/>
                    </a:cubicBezTo>
                    <a:cubicBezTo>
                      <a:pt x="15" y="107"/>
                      <a:pt x="14" y="105"/>
                      <a:pt x="14" y="104"/>
                    </a:cubicBezTo>
                    <a:cubicBezTo>
                      <a:pt x="14" y="102"/>
                      <a:pt x="13" y="102"/>
                      <a:pt x="13" y="102"/>
                    </a:cubicBezTo>
                    <a:cubicBezTo>
                      <a:pt x="12" y="102"/>
                      <a:pt x="11" y="103"/>
                      <a:pt x="11" y="103"/>
                    </a:cubicBezTo>
                    <a:cubicBezTo>
                      <a:pt x="10" y="104"/>
                      <a:pt x="8" y="105"/>
                      <a:pt x="7" y="105"/>
                    </a:cubicBezTo>
                    <a:cubicBezTo>
                      <a:pt x="4" y="105"/>
                      <a:pt x="3" y="103"/>
                      <a:pt x="3" y="101"/>
                    </a:cubicBezTo>
                    <a:cubicBezTo>
                      <a:pt x="3" y="99"/>
                      <a:pt x="4" y="99"/>
                      <a:pt x="4" y="98"/>
                    </a:cubicBezTo>
                    <a:cubicBezTo>
                      <a:pt x="5" y="98"/>
                      <a:pt x="5" y="98"/>
                      <a:pt x="5" y="97"/>
                    </a:cubicBezTo>
                    <a:cubicBezTo>
                      <a:pt x="5" y="94"/>
                      <a:pt x="11" y="87"/>
                      <a:pt x="16" y="87"/>
                    </a:cubicBezTo>
                    <a:cubicBezTo>
                      <a:pt x="18" y="87"/>
                      <a:pt x="20" y="89"/>
                      <a:pt x="20" y="90"/>
                    </a:cubicBezTo>
                    <a:cubicBezTo>
                      <a:pt x="21" y="91"/>
                      <a:pt x="22" y="92"/>
                      <a:pt x="24" y="92"/>
                    </a:cubicBezTo>
                    <a:cubicBezTo>
                      <a:pt x="27" y="92"/>
                      <a:pt x="30" y="88"/>
                      <a:pt x="30" y="87"/>
                    </a:cubicBezTo>
                    <a:cubicBezTo>
                      <a:pt x="30" y="87"/>
                      <a:pt x="30" y="86"/>
                      <a:pt x="29" y="86"/>
                    </a:cubicBezTo>
                    <a:cubicBezTo>
                      <a:pt x="28" y="86"/>
                      <a:pt x="26" y="86"/>
                      <a:pt x="26" y="84"/>
                    </a:cubicBezTo>
                    <a:cubicBezTo>
                      <a:pt x="26" y="82"/>
                      <a:pt x="22" y="75"/>
                      <a:pt x="20" y="75"/>
                    </a:cubicBezTo>
                    <a:cubicBezTo>
                      <a:pt x="17" y="75"/>
                      <a:pt x="17" y="72"/>
                      <a:pt x="17" y="71"/>
                    </a:cubicBezTo>
                    <a:cubicBezTo>
                      <a:pt x="17" y="71"/>
                      <a:pt x="17" y="71"/>
                      <a:pt x="16" y="71"/>
                    </a:cubicBezTo>
                    <a:cubicBezTo>
                      <a:pt x="16" y="70"/>
                      <a:pt x="15" y="69"/>
                      <a:pt x="15" y="68"/>
                    </a:cubicBezTo>
                    <a:cubicBezTo>
                      <a:pt x="15" y="66"/>
                      <a:pt x="16" y="66"/>
                      <a:pt x="17" y="66"/>
                    </a:cubicBezTo>
                    <a:cubicBezTo>
                      <a:pt x="17" y="66"/>
                      <a:pt x="17" y="66"/>
                      <a:pt x="17" y="66"/>
                    </a:cubicBezTo>
                    <a:cubicBezTo>
                      <a:pt x="17" y="66"/>
                      <a:pt x="17" y="66"/>
                      <a:pt x="17" y="65"/>
                    </a:cubicBezTo>
                    <a:cubicBezTo>
                      <a:pt x="17" y="65"/>
                      <a:pt x="16" y="64"/>
                      <a:pt x="15" y="64"/>
                    </a:cubicBezTo>
                    <a:cubicBezTo>
                      <a:pt x="13" y="63"/>
                      <a:pt x="11" y="61"/>
                      <a:pt x="11" y="59"/>
                    </a:cubicBezTo>
                    <a:cubicBezTo>
                      <a:pt x="11" y="57"/>
                      <a:pt x="11" y="57"/>
                      <a:pt x="10" y="57"/>
                    </a:cubicBezTo>
                    <a:cubicBezTo>
                      <a:pt x="9" y="57"/>
                      <a:pt x="9" y="57"/>
                      <a:pt x="8" y="57"/>
                    </a:cubicBezTo>
                    <a:cubicBezTo>
                      <a:pt x="7" y="58"/>
                      <a:pt x="6" y="59"/>
                      <a:pt x="4" y="59"/>
                    </a:cubicBezTo>
                    <a:cubicBezTo>
                      <a:pt x="1" y="59"/>
                      <a:pt x="0" y="57"/>
                      <a:pt x="0" y="55"/>
                    </a:cubicBezTo>
                    <a:cubicBezTo>
                      <a:pt x="0" y="52"/>
                      <a:pt x="4" y="49"/>
                      <a:pt x="9" y="49"/>
                    </a:cubicBezTo>
                    <a:cubicBezTo>
                      <a:pt x="11" y="49"/>
                      <a:pt x="12" y="50"/>
                      <a:pt x="14" y="50"/>
                    </a:cubicBezTo>
                    <a:cubicBezTo>
                      <a:pt x="15" y="51"/>
                      <a:pt x="15" y="51"/>
                      <a:pt x="17" y="51"/>
                    </a:cubicBezTo>
                    <a:cubicBezTo>
                      <a:pt x="19" y="51"/>
                      <a:pt x="20" y="51"/>
                      <a:pt x="20" y="47"/>
                    </a:cubicBezTo>
                    <a:cubicBezTo>
                      <a:pt x="20" y="46"/>
                      <a:pt x="20" y="46"/>
                      <a:pt x="20" y="46"/>
                    </a:cubicBezTo>
                    <a:cubicBezTo>
                      <a:pt x="21" y="46"/>
                      <a:pt x="21" y="46"/>
                      <a:pt x="21" y="46"/>
                    </a:cubicBezTo>
                    <a:cubicBezTo>
                      <a:pt x="21" y="46"/>
                      <a:pt x="31" y="47"/>
                      <a:pt x="36" y="47"/>
                    </a:cubicBezTo>
                    <a:cubicBezTo>
                      <a:pt x="41" y="47"/>
                      <a:pt x="41" y="47"/>
                      <a:pt x="41" y="46"/>
                    </a:cubicBezTo>
                    <a:cubicBezTo>
                      <a:pt x="40" y="45"/>
                      <a:pt x="40" y="45"/>
                      <a:pt x="39" y="45"/>
                    </a:cubicBezTo>
                    <a:cubicBezTo>
                      <a:pt x="37" y="43"/>
                      <a:pt x="33" y="41"/>
                      <a:pt x="33" y="35"/>
                    </a:cubicBezTo>
                    <a:cubicBezTo>
                      <a:pt x="33" y="34"/>
                      <a:pt x="33" y="34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9" y="34"/>
                      <a:pt x="39" y="34"/>
                      <a:pt x="39" y="34"/>
                    </a:cubicBezTo>
                    <a:cubicBezTo>
                      <a:pt x="40" y="34"/>
                      <a:pt x="41" y="33"/>
                      <a:pt x="41" y="33"/>
                    </a:cubicBezTo>
                    <a:cubicBezTo>
                      <a:pt x="42" y="32"/>
                      <a:pt x="43" y="32"/>
                      <a:pt x="45" y="32"/>
                    </a:cubicBezTo>
                    <a:cubicBezTo>
                      <a:pt x="49" y="32"/>
                      <a:pt x="51" y="33"/>
                      <a:pt x="52" y="34"/>
                    </a:cubicBezTo>
                    <a:cubicBezTo>
                      <a:pt x="54" y="35"/>
                      <a:pt x="55" y="36"/>
                      <a:pt x="58" y="36"/>
                    </a:cubicBezTo>
                    <a:cubicBezTo>
                      <a:pt x="61" y="36"/>
                      <a:pt x="63" y="35"/>
                      <a:pt x="65" y="34"/>
                    </a:cubicBezTo>
                    <a:cubicBezTo>
                      <a:pt x="66" y="33"/>
                      <a:pt x="67" y="32"/>
                      <a:pt x="68" y="32"/>
                    </a:cubicBezTo>
                    <a:cubicBezTo>
                      <a:pt x="68" y="32"/>
                      <a:pt x="68" y="32"/>
                      <a:pt x="68" y="32"/>
                    </a:cubicBezTo>
                    <a:cubicBezTo>
                      <a:pt x="69" y="31"/>
                      <a:pt x="69" y="29"/>
                      <a:pt x="69" y="28"/>
                    </a:cubicBezTo>
                    <a:cubicBezTo>
                      <a:pt x="69" y="27"/>
                      <a:pt x="69" y="27"/>
                      <a:pt x="69" y="27"/>
                    </a:cubicBezTo>
                    <a:cubicBezTo>
                      <a:pt x="69" y="25"/>
                      <a:pt x="69" y="25"/>
                      <a:pt x="69" y="25"/>
                    </a:cubicBezTo>
                    <a:cubicBezTo>
                      <a:pt x="70" y="26"/>
                      <a:pt x="70" y="26"/>
                      <a:pt x="70" y="26"/>
                    </a:cubicBezTo>
                    <a:cubicBezTo>
                      <a:pt x="70" y="26"/>
                      <a:pt x="77" y="27"/>
                      <a:pt x="82" y="30"/>
                    </a:cubicBezTo>
                    <a:cubicBezTo>
                      <a:pt x="87" y="32"/>
                      <a:pt x="94" y="34"/>
                      <a:pt x="100" y="34"/>
                    </a:cubicBezTo>
                    <a:cubicBezTo>
                      <a:pt x="103" y="34"/>
                      <a:pt x="106" y="33"/>
                      <a:pt x="109" y="32"/>
                    </a:cubicBezTo>
                    <a:cubicBezTo>
                      <a:pt x="111" y="31"/>
                      <a:pt x="114" y="30"/>
                      <a:pt x="117" y="30"/>
                    </a:cubicBezTo>
                    <a:cubicBezTo>
                      <a:pt x="118" y="30"/>
                      <a:pt x="119" y="30"/>
                      <a:pt x="121" y="30"/>
                    </a:cubicBezTo>
                    <a:cubicBezTo>
                      <a:pt x="122" y="30"/>
                      <a:pt x="123" y="30"/>
                      <a:pt x="125" y="30"/>
                    </a:cubicBezTo>
                    <a:cubicBezTo>
                      <a:pt x="128" y="30"/>
                      <a:pt x="130" y="30"/>
                      <a:pt x="133" y="31"/>
                    </a:cubicBezTo>
                    <a:cubicBezTo>
                      <a:pt x="139" y="34"/>
                      <a:pt x="142" y="38"/>
                      <a:pt x="146" y="43"/>
                    </a:cubicBezTo>
                    <a:cubicBezTo>
                      <a:pt x="149" y="48"/>
                      <a:pt x="153" y="50"/>
                      <a:pt x="157" y="50"/>
                    </a:cubicBezTo>
                    <a:cubicBezTo>
                      <a:pt x="159" y="50"/>
                      <a:pt x="162" y="50"/>
                      <a:pt x="166" y="49"/>
                    </a:cubicBezTo>
                    <a:cubicBezTo>
                      <a:pt x="170" y="49"/>
                      <a:pt x="174" y="48"/>
                      <a:pt x="176" y="48"/>
                    </a:cubicBezTo>
                    <a:cubicBezTo>
                      <a:pt x="181" y="48"/>
                      <a:pt x="185" y="49"/>
                      <a:pt x="185" y="56"/>
                    </a:cubicBezTo>
                    <a:cubicBezTo>
                      <a:pt x="185" y="58"/>
                      <a:pt x="186" y="58"/>
                      <a:pt x="187" y="59"/>
                    </a:cubicBezTo>
                    <a:cubicBezTo>
                      <a:pt x="188" y="59"/>
                      <a:pt x="190" y="59"/>
                      <a:pt x="192" y="59"/>
                    </a:cubicBezTo>
                    <a:cubicBezTo>
                      <a:pt x="192" y="59"/>
                      <a:pt x="192" y="59"/>
                      <a:pt x="192" y="59"/>
                    </a:cubicBezTo>
                    <a:cubicBezTo>
                      <a:pt x="193" y="59"/>
                      <a:pt x="193" y="59"/>
                      <a:pt x="193" y="59"/>
                    </a:cubicBezTo>
                    <a:cubicBezTo>
                      <a:pt x="199" y="59"/>
                      <a:pt x="204" y="63"/>
                      <a:pt x="209" y="72"/>
                    </a:cubicBezTo>
                    <a:cubicBezTo>
                      <a:pt x="214" y="81"/>
                      <a:pt x="219" y="82"/>
                      <a:pt x="226" y="82"/>
                    </a:cubicBezTo>
                    <a:cubicBezTo>
                      <a:pt x="230" y="82"/>
                      <a:pt x="232" y="80"/>
                      <a:pt x="233" y="78"/>
                    </a:cubicBezTo>
                    <a:cubicBezTo>
                      <a:pt x="234" y="76"/>
                      <a:pt x="235" y="75"/>
                      <a:pt x="237" y="75"/>
                    </a:cubicBezTo>
                    <a:cubicBezTo>
                      <a:pt x="242" y="75"/>
                      <a:pt x="242" y="72"/>
                      <a:pt x="242" y="71"/>
                    </a:cubicBezTo>
                    <a:cubicBezTo>
                      <a:pt x="242" y="68"/>
                      <a:pt x="245" y="66"/>
                      <a:pt x="247" y="64"/>
                    </a:cubicBezTo>
                    <a:cubicBezTo>
                      <a:pt x="249" y="62"/>
                      <a:pt x="251" y="61"/>
                      <a:pt x="251" y="59"/>
                    </a:cubicBezTo>
                    <a:cubicBezTo>
                      <a:pt x="251" y="58"/>
                      <a:pt x="251" y="56"/>
                      <a:pt x="250" y="55"/>
                    </a:cubicBezTo>
                    <a:cubicBezTo>
                      <a:pt x="250" y="54"/>
                      <a:pt x="249" y="52"/>
                      <a:pt x="249" y="51"/>
                    </a:cubicBezTo>
                    <a:cubicBezTo>
                      <a:pt x="249" y="48"/>
                      <a:pt x="252" y="46"/>
                      <a:pt x="255" y="43"/>
                    </a:cubicBezTo>
                    <a:cubicBezTo>
                      <a:pt x="260" y="41"/>
                      <a:pt x="261" y="39"/>
                      <a:pt x="261" y="37"/>
                    </a:cubicBezTo>
                    <a:cubicBezTo>
                      <a:pt x="261" y="36"/>
                      <a:pt x="261" y="35"/>
                      <a:pt x="261" y="35"/>
                    </a:cubicBezTo>
                    <a:cubicBezTo>
                      <a:pt x="261" y="33"/>
                      <a:pt x="260" y="31"/>
                      <a:pt x="263" y="30"/>
                    </a:cubicBezTo>
                    <a:cubicBezTo>
                      <a:pt x="265" y="29"/>
                      <a:pt x="265" y="28"/>
                      <a:pt x="266" y="26"/>
                    </a:cubicBezTo>
                    <a:cubicBezTo>
                      <a:pt x="267" y="24"/>
                      <a:pt x="268" y="22"/>
                      <a:pt x="271" y="22"/>
                    </a:cubicBezTo>
                    <a:cubicBezTo>
                      <a:pt x="272" y="22"/>
                      <a:pt x="273" y="23"/>
                      <a:pt x="274" y="23"/>
                    </a:cubicBezTo>
                    <a:cubicBezTo>
                      <a:pt x="275" y="24"/>
                      <a:pt x="277" y="24"/>
                      <a:pt x="281" y="24"/>
                    </a:cubicBezTo>
                    <a:cubicBezTo>
                      <a:pt x="288" y="24"/>
                      <a:pt x="292" y="20"/>
                      <a:pt x="295" y="18"/>
                    </a:cubicBezTo>
                    <a:cubicBezTo>
                      <a:pt x="295" y="17"/>
                      <a:pt x="295" y="17"/>
                      <a:pt x="295" y="17"/>
                    </a:cubicBezTo>
                    <a:cubicBezTo>
                      <a:pt x="298" y="15"/>
                      <a:pt x="301" y="15"/>
                      <a:pt x="301" y="15"/>
                    </a:cubicBezTo>
                    <a:cubicBezTo>
                      <a:pt x="302" y="15"/>
                      <a:pt x="302" y="15"/>
                      <a:pt x="302" y="15"/>
                    </a:cubicBezTo>
                    <a:cubicBezTo>
                      <a:pt x="302" y="16"/>
                      <a:pt x="302" y="16"/>
                      <a:pt x="302" y="16"/>
                    </a:cubicBezTo>
                    <a:cubicBezTo>
                      <a:pt x="302" y="18"/>
                      <a:pt x="302" y="19"/>
                      <a:pt x="310" y="19"/>
                    </a:cubicBezTo>
                    <a:cubicBezTo>
                      <a:pt x="314" y="19"/>
                      <a:pt x="316" y="18"/>
                      <a:pt x="318" y="17"/>
                    </a:cubicBezTo>
                    <a:cubicBezTo>
                      <a:pt x="321" y="16"/>
                      <a:pt x="323" y="15"/>
                      <a:pt x="327" y="15"/>
                    </a:cubicBezTo>
                    <a:cubicBezTo>
                      <a:pt x="333" y="15"/>
                      <a:pt x="335" y="10"/>
                      <a:pt x="335" y="9"/>
                    </a:cubicBezTo>
                    <a:cubicBezTo>
                      <a:pt x="335" y="8"/>
                      <a:pt x="335" y="8"/>
                      <a:pt x="335" y="8"/>
                    </a:cubicBezTo>
                    <a:cubicBezTo>
                      <a:pt x="335" y="6"/>
                      <a:pt x="335" y="5"/>
                      <a:pt x="338" y="3"/>
                    </a:cubicBezTo>
                    <a:cubicBezTo>
                      <a:pt x="341" y="0"/>
                      <a:pt x="348" y="0"/>
                      <a:pt x="353" y="0"/>
                    </a:cubicBezTo>
                    <a:cubicBezTo>
                      <a:pt x="356" y="0"/>
                      <a:pt x="359" y="0"/>
                      <a:pt x="362" y="1"/>
                    </a:cubicBezTo>
                    <a:cubicBezTo>
                      <a:pt x="365" y="1"/>
                      <a:pt x="368" y="2"/>
                      <a:pt x="370" y="2"/>
                    </a:cubicBezTo>
                    <a:cubicBezTo>
                      <a:pt x="373" y="2"/>
                      <a:pt x="375" y="5"/>
                      <a:pt x="377" y="9"/>
                    </a:cubicBezTo>
                    <a:cubicBezTo>
                      <a:pt x="378" y="12"/>
                      <a:pt x="380" y="15"/>
                      <a:pt x="382" y="16"/>
                    </a:cubicBezTo>
                    <a:cubicBezTo>
                      <a:pt x="385" y="18"/>
                      <a:pt x="391" y="22"/>
                      <a:pt x="391" y="26"/>
                    </a:cubicBezTo>
                    <a:cubicBezTo>
                      <a:pt x="391" y="27"/>
                      <a:pt x="390" y="28"/>
                      <a:pt x="390" y="30"/>
                    </a:cubicBezTo>
                    <a:cubicBezTo>
                      <a:pt x="390" y="31"/>
                      <a:pt x="390" y="32"/>
                      <a:pt x="390" y="34"/>
                    </a:cubicBezTo>
                    <a:cubicBezTo>
                      <a:pt x="390" y="36"/>
                      <a:pt x="391" y="37"/>
                      <a:pt x="394" y="39"/>
                    </a:cubicBezTo>
                    <a:cubicBezTo>
                      <a:pt x="395" y="39"/>
                      <a:pt x="396" y="40"/>
                      <a:pt x="397" y="40"/>
                    </a:cubicBezTo>
                    <a:cubicBezTo>
                      <a:pt x="398" y="41"/>
                      <a:pt x="398" y="41"/>
                      <a:pt x="399" y="42"/>
                    </a:cubicBezTo>
                    <a:cubicBezTo>
                      <a:pt x="400" y="43"/>
                      <a:pt x="402" y="44"/>
                      <a:pt x="405" y="47"/>
                    </a:cubicBezTo>
                    <a:cubicBezTo>
                      <a:pt x="413" y="55"/>
                      <a:pt x="414" y="67"/>
                      <a:pt x="414" y="77"/>
                    </a:cubicBezTo>
                    <a:cubicBezTo>
                      <a:pt x="414" y="82"/>
                      <a:pt x="417" y="90"/>
                      <a:pt x="420" y="96"/>
                    </a:cubicBezTo>
                    <a:cubicBezTo>
                      <a:pt x="422" y="99"/>
                      <a:pt x="421" y="102"/>
                      <a:pt x="421" y="104"/>
                    </a:cubicBezTo>
                    <a:cubicBezTo>
                      <a:pt x="421" y="105"/>
                      <a:pt x="420" y="107"/>
                      <a:pt x="420" y="107"/>
                    </a:cubicBezTo>
                    <a:cubicBezTo>
                      <a:pt x="420" y="108"/>
                      <a:pt x="421" y="109"/>
                      <a:pt x="422" y="110"/>
                    </a:cubicBezTo>
                    <a:cubicBezTo>
                      <a:pt x="424" y="112"/>
                      <a:pt x="426" y="113"/>
                      <a:pt x="426" y="116"/>
                    </a:cubicBezTo>
                    <a:cubicBezTo>
                      <a:pt x="426" y="118"/>
                      <a:pt x="425" y="120"/>
                      <a:pt x="424" y="121"/>
                    </a:cubicBezTo>
                    <a:cubicBezTo>
                      <a:pt x="423" y="122"/>
                      <a:pt x="423" y="122"/>
                      <a:pt x="423" y="123"/>
                    </a:cubicBezTo>
                    <a:cubicBezTo>
                      <a:pt x="423" y="126"/>
                      <a:pt x="424" y="129"/>
                      <a:pt x="428" y="129"/>
                    </a:cubicBezTo>
                    <a:cubicBezTo>
                      <a:pt x="434" y="129"/>
                      <a:pt x="439" y="141"/>
                      <a:pt x="439" y="148"/>
                    </a:cubicBezTo>
                    <a:cubicBezTo>
                      <a:pt x="439" y="154"/>
                      <a:pt x="443" y="159"/>
                      <a:pt x="449" y="159"/>
                    </a:cubicBezTo>
                    <a:cubicBezTo>
                      <a:pt x="465" y="159"/>
                      <a:pt x="465" y="159"/>
                      <a:pt x="465" y="159"/>
                    </a:cubicBezTo>
                    <a:cubicBezTo>
                      <a:pt x="465" y="159"/>
                      <a:pt x="465" y="159"/>
                      <a:pt x="465" y="159"/>
                    </a:cubicBezTo>
                    <a:cubicBezTo>
                      <a:pt x="466" y="159"/>
                      <a:pt x="466" y="159"/>
                      <a:pt x="466" y="159"/>
                    </a:cubicBezTo>
                    <a:cubicBezTo>
                      <a:pt x="467" y="160"/>
                      <a:pt x="480" y="169"/>
                      <a:pt x="480" y="175"/>
                    </a:cubicBezTo>
                    <a:cubicBezTo>
                      <a:pt x="480" y="182"/>
                      <a:pt x="475" y="186"/>
                      <a:pt x="469" y="186"/>
                    </a:cubicBezTo>
                    <a:cubicBezTo>
                      <a:pt x="465" y="186"/>
                      <a:pt x="458" y="193"/>
                      <a:pt x="456" y="195"/>
                    </a:cubicBezTo>
                    <a:cubicBezTo>
                      <a:pt x="456" y="195"/>
                      <a:pt x="456" y="195"/>
                      <a:pt x="456" y="195"/>
                    </a:cubicBezTo>
                    <a:cubicBezTo>
                      <a:pt x="456" y="195"/>
                      <a:pt x="456" y="195"/>
                      <a:pt x="456" y="195"/>
                    </a:cubicBezTo>
                    <a:cubicBezTo>
                      <a:pt x="456" y="195"/>
                      <a:pt x="454" y="197"/>
                      <a:pt x="450" y="197"/>
                    </a:cubicBezTo>
                    <a:cubicBezTo>
                      <a:pt x="447" y="197"/>
                      <a:pt x="441" y="203"/>
                      <a:pt x="441" y="207"/>
                    </a:cubicBezTo>
                    <a:cubicBezTo>
                      <a:pt x="441" y="209"/>
                      <a:pt x="439" y="211"/>
                      <a:pt x="438" y="213"/>
                    </a:cubicBezTo>
                    <a:cubicBezTo>
                      <a:pt x="436" y="215"/>
                      <a:pt x="435" y="216"/>
                      <a:pt x="435" y="218"/>
                    </a:cubicBezTo>
                    <a:cubicBezTo>
                      <a:pt x="435" y="223"/>
                      <a:pt x="433" y="226"/>
                      <a:pt x="430" y="228"/>
                    </a:cubicBezTo>
                    <a:cubicBezTo>
                      <a:pt x="430" y="228"/>
                      <a:pt x="429" y="229"/>
                      <a:pt x="428" y="229"/>
                    </a:cubicBezTo>
                    <a:cubicBezTo>
                      <a:pt x="427" y="230"/>
                      <a:pt x="426" y="230"/>
                      <a:pt x="426" y="231"/>
                    </a:cubicBezTo>
                    <a:cubicBezTo>
                      <a:pt x="426" y="232"/>
                      <a:pt x="425" y="233"/>
                      <a:pt x="424" y="234"/>
                    </a:cubicBezTo>
                    <a:cubicBezTo>
                      <a:pt x="420" y="236"/>
                      <a:pt x="415" y="239"/>
                      <a:pt x="415" y="248"/>
                    </a:cubicBezTo>
                    <a:cubicBezTo>
                      <a:pt x="415" y="252"/>
                      <a:pt x="412" y="253"/>
                      <a:pt x="410" y="255"/>
                    </a:cubicBezTo>
                    <a:cubicBezTo>
                      <a:pt x="408" y="256"/>
                      <a:pt x="407" y="256"/>
                      <a:pt x="407" y="258"/>
                    </a:cubicBezTo>
                    <a:cubicBezTo>
                      <a:pt x="407" y="259"/>
                      <a:pt x="407" y="259"/>
                      <a:pt x="407" y="259"/>
                    </a:cubicBezTo>
                    <a:cubicBezTo>
                      <a:pt x="407" y="259"/>
                      <a:pt x="407" y="259"/>
                      <a:pt x="407" y="259"/>
                    </a:cubicBezTo>
                    <a:cubicBezTo>
                      <a:pt x="406" y="259"/>
                      <a:pt x="398" y="267"/>
                      <a:pt x="392" y="267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42" name="Freeform 26"/>
              <p:cNvSpPr>
                <a:spLocks/>
              </p:cNvSpPr>
              <p:nvPr/>
            </p:nvSpPr>
            <p:spPr bwMode="auto">
              <a:xfrm>
                <a:off x="2042" y="2085"/>
                <a:ext cx="559" cy="464"/>
              </a:xfrm>
              <a:custGeom>
                <a:avLst/>
                <a:gdLst>
                  <a:gd name="T0" fmla="*/ 173 w 236"/>
                  <a:gd name="T1" fmla="*/ 196 h 196"/>
                  <a:gd name="T2" fmla="*/ 167 w 236"/>
                  <a:gd name="T3" fmla="*/ 187 h 196"/>
                  <a:gd name="T4" fmla="*/ 158 w 236"/>
                  <a:gd name="T5" fmla="*/ 185 h 196"/>
                  <a:gd name="T6" fmla="*/ 153 w 236"/>
                  <a:gd name="T7" fmla="*/ 186 h 196"/>
                  <a:gd name="T8" fmla="*/ 130 w 236"/>
                  <a:gd name="T9" fmla="*/ 173 h 196"/>
                  <a:gd name="T10" fmla="*/ 120 w 236"/>
                  <a:gd name="T11" fmla="*/ 169 h 196"/>
                  <a:gd name="T12" fmla="*/ 101 w 236"/>
                  <a:gd name="T13" fmla="*/ 185 h 196"/>
                  <a:gd name="T14" fmla="*/ 58 w 236"/>
                  <a:gd name="T15" fmla="*/ 147 h 196"/>
                  <a:gd name="T16" fmla="*/ 57 w 236"/>
                  <a:gd name="T17" fmla="*/ 146 h 196"/>
                  <a:gd name="T18" fmla="*/ 58 w 236"/>
                  <a:gd name="T19" fmla="*/ 134 h 196"/>
                  <a:gd name="T20" fmla="*/ 58 w 236"/>
                  <a:gd name="T21" fmla="*/ 126 h 196"/>
                  <a:gd name="T22" fmla="*/ 65 w 236"/>
                  <a:gd name="T23" fmla="*/ 114 h 196"/>
                  <a:gd name="T24" fmla="*/ 70 w 236"/>
                  <a:gd name="T25" fmla="*/ 99 h 196"/>
                  <a:gd name="T26" fmla="*/ 56 w 236"/>
                  <a:gd name="T27" fmla="*/ 94 h 196"/>
                  <a:gd name="T28" fmla="*/ 46 w 236"/>
                  <a:gd name="T29" fmla="*/ 93 h 196"/>
                  <a:gd name="T30" fmla="*/ 22 w 236"/>
                  <a:gd name="T31" fmla="*/ 82 h 196"/>
                  <a:gd name="T32" fmla="*/ 8 w 236"/>
                  <a:gd name="T33" fmla="*/ 68 h 196"/>
                  <a:gd name="T34" fmla="*/ 6 w 236"/>
                  <a:gd name="T35" fmla="*/ 57 h 196"/>
                  <a:gd name="T36" fmla="*/ 1 w 236"/>
                  <a:gd name="T37" fmla="*/ 37 h 196"/>
                  <a:gd name="T38" fmla="*/ 10 w 236"/>
                  <a:gd name="T39" fmla="*/ 44 h 196"/>
                  <a:gd name="T40" fmla="*/ 16 w 236"/>
                  <a:gd name="T41" fmla="*/ 50 h 196"/>
                  <a:gd name="T42" fmla="*/ 25 w 236"/>
                  <a:gd name="T43" fmla="*/ 44 h 196"/>
                  <a:gd name="T44" fmla="*/ 41 w 236"/>
                  <a:gd name="T45" fmla="*/ 47 h 196"/>
                  <a:gd name="T46" fmla="*/ 59 w 236"/>
                  <a:gd name="T47" fmla="*/ 51 h 196"/>
                  <a:gd name="T48" fmla="*/ 73 w 236"/>
                  <a:gd name="T49" fmla="*/ 46 h 196"/>
                  <a:gd name="T50" fmla="*/ 73 w 236"/>
                  <a:gd name="T51" fmla="*/ 26 h 196"/>
                  <a:gd name="T52" fmla="*/ 74 w 236"/>
                  <a:gd name="T53" fmla="*/ 14 h 196"/>
                  <a:gd name="T54" fmla="*/ 76 w 236"/>
                  <a:gd name="T55" fmla="*/ 12 h 196"/>
                  <a:gd name="T56" fmla="*/ 78 w 236"/>
                  <a:gd name="T57" fmla="*/ 9 h 196"/>
                  <a:gd name="T58" fmla="*/ 88 w 236"/>
                  <a:gd name="T59" fmla="*/ 12 h 196"/>
                  <a:gd name="T60" fmla="*/ 97 w 236"/>
                  <a:gd name="T61" fmla="*/ 7 h 196"/>
                  <a:gd name="T62" fmla="*/ 105 w 236"/>
                  <a:gd name="T63" fmla="*/ 11 h 196"/>
                  <a:gd name="T64" fmla="*/ 118 w 236"/>
                  <a:gd name="T65" fmla="*/ 0 h 196"/>
                  <a:gd name="T66" fmla="*/ 138 w 236"/>
                  <a:gd name="T67" fmla="*/ 9 h 196"/>
                  <a:gd name="T68" fmla="*/ 155 w 236"/>
                  <a:gd name="T69" fmla="*/ 41 h 196"/>
                  <a:gd name="T70" fmla="*/ 165 w 236"/>
                  <a:gd name="T71" fmla="*/ 47 h 196"/>
                  <a:gd name="T72" fmla="*/ 178 w 236"/>
                  <a:gd name="T73" fmla="*/ 55 h 196"/>
                  <a:gd name="T74" fmla="*/ 175 w 236"/>
                  <a:gd name="T75" fmla="*/ 61 h 196"/>
                  <a:gd name="T76" fmla="*/ 185 w 236"/>
                  <a:gd name="T77" fmla="*/ 62 h 196"/>
                  <a:gd name="T78" fmla="*/ 195 w 236"/>
                  <a:gd name="T79" fmla="*/ 61 h 196"/>
                  <a:gd name="T80" fmla="*/ 198 w 236"/>
                  <a:gd name="T81" fmla="*/ 61 h 196"/>
                  <a:gd name="T82" fmla="*/ 204 w 236"/>
                  <a:gd name="T83" fmla="*/ 64 h 196"/>
                  <a:gd name="T84" fmla="*/ 210 w 236"/>
                  <a:gd name="T85" fmla="*/ 63 h 196"/>
                  <a:gd name="T86" fmla="*/ 214 w 236"/>
                  <a:gd name="T87" fmla="*/ 59 h 196"/>
                  <a:gd name="T88" fmla="*/ 223 w 236"/>
                  <a:gd name="T89" fmla="*/ 55 h 196"/>
                  <a:gd name="T90" fmla="*/ 225 w 236"/>
                  <a:gd name="T91" fmla="*/ 62 h 196"/>
                  <a:gd name="T92" fmla="*/ 230 w 236"/>
                  <a:gd name="T93" fmla="*/ 84 h 196"/>
                  <a:gd name="T94" fmla="*/ 236 w 236"/>
                  <a:gd name="T95" fmla="*/ 94 h 196"/>
                  <a:gd name="T96" fmla="*/ 226 w 236"/>
                  <a:gd name="T97" fmla="*/ 96 h 196"/>
                  <a:gd name="T98" fmla="*/ 215 w 236"/>
                  <a:gd name="T99" fmla="*/ 111 h 196"/>
                  <a:gd name="T100" fmla="*/ 202 w 236"/>
                  <a:gd name="T101" fmla="*/ 114 h 196"/>
                  <a:gd name="T102" fmla="*/ 188 w 236"/>
                  <a:gd name="T103" fmla="*/ 122 h 196"/>
                  <a:gd name="T104" fmla="*/ 194 w 236"/>
                  <a:gd name="T105" fmla="*/ 131 h 196"/>
                  <a:gd name="T106" fmla="*/ 204 w 236"/>
                  <a:gd name="T107" fmla="*/ 142 h 196"/>
                  <a:gd name="T108" fmla="*/ 208 w 236"/>
                  <a:gd name="T109" fmla="*/ 153 h 196"/>
                  <a:gd name="T110" fmla="*/ 200 w 236"/>
                  <a:gd name="T111" fmla="*/ 164 h 196"/>
                  <a:gd name="T112" fmla="*/ 182 w 236"/>
                  <a:gd name="T113" fmla="*/ 183 h 196"/>
                  <a:gd name="T114" fmla="*/ 177 w 236"/>
                  <a:gd name="T115" fmla="*/ 192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36" h="196">
                    <a:moveTo>
                      <a:pt x="175" y="196"/>
                    </a:moveTo>
                    <a:cubicBezTo>
                      <a:pt x="173" y="196"/>
                      <a:pt x="173" y="196"/>
                      <a:pt x="173" y="196"/>
                    </a:cubicBezTo>
                    <a:cubicBezTo>
                      <a:pt x="173" y="196"/>
                      <a:pt x="169" y="194"/>
                      <a:pt x="169" y="190"/>
                    </a:cubicBezTo>
                    <a:cubicBezTo>
                      <a:pt x="169" y="187"/>
                      <a:pt x="168" y="187"/>
                      <a:pt x="167" y="187"/>
                    </a:cubicBezTo>
                    <a:cubicBezTo>
                      <a:pt x="166" y="187"/>
                      <a:pt x="165" y="187"/>
                      <a:pt x="163" y="186"/>
                    </a:cubicBezTo>
                    <a:cubicBezTo>
                      <a:pt x="162" y="186"/>
                      <a:pt x="160" y="185"/>
                      <a:pt x="158" y="185"/>
                    </a:cubicBezTo>
                    <a:cubicBezTo>
                      <a:pt x="157" y="185"/>
                      <a:pt x="156" y="186"/>
                      <a:pt x="155" y="186"/>
                    </a:cubicBezTo>
                    <a:cubicBezTo>
                      <a:pt x="154" y="186"/>
                      <a:pt x="153" y="186"/>
                      <a:pt x="153" y="186"/>
                    </a:cubicBezTo>
                    <a:cubicBezTo>
                      <a:pt x="151" y="186"/>
                      <a:pt x="149" y="185"/>
                      <a:pt x="147" y="184"/>
                    </a:cubicBezTo>
                    <a:cubicBezTo>
                      <a:pt x="143" y="181"/>
                      <a:pt x="135" y="174"/>
                      <a:pt x="130" y="173"/>
                    </a:cubicBezTo>
                    <a:cubicBezTo>
                      <a:pt x="128" y="172"/>
                      <a:pt x="126" y="171"/>
                      <a:pt x="125" y="171"/>
                    </a:cubicBezTo>
                    <a:cubicBezTo>
                      <a:pt x="124" y="170"/>
                      <a:pt x="123" y="169"/>
                      <a:pt x="120" y="169"/>
                    </a:cubicBezTo>
                    <a:cubicBezTo>
                      <a:pt x="117" y="169"/>
                      <a:pt x="112" y="169"/>
                      <a:pt x="112" y="172"/>
                    </a:cubicBezTo>
                    <a:cubicBezTo>
                      <a:pt x="112" y="176"/>
                      <a:pt x="108" y="185"/>
                      <a:pt x="101" y="185"/>
                    </a:cubicBezTo>
                    <a:cubicBezTo>
                      <a:pt x="94" y="185"/>
                      <a:pt x="91" y="182"/>
                      <a:pt x="87" y="175"/>
                    </a:cubicBezTo>
                    <a:cubicBezTo>
                      <a:pt x="84" y="170"/>
                      <a:pt x="76" y="154"/>
                      <a:pt x="58" y="147"/>
                    </a:cubicBezTo>
                    <a:cubicBezTo>
                      <a:pt x="57" y="147"/>
                      <a:pt x="57" y="147"/>
                      <a:pt x="57" y="147"/>
                    </a:cubicBezTo>
                    <a:cubicBezTo>
                      <a:pt x="57" y="146"/>
                      <a:pt x="57" y="146"/>
                      <a:pt x="57" y="146"/>
                    </a:cubicBezTo>
                    <a:cubicBezTo>
                      <a:pt x="57" y="146"/>
                      <a:pt x="58" y="139"/>
                      <a:pt x="58" y="135"/>
                    </a:cubicBezTo>
                    <a:cubicBezTo>
                      <a:pt x="58" y="135"/>
                      <a:pt x="58" y="135"/>
                      <a:pt x="58" y="134"/>
                    </a:cubicBezTo>
                    <a:cubicBezTo>
                      <a:pt x="58" y="133"/>
                      <a:pt x="58" y="132"/>
                      <a:pt x="57" y="131"/>
                    </a:cubicBezTo>
                    <a:cubicBezTo>
                      <a:pt x="57" y="130"/>
                      <a:pt x="57" y="129"/>
                      <a:pt x="58" y="126"/>
                    </a:cubicBezTo>
                    <a:cubicBezTo>
                      <a:pt x="59" y="125"/>
                      <a:pt x="59" y="124"/>
                      <a:pt x="61" y="123"/>
                    </a:cubicBezTo>
                    <a:cubicBezTo>
                      <a:pt x="63" y="120"/>
                      <a:pt x="65" y="117"/>
                      <a:pt x="65" y="114"/>
                    </a:cubicBezTo>
                    <a:cubicBezTo>
                      <a:pt x="65" y="109"/>
                      <a:pt x="67" y="106"/>
                      <a:pt x="68" y="104"/>
                    </a:cubicBezTo>
                    <a:cubicBezTo>
                      <a:pt x="70" y="102"/>
                      <a:pt x="70" y="101"/>
                      <a:pt x="70" y="99"/>
                    </a:cubicBezTo>
                    <a:cubicBezTo>
                      <a:pt x="70" y="95"/>
                      <a:pt x="66" y="89"/>
                      <a:pt x="61" y="89"/>
                    </a:cubicBezTo>
                    <a:cubicBezTo>
                      <a:pt x="59" y="89"/>
                      <a:pt x="58" y="91"/>
                      <a:pt x="56" y="94"/>
                    </a:cubicBezTo>
                    <a:cubicBezTo>
                      <a:pt x="55" y="96"/>
                      <a:pt x="54" y="99"/>
                      <a:pt x="51" y="99"/>
                    </a:cubicBezTo>
                    <a:cubicBezTo>
                      <a:pt x="48" y="99"/>
                      <a:pt x="47" y="96"/>
                      <a:pt x="46" y="93"/>
                    </a:cubicBezTo>
                    <a:cubicBezTo>
                      <a:pt x="45" y="89"/>
                      <a:pt x="44" y="87"/>
                      <a:pt x="42" y="87"/>
                    </a:cubicBezTo>
                    <a:cubicBezTo>
                      <a:pt x="36" y="87"/>
                      <a:pt x="29" y="86"/>
                      <a:pt x="22" y="82"/>
                    </a:cubicBezTo>
                    <a:cubicBezTo>
                      <a:pt x="22" y="82"/>
                      <a:pt x="22" y="82"/>
                      <a:pt x="22" y="82"/>
                    </a:cubicBezTo>
                    <a:cubicBezTo>
                      <a:pt x="14" y="76"/>
                      <a:pt x="8" y="72"/>
                      <a:pt x="8" y="68"/>
                    </a:cubicBezTo>
                    <a:cubicBezTo>
                      <a:pt x="8" y="67"/>
                      <a:pt x="8" y="66"/>
                      <a:pt x="8" y="66"/>
                    </a:cubicBezTo>
                    <a:cubicBezTo>
                      <a:pt x="8" y="63"/>
                      <a:pt x="8" y="60"/>
                      <a:pt x="6" y="57"/>
                    </a:cubicBezTo>
                    <a:cubicBezTo>
                      <a:pt x="0" y="46"/>
                      <a:pt x="1" y="39"/>
                      <a:pt x="1" y="38"/>
                    </a:cubicBezTo>
                    <a:cubicBezTo>
                      <a:pt x="1" y="37"/>
                      <a:pt x="1" y="37"/>
                      <a:pt x="1" y="37"/>
                    </a:cubicBezTo>
                    <a:cubicBezTo>
                      <a:pt x="3" y="37"/>
                      <a:pt x="3" y="37"/>
                      <a:pt x="3" y="37"/>
                    </a:cubicBezTo>
                    <a:cubicBezTo>
                      <a:pt x="5" y="39"/>
                      <a:pt x="7" y="41"/>
                      <a:pt x="10" y="44"/>
                    </a:cubicBezTo>
                    <a:cubicBezTo>
                      <a:pt x="12" y="45"/>
                      <a:pt x="12" y="47"/>
                      <a:pt x="13" y="48"/>
                    </a:cubicBezTo>
                    <a:cubicBezTo>
                      <a:pt x="14" y="49"/>
                      <a:pt x="15" y="50"/>
                      <a:pt x="16" y="50"/>
                    </a:cubicBezTo>
                    <a:cubicBezTo>
                      <a:pt x="17" y="50"/>
                      <a:pt x="20" y="47"/>
                      <a:pt x="23" y="46"/>
                    </a:cubicBezTo>
                    <a:cubicBezTo>
                      <a:pt x="23" y="45"/>
                      <a:pt x="24" y="45"/>
                      <a:pt x="25" y="44"/>
                    </a:cubicBezTo>
                    <a:cubicBezTo>
                      <a:pt x="27" y="43"/>
                      <a:pt x="30" y="43"/>
                      <a:pt x="34" y="43"/>
                    </a:cubicBezTo>
                    <a:cubicBezTo>
                      <a:pt x="38" y="43"/>
                      <a:pt x="41" y="45"/>
                      <a:pt x="41" y="47"/>
                    </a:cubicBezTo>
                    <a:cubicBezTo>
                      <a:pt x="41" y="48"/>
                      <a:pt x="42" y="51"/>
                      <a:pt x="45" y="51"/>
                    </a:cubicBezTo>
                    <a:cubicBezTo>
                      <a:pt x="59" y="51"/>
                      <a:pt x="59" y="51"/>
                      <a:pt x="59" y="51"/>
                    </a:cubicBezTo>
                    <a:cubicBezTo>
                      <a:pt x="62" y="51"/>
                      <a:pt x="64" y="50"/>
                      <a:pt x="66" y="49"/>
                    </a:cubicBezTo>
                    <a:cubicBezTo>
                      <a:pt x="68" y="48"/>
                      <a:pt x="70" y="46"/>
                      <a:pt x="73" y="46"/>
                    </a:cubicBezTo>
                    <a:cubicBezTo>
                      <a:pt x="76" y="46"/>
                      <a:pt x="77" y="41"/>
                      <a:pt x="77" y="37"/>
                    </a:cubicBezTo>
                    <a:cubicBezTo>
                      <a:pt x="77" y="32"/>
                      <a:pt x="75" y="29"/>
                      <a:pt x="73" y="26"/>
                    </a:cubicBezTo>
                    <a:cubicBezTo>
                      <a:pt x="71" y="24"/>
                      <a:pt x="70" y="22"/>
                      <a:pt x="70" y="20"/>
                    </a:cubicBezTo>
                    <a:cubicBezTo>
                      <a:pt x="70" y="16"/>
                      <a:pt x="72" y="15"/>
                      <a:pt x="74" y="14"/>
                    </a:cubicBezTo>
                    <a:cubicBezTo>
                      <a:pt x="75" y="14"/>
                      <a:pt x="76" y="13"/>
                      <a:pt x="76" y="13"/>
                    </a:cubicBezTo>
                    <a:cubicBezTo>
                      <a:pt x="76" y="12"/>
                      <a:pt x="76" y="12"/>
                      <a:pt x="76" y="12"/>
                    </a:cubicBezTo>
                    <a:cubicBezTo>
                      <a:pt x="76" y="11"/>
                      <a:pt x="76" y="10"/>
                      <a:pt x="76" y="9"/>
                    </a:cubicBezTo>
                    <a:cubicBezTo>
                      <a:pt x="77" y="9"/>
                      <a:pt x="78" y="9"/>
                      <a:pt x="78" y="9"/>
                    </a:cubicBezTo>
                    <a:cubicBezTo>
                      <a:pt x="81" y="9"/>
                      <a:pt x="82" y="10"/>
                      <a:pt x="84" y="10"/>
                    </a:cubicBezTo>
                    <a:cubicBezTo>
                      <a:pt x="85" y="11"/>
                      <a:pt x="86" y="12"/>
                      <a:pt x="88" y="12"/>
                    </a:cubicBezTo>
                    <a:cubicBezTo>
                      <a:pt x="91" y="12"/>
                      <a:pt x="92" y="11"/>
                      <a:pt x="93" y="10"/>
                    </a:cubicBezTo>
                    <a:cubicBezTo>
                      <a:pt x="94" y="8"/>
                      <a:pt x="95" y="7"/>
                      <a:pt x="97" y="7"/>
                    </a:cubicBezTo>
                    <a:cubicBezTo>
                      <a:pt x="100" y="7"/>
                      <a:pt x="101" y="8"/>
                      <a:pt x="102" y="9"/>
                    </a:cubicBezTo>
                    <a:cubicBezTo>
                      <a:pt x="103" y="10"/>
                      <a:pt x="104" y="11"/>
                      <a:pt x="105" y="11"/>
                    </a:cubicBezTo>
                    <a:cubicBezTo>
                      <a:pt x="106" y="11"/>
                      <a:pt x="108" y="11"/>
                      <a:pt x="108" y="5"/>
                    </a:cubicBezTo>
                    <a:cubicBezTo>
                      <a:pt x="108" y="1"/>
                      <a:pt x="116" y="0"/>
                      <a:pt x="118" y="0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120" y="0"/>
                      <a:pt x="129" y="7"/>
                      <a:pt x="138" y="9"/>
                    </a:cubicBezTo>
                    <a:cubicBezTo>
                      <a:pt x="143" y="11"/>
                      <a:pt x="149" y="14"/>
                      <a:pt x="149" y="19"/>
                    </a:cubicBezTo>
                    <a:cubicBezTo>
                      <a:pt x="149" y="24"/>
                      <a:pt x="152" y="36"/>
                      <a:pt x="155" y="41"/>
                    </a:cubicBezTo>
                    <a:cubicBezTo>
                      <a:pt x="157" y="45"/>
                      <a:pt x="159" y="45"/>
                      <a:pt x="163" y="46"/>
                    </a:cubicBezTo>
                    <a:cubicBezTo>
                      <a:pt x="164" y="47"/>
                      <a:pt x="164" y="47"/>
                      <a:pt x="165" y="47"/>
                    </a:cubicBezTo>
                    <a:cubicBezTo>
                      <a:pt x="166" y="47"/>
                      <a:pt x="167" y="48"/>
                      <a:pt x="168" y="48"/>
                    </a:cubicBezTo>
                    <a:cubicBezTo>
                      <a:pt x="173" y="50"/>
                      <a:pt x="178" y="51"/>
                      <a:pt x="178" y="55"/>
                    </a:cubicBezTo>
                    <a:cubicBezTo>
                      <a:pt x="178" y="58"/>
                      <a:pt x="177" y="59"/>
                      <a:pt x="176" y="60"/>
                    </a:cubicBezTo>
                    <a:cubicBezTo>
                      <a:pt x="175" y="61"/>
                      <a:pt x="175" y="61"/>
                      <a:pt x="175" y="61"/>
                    </a:cubicBezTo>
                    <a:cubicBezTo>
                      <a:pt x="175" y="63"/>
                      <a:pt x="175" y="64"/>
                      <a:pt x="179" y="64"/>
                    </a:cubicBezTo>
                    <a:cubicBezTo>
                      <a:pt x="182" y="64"/>
                      <a:pt x="183" y="63"/>
                      <a:pt x="185" y="62"/>
                    </a:cubicBezTo>
                    <a:cubicBezTo>
                      <a:pt x="186" y="61"/>
                      <a:pt x="188" y="60"/>
                      <a:pt x="190" y="60"/>
                    </a:cubicBezTo>
                    <a:cubicBezTo>
                      <a:pt x="193" y="60"/>
                      <a:pt x="194" y="61"/>
                      <a:pt x="195" y="61"/>
                    </a:cubicBezTo>
                    <a:cubicBezTo>
                      <a:pt x="195" y="62"/>
                      <a:pt x="196" y="62"/>
                      <a:pt x="197" y="62"/>
                    </a:cubicBezTo>
                    <a:cubicBezTo>
                      <a:pt x="198" y="62"/>
                      <a:pt x="198" y="62"/>
                      <a:pt x="198" y="61"/>
                    </a:cubicBezTo>
                    <a:cubicBezTo>
                      <a:pt x="199" y="61"/>
                      <a:pt x="199" y="60"/>
                      <a:pt x="201" y="60"/>
                    </a:cubicBezTo>
                    <a:cubicBezTo>
                      <a:pt x="203" y="60"/>
                      <a:pt x="204" y="62"/>
                      <a:pt x="204" y="64"/>
                    </a:cubicBezTo>
                    <a:cubicBezTo>
                      <a:pt x="204" y="65"/>
                      <a:pt x="204" y="65"/>
                      <a:pt x="205" y="65"/>
                    </a:cubicBezTo>
                    <a:cubicBezTo>
                      <a:pt x="208" y="65"/>
                      <a:pt x="209" y="64"/>
                      <a:pt x="210" y="63"/>
                    </a:cubicBezTo>
                    <a:cubicBezTo>
                      <a:pt x="210" y="63"/>
                      <a:pt x="211" y="62"/>
                      <a:pt x="212" y="62"/>
                    </a:cubicBezTo>
                    <a:cubicBezTo>
                      <a:pt x="213" y="62"/>
                      <a:pt x="214" y="62"/>
                      <a:pt x="214" y="59"/>
                    </a:cubicBezTo>
                    <a:cubicBezTo>
                      <a:pt x="214" y="55"/>
                      <a:pt x="219" y="55"/>
                      <a:pt x="222" y="55"/>
                    </a:cubicBezTo>
                    <a:cubicBezTo>
                      <a:pt x="223" y="55"/>
                      <a:pt x="223" y="55"/>
                      <a:pt x="223" y="55"/>
                    </a:cubicBezTo>
                    <a:cubicBezTo>
                      <a:pt x="223" y="55"/>
                      <a:pt x="223" y="55"/>
                      <a:pt x="223" y="55"/>
                    </a:cubicBezTo>
                    <a:cubicBezTo>
                      <a:pt x="223" y="58"/>
                      <a:pt x="224" y="60"/>
                      <a:pt x="225" y="62"/>
                    </a:cubicBezTo>
                    <a:cubicBezTo>
                      <a:pt x="225" y="64"/>
                      <a:pt x="226" y="65"/>
                      <a:pt x="226" y="67"/>
                    </a:cubicBezTo>
                    <a:cubicBezTo>
                      <a:pt x="226" y="70"/>
                      <a:pt x="227" y="78"/>
                      <a:pt x="230" y="84"/>
                    </a:cubicBezTo>
                    <a:cubicBezTo>
                      <a:pt x="234" y="91"/>
                      <a:pt x="235" y="92"/>
                      <a:pt x="236" y="92"/>
                    </a:cubicBezTo>
                    <a:cubicBezTo>
                      <a:pt x="236" y="94"/>
                      <a:pt x="236" y="94"/>
                      <a:pt x="236" y="94"/>
                    </a:cubicBezTo>
                    <a:cubicBezTo>
                      <a:pt x="234" y="94"/>
                      <a:pt x="233" y="95"/>
                      <a:pt x="231" y="95"/>
                    </a:cubicBezTo>
                    <a:cubicBezTo>
                      <a:pt x="230" y="96"/>
                      <a:pt x="228" y="96"/>
                      <a:pt x="226" y="96"/>
                    </a:cubicBezTo>
                    <a:cubicBezTo>
                      <a:pt x="223" y="96"/>
                      <a:pt x="220" y="100"/>
                      <a:pt x="217" y="107"/>
                    </a:cubicBezTo>
                    <a:cubicBezTo>
                      <a:pt x="216" y="108"/>
                      <a:pt x="216" y="109"/>
                      <a:pt x="215" y="111"/>
                    </a:cubicBezTo>
                    <a:cubicBezTo>
                      <a:pt x="214" y="114"/>
                      <a:pt x="213" y="118"/>
                      <a:pt x="210" y="118"/>
                    </a:cubicBezTo>
                    <a:cubicBezTo>
                      <a:pt x="207" y="118"/>
                      <a:pt x="204" y="116"/>
                      <a:pt x="202" y="114"/>
                    </a:cubicBezTo>
                    <a:cubicBezTo>
                      <a:pt x="200" y="113"/>
                      <a:pt x="198" y="112"/>
                      <a:pt x="195" y="112"/>
                    </a:cubicBezTo>
                    <a:cubicBezTo>
                      <a:pt x="192" y="112"/>
                      <a:pt x="188" y="119"/>
                      <a:pt x="188" y="122"/>
                    </a:cubicBezTo>
                    <a:cubicBezTo>
                      <a:pt x="188" y="125"/>
                      <a:pt x="189" y="126"/>
                      <a:pt x="191" y="128"/>
                    </a:cubicBezTo>
                    <a:cubicBezTo>
                      <a:pt x="192" y="129"/>
                      <a:pt x="193" y="130"/>
                      <a:pt x="194" y="131"/>
                    </a:cubicBezTo>
                    <a:cubicBezTo>
                      <a:pt x="195" y="132"/>
                      <a:pt x="196" y="133"/>
                      <a:pt x="197" y="134"/>
                    </a:cubicBezTo>
                    <a:cubicBezTo>
                      <a:pt x="199" y="137"/>
                      <a:pt x="202" y="142"/>
                      <a:pt x="204" y="142"/>
                    </a:cubicBezTo>
                    <a:cubicBezTo>
                      <a:pt x="207" y="142"/>
                      <a:pt x="209" y="144"/>
                      <a:pt x="209" y="148"/>
                    </a:cubicBezTo>
                    <a:cubicBezTo>
                      <a:pt x="209" y="150"/>
                      <a:pt x="209" y="151"/>
                      <a:pt x="208" y="153"/>
                    </a:cubicBezTo>
                    <a:cubicBezTo>
                      <a:pt x="207" y="155"/>
                      <a:pt x="206" y="157"/>
                      <a:pt x="206" y="158"/>
                    </a:cubicBezTo>
                    <a:cubicBezTo>
                      <a:pt x="206" y="163"/>
                      <a:pt x="203" y="164"/>
                      <a:pt x="200" y="164"/>
                    </a:cubicBezTo>
                    <a:cubicBezTo>
                      <a:pt x="198" y="164"/>
                      <a:pt x="187" y="169"/>
                      <a:pt x="187" y="177"/>
                    </a:cubicBezTo>
                    <a:cubicBezTo>
                      <a:pt x="187" y="179"/>
                      <a:pt x="187" y="183"/>
                      <a:pt x="182" y="183"/>
                    </a:cubicBezTo>
                    <a:cubicBezTo>
                      <a:pt x="181" y="183"/>
                      <a:pt x="179" y="187"/>
                      <a:pt x="179" y="188"/>
                    </a:cubicBezTo>
                    <a:cubicBezTo>
                      <a:pt x="179" y="190"/>
                      <a:pt x="178" y="191"/>
                      <a:pt x="177" y="192"/>
                    </a:cubicBezTo>
                    <a:cubicBezTo>
                      <a:pt x="176" y="193"/>
                      <a:pt x="175" y="194"/>
                      <a:pt x="175" y="195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43" name="Freeform 27"/>
              <p:cNvSpPr>
                <a:spLocks/>
              </p:cNvSpPr>
              <p:nvPr/>
            </p:nvSpPr>
            <p:spPr bwMode="auto">
              <a:xfrm>
                <a:off x="1705" y="2173"/>
                <a:ext cx="505" cy="416"/>
              </a:xfrm>
              <a:custGeom>
                <a:avLst/>
                <a:gdLst>
                  <a:gd name="T0" fmla="*/ 9 w 213"/>
                  <a:gd name="T1" fmla="*/ 149 h 176"/>
                  <a:gd name="T2" fmla="*/ 1 w 213"/>
                  <a:gd name="T3" fmla="*/ 115 h 176"/>
                  <a:gd name="T4" fmla="*/ 0 w 213"/>
                  <a:gd name="T5" fmla="*/ 103 h 176"/>
                  <a:gd name="T6" fmla="*/ 25 w 213"/>
                  <a:gd name="T7" fmla="*/ 91 h 176"/>
                  <a:gd name="T8" fmla="*/ 60 w 213"/>
                  <a:gd name="T9" fmla="*/ 98 h 176"/>
                  <a:gd name="T10" fmla="*/ 76 w 213"/>
                  <a:gd name="T11" fmla="*/ 79 h 176"/>
                  <a:gd name="T12" fmla="*/ 79 w 213"/>
                  <a:gd name="T13" fmla="*/ 66 h 176"/>
                  <a:gd name="T14" fmla="*/ 81 w 213"/>
                  <a:gd name="T15" fmla="*/ 56 h 176"/>
                  <a:gd name="T16" fmla="*/ 95 w 213"/>
                  <a:gd name="T17" fmla="*/ 40 h 176"/>
                  <a:gd name="T18" fmla="*/ 109 w 213"/>
                  <a:gd name="T19" fmla="*/ 30 h 176"/>
                  <a:gd name="T20" fmla="*/ 122 w 213"/>
                  <a:gd name="T21" fmla="*/ 24 h 176"/>
                  <a:gd name="T22" fmla="*/ 121 w 213"/>
                  <a:gd name="T23" fmla="*/ 8 h 176"/>
                  <a:gd name="T24" fmla="*/ 132 w 213"/>
                  <a:gd name="T25" fmla="*/ 9 h 176"/>
                  <a:gd name="T26" fmla="*/ 140 w 213"/>
                  <a:gd name="T27" fmla="*/ 0 h 176"/>
                  <a:gd name="T28" fmla="*/ 149 w 213"/>
                  <a:gd name="T29" fmla="*/ 19 h 176"/>
                  <a:gd name="T30" fmla="*/ 165 w 213"/>
                  <a:gd name="T31" fmla="*/ 44 h 176"/>
                  <a:gd name="T32" fmla="*/ 193 w 213"/>
                  <a:gd name="T33" fmla="*/ 61 h 176"/>
                  <a:gd name="T34" fmla="*/ 213 w 213"/>
                  <a:gd name="T35" fmla="*/ 62 h 176"/>
                  <a:gd name="T36" fmla="*/ 201 w 213"/>
                  <a:gd name="T37" fmla="*/ 90 h 176"/>
                  <a:gd name="T38" fmla="*/ 201 w 213"/>
                  <a:gd name="T39" fmla="*/ 98 h 176"/>
                  <a:gd name="T40" fmla="*/ 192 w 213"/>
                  <a:gd name="T41" fmla="*/ 122 h 176"/>
                  <a:gd name="T42" fmla="*/ 172 w 213"/>
                  <a:gd name="T43" fmla="*/ 140 h 176"/>
                  <a:gd name="T44" fmla="*/ 158 w 213"/>
                  <a:gd name="T45" fmla="*/ 149 h 176"/>
                  <a:gd name="T46" fmla="*/ 135 w 213"/>
                  <a:gd name="T47" fmla="*/ 165 h 176"/>
                  <a:gd name="T48" fmla="*/ 113 w 213"/>
                  <a:gd name="T49" fmla="*/ 176 h 176"/>
                  <a:gd name="T50" fmla="*/ 97 w 213"/>
                  <a:gd name="T51" fmla="*/ 167 h 176"/>
                  <a:gd name="T52" fmla="*/ 88 w 213"/>
                  <a:gd name="T53" fmla="*/ 162 h 176"/>
                  <a:gd name="T54" fmla="*/ 62 w 213"/>
                  <a:gd name="T55" fmla="*/ 154 h 176"/>
                  <a:gd name="T56" fmla="*/ 51 w 213"/>
                  <a:gd name="T57" fmla="*/ 165 h 176"/>
                  <a:gd name="T58" fmla="*/ 32 w 213"/>
                  <a:gd name="T59" fmla="*/ 164 h 176"/>
                  <a:gd name="T60" fmla="*/ 18 w 213"/>
                  <a:gd name="T61" fmla="*/ 168 h 176"/>
                  <a:gd name="T62" fmla="*/ 6 w 213"/>
                  <a:gd name="T63" fmla="*/ 159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13" h="176">
                    <a:moveTo>
                      <a:pt x="6" y="159"/>
                    </a:moveTo>
                    <a:cubicBezTo>
                      <a:pt x="8" y="156"/>
                      <a:pt x="9" y="153"/>
                      <a:pt x="9" y="149"/>
                    </a:cubicBezTo>
                    <a:cubicBezTo>
                      <a:pt x="9" y="141"/>
                      <a:pt x="0" y="133"/>
                      <a:pt x="0" y="128"/>
                    </a:cubicBezTo>
                    <a:cubicBezTo>
                      <a:pt x="0" y="122"/>
                      <a:pt x="1" y="120"/>
                      <a:pt x="1" y="115"/>
                    </a:cubicBezTo>
                    <a:cubicBezTo>
                      <a:pt x="1" y="109"/>
                      <a:pt x="0" y="109"/>
                      <a:pt x="0" y="104"/>
                    </a:cubicBezTo>
                    <a:cubicBezTo>
                      <a:pt x="0" y="104"/>
                      <a:pt x="0" y="103"/>
                      <a:pt x="0" y="103"/>
                    </a:cubicBezTo>
                    <a:cubicBezTo>
                      <a:pt x="0" y="103"/>
                      <a:pt x="6" y="97"/>
                      <a:pt x="16" y="97"/>
                    </a:cubicBezTo>
                    <a:cubicBezTo>
                      <a:pt x="21" y="97"/>
                      <a:pt x="21" y="91"/>
                      <a:pt x="25" y="91"/>
                    </a:cubicBezTo>
                    <a:cubicBezTo>
                      <a:pt x="29" y="91"/>
                      <a:pt x="32" y="98"/>
                      <a:pt x="37" y="98"/>
                    </a:cubicBezTo>
                    <a:cubicBezTo>
                      <a:pt x="60" y="98"/>
                      <a:pt x="60" y="98"/>
                      <a:pt x="60" y="98"/>
                    </a:cubicBezTo>
                    <a:cubicBezTo>
                      <a:pt x="65" y="98"/>
                      <a:pt x="65" y="97"/>
                      <a:pt x="66" y="93"/>
                    </a:cubicBezTo>
                    <a:cubicBezTo>
                      <a:pt x="67" y="86"/>
                      <a:pt x="72" y="82"/>
                      <a:pt x="76" y="79"/>
                    </a:cubicBezTo>
                    <a:cubicBezTo>
                      <a:pt x="79" y="76"/>
                      <a:pt x="76" y="75"/>
                      <a:pt x="76" y="72"/>
                    </a:cubicBezTo>
                    <a:cubicBezTo>
                      <a:pt x="76" y="69"/>
                      <a:pt x="79" y="70"/>
                      <a:pt x="79" y="66"/>
                    </a:cubicBezTo>
                    <a:cubicBezTo>
                      <a:pt x="79" y="62"/>
                      <a:pt x="75" y="61"/>
                      <a:pt x="75" y="59"/>
                    </a:cubicBezTo>
                    <a:cubicBezTo>
                      <a:pt x="75" y="57"/>
                      <a:pt x="77" y="56"/>
                      <a:pt x="81" y="56"/>
                    </a:cubicBezTo>
                    <a:cubicBezTo>
                      <a:pt x="85" y="56"/>
                      <a:pt x="84" y="51"/>
                      <a:pt x="88" y="47"/>
                    </a:cubicBezTo>
                    <a:cubicBezTo>
                      <a:pt x="91" y="43"/>
                      <a:pt x="92" y="40"/>
                      <a:pt x="95" y="40"/>
                    </a:cubicBezTo>
                    <a:cubicBezTo>
                      <a:pt x="99" y="40"/>
                      <a:pt x="102" y="36"/>
                      <a:pt x="102" y="33"/>
                    </a:cubicBezTo>
                    <a:cubicBezTo>
                      <a:pt x="102" y="31"/>
                      <a:pt x="105" y="30"/>
                      <a:pt x="109" y="30"/>
                    </a:cubicBezTo>
                    <a:cubicBezTo>
                      <a:pt x="114" y="29"/>
                      <a:pt x="116" y="30"/>
                      <a:pt x="119" y="30"/>
                    </a:cubicBezTo>
                    <a:cubicBezTo>
                      <a:pt x="122" y="30"/>
                      <a:pt x="118" y="26"/>
                      <a:pt x="122" y="24"/>
                    </a:cubicBezTo>
                    <a:cubicBezTo>
                      <a:pt x="127" y="22"/>
                      <a:pt x="127" y="20"/>
                      <a:pt x="127" y="16"/>
                    </a:cubicBezTo>
                    <a:cubicBezTo>
                      <a:pt x="127" y="11"/>
                      <a:pt x="121" y="8"/>
                      <a:pt x="121" y="8"/>
                    </a:cubicBezTo>
                    <a:cubicBezTo>
                      <a:pt x="122" y="7"/>
                      <a:pt x="122" y="6"/>
                      <a:pt x="125" y="6"/>
                    </a:cubicBezTo>
                    <a:cubicBezTo>
                      <a:pt x="128" y="6"/>
                      <a:pt x="128" y="9"/>
                      <a:pt x="132" y="9"/>
                    </a:cubicBezTo>
                    <a:cubicBezTo>
                      <a:pt x="136" y="9"/>
                      <a:pt x="137" y="7"/>
                      <a:pt x="137" y="5"/>
                    </a:cubicBezTo>
                    <a:cubicBezTo>
                      <a:pt x="137" y="3"/>
                      <a:pt x="136" y="0"/>
                      <a:pt x="140" y="0"/>
                    </a:cubicBezTo>
                    <a:cubicBezTo>
                      <a:pt x="141" y="0"/>
                      <a:pt x="143" y="1"/>
                      <a:pt x="144" y="1"/>
                    </a:cubicBezTo>
                    <a:cubicBezTo>
                      <a:pt x="144" y="1"/>
                      <a:pt x="143" y="9"/>
                      <a:pt x="149" y="19"/>
                    </a:cubicBezTo>
                    <a:cubicBezTo>
                      <a:pt x="152" y="23"/>
                      <a:pt x="151" y="27"/>
                      <a:pt x="151" y="31"/>
                    </a:cubicBezTo>
                    <a:cubicBezTo>
                      <a:pt x="151" y="34"/>
                      <a:pt x="159" y="40"/>
                      <a:pt x="165" y="44"/>
                    </a:cubicBezTo>
                    <a:cubicBezTo>
                      <a:pt x="171" y="48"/>
                      <a:pt x="178" y="49"/>
                      <a:pt x="184" y="49"/>
                    </a:cubicBezTo>
                    <a:cubicBezTo>
                      <a:pt x="190" y="49"/>
                      <a:pt x="188" y="61"/>
                      <a:pt x="193" y="61"/>
                    </a:cubicBezTo>
                    <a:cubicBezTo>
                      <a:pt x="198" y="61"/>
                      <a:pt x="197" y="51"/>
                      <a:pt x="203" y="51"/>
                    </a:cubicBezTo>
                    <a:cubicBezTo>
                      <a:pt x="209" y="51"/>
                      <a:pt x="213" y="57"/>
                      <a:pt x="213" y="62"/>
                    </a:cubicBezTo>
                    <a:cubicBezTo>
                      <a:pt x="213" y="67"/>
                      <a:pt x="208" y="69"/>
                      <a:pt x="208" y="77"/>
                    </a:cubicBezTo>
                    <a:cubicBezTo>
                      <a:pt x="208" y="82"/>
                      <a:pt x="203" y="87"/>
                      <a:pt x="201" y="90"/>
                    </a:cubicBezTo>
                    <a:cubicBezTo>
                      <a:pt x="199" y="93"/>
                      <a:pt x="201" y="93"/>
                      <a:pt x="201" y="97"/>
                    </a:cubicBezTo>
                    <a:cubicBezTo>
                      <a:pt x="201" y="98"/>
                      <a:pt x="201" y="98"/>
                      <a:pt x="201" y="98"/>
                    </a:cubicBezTo>
                    <a:cubicBezTo>
                      <a:pt x="201" y="103"/>
                      <a:pt x="200" y="109"/>
                      <a:pt x="200" y="109"/>
                    </a:cubicBezTo>
                    <a:cubicBezTo>
                      <a:pt x="194" y="115"/>
                      <a:pt x="192" y="118"/>
                      <a:pt x="192" y="122"/>
                    </a:cubicBezTo>
                    <a:cubicBezTo>
                      <a:pt x="192" y="126"/>
                      <a:pt x="187" y="126"/>
                      <a:pt x="182" y="130"/>
                    </a:cubicBezTo>
                    <a:cubicBezTo>
                      <a:pt x="178" y="133"/>
                      <a:pt x="172" y="137"/>
                      <a:pt x="172" y="140"/>
                    </a:cubicBezTo>
                    <a:cubicBezTo>
                      <a:pt x="172" y="140"/>
                      <a:pt x="172" y="142"/>
                      <a:pt x="168" y="142"/>
                    </a:cubicBezTo>
                    <a:cubicBezTo>
                      <a:pt x="164" y="142"/>
                      <a:pt x="163" y="147"/>
                      <a:pt x="158" y="149"/>
                    </a:cubicBezTo>
                    <a:cubicBezTo>
                      <a:pt x="152" y="150"/>
                      <a:pt x="148" y="152"/>
                      <a:pt x="145" y="155"/>
                    </a:cubicBezTo>
                    <a:cubicBezTo>
                      <a:pt x="143" y="158"/>
                      <a:pt x="139" y="159"/>
                      <a:pt x="135" y="165"/>
                    </a:cubicBezTo>
                    <a:cubicBezTo>
                      <a:pt x="131" y="170"/>
                      <a:pt x="132" y="174"/>
                      <a:pt x="125" y="174"/>
                    </a:cubicBezTo>
                    <a:cubicBezTo>
                      <a:pt x="118" y="174"/>
                      <a:pt x="117" y="176"/>
                      <a:pt x="113" y="176"/>
                    </a:cubicBezTo>
                    <a:cubicBezTo>
                      <a:pt x="109" y="176"/>
                      <a:pt x="109" y="172"/>
                      <a:pt x="104" y="172"/>
                    </a:cubicBezTo>
                    <a:cubicBezTo>
                      <a:pt x="99" y="172"/>
                      <a:pt x="100" y="167"/>
                      <a:pt x="97" y="167"/>
                    </a:cubicBezTo>
                    <a:cubicBezTo>
                      <a:pt x="94" y="167"/>
                      <a:pt x="97" y="170"/>
                      <a:pt x="93" y="170"/>
                    </a:cubicBezTo>
                    <a:cubicBezTo>
                      <a:pt x="90" y="170"/>
                      <a:pt x="88" y="167"/>
                      <a:pt x="88" y="162"/>
                    </a:cubicBezTo>
                    <a:cubicBezTo>
                      <a:pt x="88" y="157"/>
                      <a:pt x="84" y="152"/>
                      <a:pt x="79" y="152"/>
                    </a:cubicBezTo>
                    <a:cubicBezTo>
                      <a:pt x="73" y="152"/>
                      <a:pt x="67" y="151"/>
                      <a:pt x="62" y="154"/>
                    </a:cubicBezTo>
                    <a:cubicBezTo>
                      <a:pt x="57" y="157"/>
                      <a:pt x="55" y="159"/>
                      <a:pt x="55" y="161"/>
                    </a:cubicBezTo>
                    <a:cubicBezTo>
                      <a:pt x="55" y="164"/>
                      <a:pt x="52" y="165"/>
                      <a:pt x="51" y="165"/>
                    </a:cubicBezTo>
                    <a:cubicBezTo>
                      <a:pt x="49" y="165"/>
                      <a:pt x="47" y="168"/>
                      <a:pt x="43" y="168"/>
                    </a:cubicBezTo>
                    <a:cubicBezTo>
                      <a:pt x="39" y="168"/>
                      <a:pt x="36" y="164"/>
                      <a:pt x="32" y="164"/>
                    </a:cubicBezTo>
                    <a:cubicBezTo>
                      <a:pt x="28" y="164"/>
                      <a:pt x="28" y="171"/>
                      <a:pt x="25" y="171"/>
                    </a:cubicBezTo>
                    <a:cubicBezTo>
                      <a:pt x="23" y="171"/>
                      <a:pt x="20" y="168"/>
                      <a:pt x="18" y="168"/>
                    </a:cubicBezTo>
                    <a:cubicBezTo>
                      <a:pt x="16" y="168"/>
                      <a:pt x="16" y="164"/>
                      <a:pt x="13" y="164"/>
                    </a:cubicBezTo>
                    <a:cubicBezTo>
                      <a:pt x="9" y="164"/>
                      <a:pt x="6" y="159"/>
                      <a:pt x="6" y="159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44" name="Freeform 28"/>
              <p:cNvSpPr>
                <a:spLocks/>
              </p:cNvSpPr>
              <p:nvPr/>
            </p:nvSpPr>
            <p:spPr bwMode="auto">
              <a:xfrm>
                <a:off x="1649" y="2504"/>
                <a:ext cx="556" cy="466"/>
              </a:xfrm>
              <a:custGeom>
                <a:avLst/>
                <a:gdLst>
                  <a:gd name="T0" fmla="*/ 105 w 235"/>
                  <a:gd name="T1" fmla="*/ 123 h 197"/>
                  <a:gd name="T2" fmla="*/ 107 w 235"/>
                  <a:gd name="T3" fmla="*/ 109 h 197"/>
                  <a:gd name="T4" fmla="*/ 96 w 235"/>
                  <a:gd name="T5" fmla="*/ 101 h 197"/>
                  <a:gd name="T6" fmla="*/ 121 w 235"/>
                  <a:gd name="T7" fmla="*/ 84 h 197"/>
                  <a:gd name="T8" fmla="*/ 148 w 235"/>
                  <a:gd name="T9" fmla="*/ 74 h 197"/>
                  <a:gd name="T10" fmla="*/ 168 w 235"/>
                  <a:gd name="T11" fmla="*/ 90 h 197"/>
                  <a:gd name="T12" fmla="*/ 200 w 235"/>
                  <a:gd name="T13" fmla="*/ 86 h 197"/>
                  <a:gd name="T14" fmla="*/ 206 w 235"/>
                  <a:gd name="T15" fmla="*/ 81 h 197"/>
                  <a:gd name="T16" fmla="*/ 223 w 235"/>
                  <a:gd name="T17" fmla="*/ 69 h 197"/>
                  <a:gd name="T18" fmla="*/ 224 w 235"/>
                  <a:gd name="T19" fmla="*/ 56 h 197"/>
                  <a:gd name="T20" fmla="*/ 233 w 235"/>
                  <a:gd name="T21" fmla="*/ 36 h 197"/>
                  <a:gd name="T22" fmla="*/ 220 w 235"/>
                  <a:gd name="T23" fmla="*/ 17 h 197"/>
                  <a:gd name="T24" fmla="*/ 201 w 235"/>
                  <a:gd name="T25" fmla="*/ 4 h 197"/>
                  <a:gd name="T26" fmla="*/ 192 w 235"/>
                  <a:gd name="T27" fmla="*/ 2 h 197"/>
                  <a:gd name="T28" fmla="*/ 169 w 235"/>
                  <a:gd name="T29" fmla="*/ 15 h 197"/>
                  <a:gd name="T30" fmla="*/ 149 w 235"/>
                  <a:gd name="T31" fmla="*/ 34 h 197"/>
                  <a:gd name="T32" fmla="*/ 128 w 235"/>
                  <a:gd name="T33" fmla="*/ 32 h 197"/>
                  <a:gd name="T34" fmla="*/ 117 w 235"/>
                  <a:gd name="T35" fmla="*/ 30 h 197"/>
                  <a:gd name="T36" fmla="*/ 103 w 235"/>
                  <a:gd name="T37" fmla="*/ 12 h 197"/>
                  <a:gd name="T38" fmla="*/ 79 w 235"/>
                  <a:gd name="T39" fmla="*/ 21 h 197"/>
                  <a:gd name="T40" fmla="*/ 67 w 235"/>
                  <a:gd name="T41" fmla="*/ 28 h 197"/>
                  <a:gd name="T42" fmla="*/ 49 w 235"/>
                  <a:gd name="T43" fmla="*/ 31 h 197"/>
                  <a:gd name="T44" fmla="*/ 37 w 235"/>
                  <a:gd name="T45" fmla="*/ 24 h 197"/>
                  <a:gd name="T46" fmla="*/ 23 w 235"/>
                  <a:gd name="T47" fmla="*/ 26 h 197"/>
                  <a:gd name="T48" fmla="*/ 9 w 235"/>
                  <a:gd name="T49" fmla="*/ 47 h 197"/>
                  <a:gd name="T50" fmla="*/ 23 w 235"/>
                  <a:gd name="T51" fmla="*/ 67 h 197"/>
                  <a:gd name="T52" fmla="*/ 0 w 235"/>
                  <a:gd name="T53" fmla="*/ 85 h 197"/>
                  <a:gd name="T54" fmla="*/ 32 w 235"/>
                  <a:gd name="T55" fmla="*/ 111 h 197"/>
                  <a:gd name="T56" fmla="*/ 32 w 235"/>
                  <a:gd name="T57" fmla="*/ 134 h 197"/>
                  <a:gd name="T58" fmla="*/ 20 w 235"/>
                  <a:gd name="T59" fmla="*/ 158 h 197"/>
                  <a:gd name="T60" fmla="*/ 11 w 235"/>
                  <a:gd name="T61" fmla="*/ 174 h 197"/>
                  <a:gd name="T62" fmla="*/ 23 w 235"/>
                  <a:gd name="T63" fmla="*/ 192 h 197"/>
                  <a:gd name="T64" fmla="*/ 33 w 235"/>
                  <a:gd name="T65" fmla="*/ 193 h 197"/>
                  <a:gd name="T66" fmla="*/ 45 w 235"/>
                  <a:gd name="T67" fmla="*/ 182 h 197"/>
                  <a:gd name="T68" fmla="*/ 49 w 235"/>
                  <a:gd name="T69" fmla="*/ 167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35" h="197">
                    <a:moveTo>
                      <a:pt x="99" y="132"/>
                    </a:moveTo>
                    <a:cubicBezTo>
                      <a:pt x="103" y="132"/>
                      <a:pt x="101" y="128"/>
                      <a:pt x="105" y="123"/>
                    </a:cubicBezTo>
                    <a:cubicBezTo>
                      <a:pt x="109" y="118"/>
                      <a:pt x="111" y="117"/>
                      <a:pt x="111" y="115"/>
                    </a:cubicBezTo>
                    <a:cubicBezTo>
                      <a:pt x="111" y="112"/>
                      <a:pt x="110" y="111"/>
                      <a:pt x="107" y="109"/>
                    </a:cubicBezTo>
                    <a:cubicBezTo>
                      <a:pt x="105" y="108"/>
                      <a:pt x="103" y="104"/>
                      <a:pt x="101" y="104"/>
                    </a:cubicBezTo>
                    <a:cubicBezTo>
                      <a:pt x="98" y="104"/>
                      <a:pt x="96" y="103"/>
                      <a:pt x="96" y="101"/>
                    </a:cubicBezTo>
                    <a:cubicBezTo>
                      <a:pt x="96" y="99"/>
                      <a:pt x="98" y="98"/>
                      <a:pt x="98" y="95"/>
                    </a:cubicBezTo>
                    <a:cubicBezTo>
                      <a:pt x="98" y="91"/>
                      <a:pt x="113" y="87"/>
                      <a:pt x="121" y="84"/>
                    </a:cubicBezTo>
                    <a:cubicBezTo>
                      <a:pt x="128" y="82"/>
                      <a:pt x="135" y="81"/>
                      <a:pt x="140" y="81"/>
                    </a:cubicBezTo>
                    <a:cubicBezTo>
                      <a:pt x="145" y="81"/>
                      <a:pt x="144" y="74"/>
                      <a:pt x="148" y="74"/>
                    </a:cubicBezTo>
                    <a:cubicBezTo>
                      <a:pt x="152" y="74"/>
                      <a:pt x="152" y="79"/>
                      <a:pt x="159" y="79"/>
                    </a:cubicBezTo>
                    <a:cubicBezTo>
                      <a:pt x="166" y="79"/>
                      <a:pt x="168" y="87"/>
                      <a:pt x="168" y="90"/>
                    </a:cubicBezTo>
                    <a:cubicBezTo>
                      <a:pt x="168" y="92"/>
                      <a:pt x="167" y="97"/>
                      <a:pt x="173" y="97"/>
                    </a:cubicBezTo>
                    <a:cubicBezTo>
                      <a:pt x="180" y="97"/>
                      <a:pt x="191" y="86"/>
                      <a:pt x="200" y="86"/>
                    </a:cubicBezTo>
                    <a:cubicBezTo>
                      <a:pt x="210" y="86"/>
                      <a:pt x="210" y="86"/>
                      <a:pt x="210" y="86"/>
                    </a:cubicBezTo>
                    <a:cubicBezTo>
                      <a:pt x="210" y="83"/>
                      <a:pt x="206" y="84"/>
                      <a:pt x="206" y="81"/>
                    </a:cubicBezTo>
                    <a:cubicBezTo>
                      <a:pt x="206" y="77"/>
                      <a:pt x="223" y="81"/>
                      <a:pt x="223" y="76"/>
                    </a:cubicBezTo>
                    <a:cubicBezTo>
                      <a:pt x="223" y="69"/>
                      <a:pt x="223" y="69"/>
                      <a:pt x="223" y="69"/>
                    </a:cubicBezTo>
                    <a:cubicBezTo>
                      <a:pt x="223" y="66"/>
                      <a:pt x="218" y="66"/>
                      <a:pt x="218" y="63"/>
                    </a:cubicBezTo>
                    <a:cubicBezTo>
                      <a:pt x="218" y="60"/>
                      <a:pt x="224" y="60"/>
                      <a:pt x="224" y="56"/>
                    </a:cubicBezTo>
                    <a:cubicBezTo>
                      <a:pt x="224" y="52"/>
                      <a:pt x="225" y="42"/>
                      <a:pt x="230" y="42"/>
                    </a:cubicBezTo>
                    <a:cubicBezTo>
                      <a:pt x="234" y="42"/>
                      <a:pt x="235" y="39"/>
                      <a:pt x="233" y="36"/>
                    </a:cubicBezTo>
                    <a:cubicBezTo>
                      <a:pt x="231" y="33"/>
                      <a:pt x="226" y="28"/>
                      <a:pt x="226" y="24"/>
                    </a:cubicBezTo>
                    <a:cubicBezTo>
                      <a:pt x="226" y="20"/>
                      <a:pt x="224" y="17"/>
                      <a:pt x="220" y="17"/>
                    </a:cubicBezTo>
                    <a:cubicBezTo>
                      <a:pt x="216" y="17"/>
                      <a:pt x="214" y="13"/>
                      <a:pt x="210" y="10"/>
                    </a:cubicBezTo>
                    <a:cubicBezTo>
                      <a:pt x="206" y="8"/>
                      <a:pt x="204" y="7"/>
                      <a:pt x="201" y="4"/>
                    </a:cubicBezTo>
                    <a:cubicBezTo>
                      <a:pt x="198" y="1"/>
                      <a:pt x="196" y="0"/>
                      <a:pt x="196" y="0"/>
                    </a:cubicBezTo>
                    <a:cubicBezTo>
                      <a:pt x="196" y="0"/>
                      <a:pt x="196" y="2"/>
                      <a:pt x="192" y="2"/>
                    </a:cubicBezTo>
                    <a:cubicBezTo>
                      <a:pt x="188" y="2"/>
                      <a:pt x="187" y="7"/>
                      <a:pt x="182" y="9"/>
                    </a:cubicBezTo>
                    <a:cubicBezTo>
                      <a:pt x="176" y="10"/>
                      <a:pt x="172" y="12"/>
                      <a:pt x="169" y="15"/>
                    </a:cubicBezTo>
                    <a:cubicBezTo>
                      <a:pt x="167" y="18"/>
                      <a:pt x="163" y="19"/>
                      <a:pt x="159" y="25"/>
                    </a:cubicBezTo>
                    <a:cubicBezTo>
                      <a:pt x="155" y="30"/>
                      <a:pt x="156" y="34"/>
                      <a:pt x="149" y="34"/>
                    </a:cubicBezTo>
                    <a:cubicBezTo>
                      <a:pt x="142" y="34"/>
                      <a:pt x="141" y="36"/>
                      <a:pt x="137" y="36"/>
                    </a:cubicBezTo>
                    <a:cubicBezTo>
                      <a:pt x="133" y="36"/>
                      <a:pt x="133" y="32"/>
                      <a:pt x="128" y="32"/>
                    </a:cubicBezTo>
                    <a:cubicBezTo>
                      <a:pt x="123" y="32"/>
                      <a:pt x="124" y="27"/>
                      <a:pt x="121" y="27"/>
                    </a:cubicBezTo>
                    <a:cubicBezTo>
                      <a:pt x="118" y="27"/>
                      <a:pt x="121" y="30"/>
                      <a:pt x="117" y="30"/>
                    </a:cubicBezTo>
                    <a:cubicBezTo>
                      <a:pt x="114" y="30"/>
                      <a:pt x="112" y="27"/>
                      <a:pt x="112" y="22"/>
                    </a:cubicBezTo>
                    <a:cubicBezTo>
                      <a:pt x="112" y="17"/>
                      <a:pt x="108" y="12"/>
                      <a:pt x="103" y="12"/>
                    </a:cubicBezTo>
                    <a:cubicBezTo>
                      <a:pt x="97" y="12"/>
                      <a:pt x="91" y="11"/>
                      <a:pt x="86" y="14"/>
                    </a:cubicBezTo>
                    <a:cubicBezTo>
                      <a:pt x="81" y="17"/>
                      <a:pt x="79" y="19"/>
                      <a:pt x="79" y="21"/>
                    </a:cubicBezTo>
                    <a:cubicBezTo>
                      <a:pt x="79" y="24"/>
                      <a:pt x="76" y="25"/>
                      <a:pt x="75" y="25"/>
                    </a:cubicBezTo>
                    <a:cubicBezTo>
                      <a:pt x="73" y="25"/>
                      <a:pt x="71" y="28"/>
                      <a:pt x="67" y="28"/>
                    </a:cubicBezTo>
                    <a:cubicBezTo>
                      <a:pt x="63" y="28"/>
                      <a:pt x="60" y="24"/>
                      <a:pt x="56" y="24"/>
                    </a:cubicBezTo>
                    <a:cubicBezTo>
                      <a:pt x="52" y="24"/>
                      <a:pt x="52" y="31"/>
                      <a:pt x="49" y="31"/>
                    </a:cubicBezTo>
                    <a:cubicBezTo>
                      <a:pt x="47" y="31"/>
                      <a:pt x="44" y="28"/>
                      <a:pt x="42" y="28"/>
                    </a:cubicBezTo>
                    <a:cubicBezTo>
                      <a:pt x="40" y="28"/>
                      <a:pt x="40" y="24"/>
                      <a:pt x="37" y="24"/>
                    </a:cubicBezTo>
                    <a:cubicBezTo>
                      <a:pt x="33" y="24"/>
                      <a:pt x="30" y="19"/>
                      <a:pt x="30" y="19"/>
                    </a:cubicBezTo>
                    <a:cubicBezTo>
                      <a:pt x="28" y="22"/>
                      <a:pt x="26" y="24"/>
                      <a:pt x="23" y="26"/>
                    </a:cubicBezTo>
                    <a:cubicBezTo>
                      <a:pt x="18" y="28"/>
                      <a:pt x="11" y="32"/>
                      <a:pt x="11" y="37"/>
                    </a:cubicBezTo>
                    <a:cubicBezTo>
                      <a:pt x="11" y="41"/>
                      <a:pt x="9" y="43"/>
                      <a:pt x="9" y="47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23" y="61"/>
                      <a:pt x="23" y="67"/>
                    </a:cubicBezTo>
                    <a:cubicBezTo>
                      <a:pt x="23" y="74"/>
                      <a:pt x="18" y="77"/>
                      <a:pt x="13" y="77"/>
                    </a:cubicBezTo>
                    <a:cubicBezTo>
                      <a:pt x="7" y="77"/>
                      <a:pt x="0" y="85"/>
                      <a:pt x="0" y="85"/>
                    </a:cubicBezTo>
                    <a:cubicBezTo>
                      <a:pt x="10" y="98"/>
                      <a:pt x="12" y="101"/>
                      <a:pt x="19" y="103"/>
                    </a:cubicBezTo>
                    <a:cubicBezTo>
                      <a:pt x="26" y="106"/>
                      <a:pt x="32" y="108"/>
                      <a:pt x="32" y="111"/>
                    </a:cubicBezTo>
                    <a:cubicBezTo>
                      <a:pt x="32" y="115"/>
                      <a:pt x="36" y="116"/>
                      <a:pt x="36" y="121"/>
                    </a:cubicBezTo>
                    <a:cubicBezTo>
                      <a:pt x="36" y="125"/>
                      <a:pt x="35" y="130"/>
                      <a:pt x="32" y="134"/>
                    </a:cubicBezTo>
                    <a:cubicBezTo>
                      <a:pt x="29" y="137"/>
                      <a:pt x="30" y="142"/>
                      <a:pt x="30" y="147"/>
                    </a:cubicBezTo>
                    <a:cubicBezTo>
                      <a:pt x="30" y="151"/>
                      <a:pt x="20" y="154"/>
                      <a:pt x="20" y="158"/>
                    </a:cubicBezTo>
                    <a:cubicBezTo>
                      <a:pt x="20" y="163"/>
                      <a:pt x="23" y="164"/>
                      <a:pt x="23" y="166"/>
                    </a:cubicBezTo>
                    <a:cubicBezTo>
                      <a:pt x="23" y="168"/>
                      <a:pt x="11" y="170"/>
                      <a:pt x="11" y="174"/>
                    </a:cubicBezTo>
                    <a:cubicBezTo>
                      <a:pt x="11" y="179"/>
                      <a:pt x="11" y="185"/>
                      <a:pt x="15" y="185"/>
                    </a:cubicBezTo>
                    <a:cubicBezTo>
                      <a:pt x="19" y="185"/>
                      <a:pt x="23" y="188"/>
                      <a:pt x="23" y="192"/>
                    </a:cubicBezTo>
                    <a:cubicBezTo>
                      <a:pt x="23" y="196"/>
                      <a:pt x="25" y="197"/>
                      <a:pt x="28" y="197"/>
                    </a:cubicBezTo>
                    <a:cubicBezTo>
                      <a:pt x="30" y="197"/>
                      <a:pt x="33" y="196"/>
                      <a:pt x="33" y="193"/>
                    </a:cubicBezTo>
                    <a:cubicBezTo>
                      <a:pt x="33" y="189"/>
                      <a:pt x="33" y="186"/>
                      <a:pt x="37" y="186"/>
                    </a:cubicBezTo>
                    <a:cubicBezTo>
                      <a:pt x="40" y="186"/>
                      <a:pt x="43" y="185"/>
                      <a:pt x="45" y="182"/>
                    </a:cubicBezTo>
                    <a:cubicBezTo>
                      <a:pt x="48" y="179"/>
                      <a:pt x="51" y="176"/>
                      <a:pt x="51" y="173"/>
                    </a:cubicBezTo>
                    <a:cubicBezTo>
                      <a:pt x="51" y="170"/>
                      <a:pt x="49" y="169"/>
                      <a:pt x="49" y="167"/>
                    </a:cubicBezTo>
                    <a:cubicBezTo>
                      <a:pt x="49" y="164"/>
                      <a:pt x="55" y="162"/>
                      <a:pt x="55" y="162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45" name="Freeform 29"/>
              <p:cNvSpPr>
                <a:spLocks/>
              </p:cNvSpPr>
              <p:nvPr/>
            </p:nvSpPr>
            <p:spPr bwMode="auto">
              <a:xfrm>
                <a:off x="1838" y="2679"/>
                <a:ext cx="412" cy="360"/>
              </a:xfrm>
              <a:custGeom>
                <a:avLst/>
                <a:gdLst>
                  <a:gd name="T0" fmla="*/ 0 w 174"/>
                  <a:gd name="T1" fmla="*/ 85 h 152"/>
                  <a:gd name="T2" fmla="*/ 1 w 174"/>
                  <a:gd name="T3" fmla="*/ 83 h 152"/>
                  <a:gd name="T4" fmla="*/ 19 w 174"/>
                  <a:gd name="T5" fmla="*/ 58 h 152"/>
                  <a:gd name="T6" fmla="*/ 25 w 174"/>
                  <a:gd name="T7" fmla="*/ 49 h 152"/>
                  <a:gd name="T8" fmla="*/ 31 w 174"/>
                  <a:gd name="T9" fmla="*/ 41 h 152"/>
                  <a:gd name="T10" fmla="*/ 27 w 174"/>
                  <a:gd name="T11" fmla="*/ 35 h 152"/>
                  <a:gd name="T12" fmla="*/ 21 w 174"/>
                  <a:gd name="T13" fmla="*/ 30 h 152"/>
                  <a:gd name="T14" fmla="*/ 16 w 174"/>
                  <a:gd name="T15" fmla="*/ 27 h 152"/>
                  <a:gd name="T16" fmla="*/ 18 w 174"/>
                  <a:gd name="T17" fmla="*/ 21 h 152"/>
                  <a:gd name="T18" fmla="*/ 41 w 174"/>
                  <a:gd name="T19" fmla="*/ 10 h 152"/>
                  <a:gd name="T20" fmla="*/ 60 w 174"/>
                  <a:gd name="T21" fmla="*/ 7 h 152"/>
                  <a:gd name="T22" fmla="*/ 68 w 174"/>
                  <a:gd name="T23" fmla="*/ 0 h 152"/>
                  <a:gd name="T24" fmla="*/ 79 w 174"/>
                  <a:gd name="T25" fmla="*/ 5 h 152"/>
                  <a:gd name="T26" fmla="*/ 88 w 174"/>
                  <a:gd name="T27" fmla="*/ 16 h 152"/>
                  <a:gd name="T28" fmla="*/ 93 w 174"/>
                  <a:gd name="T29" fmla="*/ 23 h 152"/>
                  <a:gd name="T30" fmla="*/ 120 w 174"/>
                  <a:gd name="T31" fmla="*/ 12 h 152"/>
                  <a:gd name="T32" fmla="*/ 130 w 174"/>
                  <a:gd name="T33" fmla="*/ 12 h 152"/>
                  <a:gd name="T34" fmla="*/ 137 w 174"/>
                  <a:gd name="T35" fmla="*/ 24 h 152"/>
                  <a:gd name="T36" fmla="*/ 141 w 174"/>
                  <a:gd name="T37" fmla="*/ 37 h 152"/>
                  <a:gd name="T38" fmla="*/ 143 w 174"/>
                  <a:gd name="T39" fmla="*/ 58 h 152"/>
                  <a:gd name="T40" fmla="*/ 144 w 174"/>
                  <a:gd name="T41" fmla="*/ 75 h 152"/>
                  <a:gd name="T42" fmla="*/ 155 w 174"/>
                  <a:gd name="T43" fmla="*/ 83 h 152"/>
                  <a:gd name="T44" fmla="*/ 161 w 174"/>
                  <a:gd name="T45" fmla="*/ 89 h 152"/>
                  <a:gd name="T46" fmla="*/ 168 w 174"/>
                  <a:gd name="T47" fmla="*/ 109 h 152"/>
                  <a:gd name="T48" fmla="*/ 174 w 174"/>
                  <a:gd name="T49" fmla="*/ 118 h 152"/>
                  <a:gd name="T50" fmla="*/ 153 w 174"/>
                  <a:gd name="T51" fmla="*/ 138 h 152"/>
                  <a:gd name="T52" fmla="*/ 144 w 174"/>
                  <a:gd name="T53" fmla="*/ 138 h 152"/>
                  <a:gd name="T54" fmla="*/ 141 w 174"/>
                  <a:gd name="T55" fmla="*/ 139 h 152"/>
                  <a:gd name="T56" fmla="*/ 131 w 174"/>
                  <a:gd name="T57" fmla="*/ 126 h 152"/>
                  <a:gd name="T58" fmla="*/ 126 w 174"/>
                  <a:gd name="T59" fmla="*/ 117 h 152"/>
                  <a:gd name="T60" fmla="*/ 117 w 174"/>
                  <a:gd name="T61" fmla="*/ 113 h 152"/>
                  <a:gd name="T62" fmla="*/ 108 w 174"/>
                  <a:gd name="T63" fmla="*/ 114 h 152"/>
                  <a:gd name="T64" fmla="*/ 102 w 174"/>
                  <a:gd name="T65" fmla="*/ 117 h 152"/>
                  <a:gd name="T66" fmla="*/ 97 w 174"/>
                  <a:gd name="T67" fmla="*/ 124 h 152"/>
                  <a:gd name="T68" fmla="*/ 89 w 174"/>
                  <a:gd name="T69" fmla="*/ 122 h 152"/>
                  <a:gd name="T70" fmla="*/ 81 w 174"/>
                  <a:gd name="T71" fmla="*/ 130 h 152"/>
                  <a:gd name="T72" fmla="*/ 78 w 174"/>
                  <a:gd name="T73" fmla="*/ 136 h 152"/>
                  <a:gd name="T74" fmla="*/ 69 w 174"/>
                  <a:gd name="T75" fmla="*/ 143 h 152"/>
                  <a:gd name="T76" fmla="*/ 57 w 174"/>
                  <a:gd name="T77" fmla="*/ 150 h 152"/>
                  <a:gd name="T78" fmla="*/ 46 w 174"/>
                  <a:gd name="T79" fmla="*/ 143 h 152"/>
                  <a:gd name="T80" fmla="*/ 40 w 174"/>
                  <a:gd name="T81" fmla="*/ 144 h 152"/>
                  <a:gd name="T82" fmla="*/ 32 w 174"/>
                  <a:gd name="T83" fmla="*/ 136 h 152"/>
                  <a:gd name="T84" fmla="*/ 11 w 174"/>
                  <a:gd name="T85" fmla="*/ 152 h 152"/>
                  <a:gd name="T86" fmla="*/ 0 w 174"/>
                  <a:gd name="T87" fmla="*/ 122 h 152"/>
                  <a:gd name="T88" fmla="*/ 7 w 174"/>
                  <a:gd name="T89" fmla="*/ 99 h 152"/>
                  <a:gd name="T90" fmla="*/ 0 w 174"/>
                  <a:gd name="T91" fmla="*/ 85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74" h="152">
                    <a:moveTo>
                      <a:pt x="0" y="85"/>
                    </a:moveTo>
                    <a:cubicBezTo>
                      <a:pt x="0" y="84"/>
                      <a:pt x="1" y="85"/>
                      <a:pt x="1" y="83"/>
                    </a:cubicBezTo>
                    <a:cubicBezTo>
                      <a:pt x="1" y="69"/>
                      <a:pt x="13" y="58"/>
                      <a:pt x="19" y="58"/>
                    </a:cubicBezTo>
                    <a:cubicBezTo>
                      <a:pt x="23" y="58"/>
                      <a:pt x="21" y="54"/>
                      <a:pt x="25" y="49"/>
                    </a:cubicBezTo>
                    <a:cubicBezTo>
                      <a:pt x="29" y="44"/>
                      <a:pt x="31" y="43"/>
                      <a:pt x="31" y="41"/>
                    </a:cubicBezTo>
                    <a:cubicBezTo>
                      <a:pt x="31" y="38"/>
                      <a:pt x="30" y="37"/>
                      <a:pt x="27" y="35"/>
                    </a:cubicBezTo>
                    <a:cubicBezTo>
                      <a:pt x="25" y="34"/>
                      <a:pt x="23" y="30"/>
                      <a:pt x="21" y="30"/>
                    </a:cubicBezTo>
                    <a:cubicBezTo>
                      <a:pt x="18" y="30"/>
                      <a:pt x="16" y="29"/>
                      <a:pt x="16" y="27"/>
                    </a:cubicBezTo>
                    <a:cubicBezTo>
                      <a:pt x="16" y="25"/>
                      <a:pt x="18" y="24"/>
                      <a:pt x="18" y="21"/>
                    </a:cubicBezTo>
                    <a:cubicBezTo>
                      <a:pt x="18" y="17"/>
                      <a:pt x="33" y="13"/>
                      <a:pt x="41" y="10"/>
                    </a:cubicBezTo>
                    <a:cubicBezTo>
                      <a:pt x="48" y="8"/>
                      <a:pt x="55" y="7"/>
                      <a:pt x="60" y="7"/>
                    </a:cubicBezTo>
                    <a:cubicBezTo>
                      <a:pt x="65" y="7"/>
                      <a:pt x="64" y="0"/>
                      <a:pt x="68" y="0"/>
                    </a:cubicBezTo>
                    <a:cubicBezTo>
                      <a:pt x="72" y="0"/>
                      <a:pt x="72" y="5"/>
                      <a:pt x="79" y="5"/>
                    </a:cubicBezTo>
                    <a:cubicBezTo>
                      <a:pt x="86" y="5"/>
                      <a:pt x="88" y="13"/>
                      <a:pt x="88" y="16"/>
                    </a:cubicBezTo>
                    <a:cubicBezTo>
                      <a:pt x="88" y="18"/>
                      <a:pt x="87" y="23"/>
                      <a:pt x="93" y="23"/>
                    </a:cubicBezTo>
                    <a:cubicBezTo>
                      <a:pt x="100" y="23"/>
                      <a:pt x="111" y="12"/>
                      <a:pt x="120" y="12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30" y="16"/>
                      <a:pt x="137" y="16"/>
                      <a:pt x="137" y="24"/>
                    </a:cubicBezTo>
                    <a:cubicBezTo>
                      <a:pt x="137" y="28"/>
                      <a:pt x="138" y="32"/>
                      <a:pt x="141" y="37"/>
                    </a:cubicBezTo>
                    <a:cubicBezTo>
                      <a:pt x="143" y="42"/>
                      <a:pt x="144" y="54"/>
                      <a:pt x="143" y="58"/>
                    </a:cubicBezTo>
                    <a:cubicBezTo>
                      <a:pt x="142" y="62"/>
                      <a:pt x="144" y="68"/>
                      <a:pt x="144" y="75"/>
                    </a:cubicBezTo>
                    <a:cubicBezTo>
                      <a:pt x="144" y="83"/>
                      <a:pt x="150" y="83"/>
                      <a:pt x="155" y="83"/>
                    </a:cubicBezTo>
                    <a:cubicBezTo>
                      <a:pt x="160" y="83"/>
                      <a:pt x="161" y="85"/>
                      <a:pt x="161" y="89"/>
                    </a:cubicBezTo>
                    <a:cubicBezTo>
                      <a:pt x="161" y="93"/>
                      <a:pt x="168" y="101"/>
                      <a:pt x="168" y="109"/>
                    </a:cubicBezTo>
                    <a:cubicBezTo>
                      <a:pt x="168" y="113"/>
                      <a:pt x="171" y="118"/>
                      <a:pt x="174" y="118"/>
                    </a:cubicBezTo>
                    <a:cubicBezTo>
                      <a:pt x="174" y="118"/>
                      <a:pt x="169" y="138"/>
                      <a:pt x="153" y="138"/>
                    </a:cubicBezTo>
                    <a:cubicBezTo>
                      <a:pt x="144" y="138"/>
                      <a:pt x="144" y="138"/>
                      <a:pt x="144" y="138"/>
                    </a:cubicBezTo>
                    <a:cubicBezTo>
                      <a:pt x="142" y="138"/>
                      <a:pt x="141" y="139"/>
                      <a:pt x="141" y="139"/>
                    </a:cubicBezTo>
                    <a:cubicBezTo>
                      <a:pt x="141" y="139"/>
                      <a:pt x="131" y="130"/>
                      <a:pt x="131" y="126"/>
                    </a:cubicBezTo>
                    <a:cubicBezTo>
                      <a:pt x="131" y="121"/>
                      <a:pt x="129" y="117"/>
                      <a:pt x="126" y="117"/>
                    </a:cubicBezTo>
                    <a:cubicBezTo>
                      <a:pt x="122" y="117"/>
                      <a:pt x="122" y="113"/>
                      <a:pt x="117" y="113"/>
                    </a:cubicBezTo>
                    <a:cubicBezTo>
                      <a:pt x="112" y="113"/>
                      <a:pt x="111" y="114"/>
                      <a:pt x="108" y="114"/>
                    </a:cubicBezTo>
                    <a:cubicBezTo>
                      <a:pt x="104" y="114"/>
                      <a:pt x="102" y="115"/>
                      <a:pt x="102" y="117"/>
                    </a:cubicBezTo>
                    <a:cubicBezTo>
                      <a:pt x="102" y="120"/>
                      <a:pt x="101" y="124"/>
                      <a:pt x="97" y="124"/>
                    </a:cubicBezTo>
                    <a:cubicBezTo>
                      <a:pt x="93" y="124"/>
                      <a:pt x="93" y="122"/>
                      <a:pt x="89" y="122"/>
                    </a:cubicBezTo>
                    <a:cubicBezTo>
                      <a:pt x="85" y="122"/>
                      <a:pt x="82" y="127"/>
                      <a:pt x="81" y="130"/>
                    </a:cubicBezTo>
                    <a:cubicBezTo>
                      <a:pt x="80" y="132"/>
                      <a:pt x="79" y="133"/>
                      <a:pt x="78" y="136"/>
                    </a:cubicBezTo>
                    <a:cubicBezTo>
                      <a:pt x="77" y="139"/>
                      <a:pt x="73" y="143"/>
                      <a:pt x="69" y="143"/>
                    </a:cubicBezTo>
                    <a:cubicBezTo>
                      <a:pt x="65" y="143"/>
                      <a:pt x="62" y="150"/>
                      <a:pt x="57" y="150"/>
                    </a:cubicBezTo>
                    <a:cubicBezTo>
                      <a:pt x="52" y="150"/>
                      <a:pt x="51" y="143"/>
                      <a:pt x="46" y="143"/>
                    </a:cubicBezTo>
                    <a:cubicBezTo>
                      <a:pt x="44" y="143"/>
                      <a:pt x="42" y="144"/>
                      <a:pt x="40" y="144"/>
                    </a:cubicBezTo>
                    <a:cubicBezTo>
                      <a:pt x="37" y="144"/>
                      <a:pt x="38" y="136"/>
                      <a:pt x="32" y="136"/>
                    </a:cubicBezTo>
                    <a:cubicBezTo>
                      <a:pt x="27" y="136"/>
                      <a:pt x="14" y="152"/>
                      <a:pt x="11" y="152"/>
                    </a:cubicBezTo>
                    <a:cubicBezTo>
                      <a:pt x="7" y="152"/>
                      <a:pt x="0" y="131"/>
                      <a:pt x="0" y="122"/>
                    </a:cubicBezTo>
                    <a:cubicBezTo>
                      <a:pt x="0" y="106"/>
                      <a:pt x="7" y="106"/>
                      <a:pt x="7" y="99"/>
                    </a:cubicBezTo>
                    <a:cubicBezTo>
                      <a:pt x="7" y="92"/>
                      <a:pt x="0" y="92"/>
                      <a:pt x="0" y="85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46" name="Freeform 30"/>
              <p:cNvSpPr>
                <a:spLocks/>
              </p:cNvSpPr>
              <p:nvPr/>
            </p:nvSpPr>
            <p:spPr bwMode="auto">
              <a:xfrm>
                <a:off x="2113" y="2431"/>
                <a:ext cx="360" cy="537"/>
              </a:xfrm>
              <a:custGeom>
                <a:avLst/>
                <a:gdLst>
                  <a:gd name="T0" fmla="*/ 0 w 152"/>
                  <a:gd name="T1" fmla="*/ 31 h 227"/>
                  <a:gd name="T2" fmla="*/ 10 w 152"/>
                  <a:gd name="T3" fmla="*/ 21 h 227"/>
                  <a:gd name="T4" fmla="*/ 20 w 152"/>
                  <a:gd name="T5" fmla="*/ 13 h 227"/>
                  <a:gd name="T6" fmla="*/ 28 w 152"/>
                  <a:gd name="T7" fmla="*/ 0 h 227"/>
                  <a:gd name="T8" fmla="*/ 58 w 152"/>
                  <a:gd name="T9" fmla="*/ 29 h 227"/>
                  <a:gd name="T10" fmla="*/ 71 w 152"/>
                  <a:gd name="T11" fmla="*/ 38 h 227"/>
                  <a:gd name="T12" fmla="*/ 80 w 152"/>
                  <a:gd name="T13" fmla="*/ 26 h 227"/>
                  <a:gd name="T14" fmla="*/ 90 w 152"/>
                  <a:gd name="T15" fmla="*/ 22 h 227"/>
                  <a:gd name="T16" fmla="*/ 100 w 152"/>
                  <a:gd name="T17" fmla="*/ 26 h 227"/>
                  <a:gd name="T18" fmla="*/ 118 w 152"/>
                  <a:gd name="T19" fmla="*/ 37 h 227"/>
                  <a:gd name="T20" fmla="*/ 128 w 152"/>
                  <a:gd name="T21" fmla="*/ 38 h 227"/>
                  <a:gd name="T22" fmla="*/ 137 w 152"/>
                  <a:gd name="T23" fmla="*/ 40 h 227"/>
                  <a:gd name="T24" fmla="*/ 140 w 152"/>
                  <a:gd name="T25" fmla="*/ 44 h 227"/>
                  <a:gd name="T26" fmla="*/ 144 w 152"/>
                  <a:gd name="T27" fmla="*/ 49 h 227"/>
                  <a:gd name="T28" fmla="*/ 146 w 152"/>
                  <a:gd name="T29" fmla="*/ 56 h 227"/>
                  <a:gd name="T30" fmla="*/ 137 w 152"/>
                  <a:gd name="T31" fmla="*/ 75 h 227"/>
                  <a:gd name="T32" fmla="*/ 136 w 152"/>
                  <a:gd name="T33" fmla="*/ 83 h 227"/>
                  <a:gd name="T34" fmla="*/ 152 w 152"/>
                  <a:gd name="T35" fmla="*/ 94 h 227"/>
                  <a:gd name="T36" fmla="*/ 145 w 152"/>
                  <a:gd name="T37" fmla="*/ 107 h 227"/>
                  <a:gd name="T38" fmla="*/ 136 w 152"/>
                  <a:gd name="T39" fmla="*/ 119 h 227"/>
                  <a:gd name="T40" fmla="*/ 130 w 152"/>
                  <a:gd name="T41" fmla="*/ 127 h 227"/>
                  <a:gd name="T42" fmla="*/ 123 w 152"/>
                  <a:gd name="T43" fmla="*/ 143 h 227"/>
                  <a:gd name="T44" fmla="*/ 108 w 152"/>
                  <a:gd name="T45" fmla="*/ 155 h 227"/>
                  <a:gd name="T46" fmla="*/ 97 w 152"/>
                  <a:gd name="T47" fmla="*/ 164 h 227"/>
                  <a:gd name="T48" fmla="*/ 89 w 152"/>
                  <a:gd name="T49" fmla="*/ 178 h 227"/>
                  <a:gd name="T50" fmla="*/ 95 w 152"/>
                  <a:gd name="T51" fmla="*/ 203 h 227"/>
                  <a:gd name="T52" fmla="*/ 95 w 152"/>
                  <a:gd name="T53" fmla="*/ 206 h 227"/>
                  <a:gd name="T54" fmla="*/ 84 w 152"/>
                  <a:gd name="T55" fmla="*/ 225 h 227"/>
                  <a:gd name="T56" fmla="*/ 71 w 152"/>
                  <a:gd name="T57" fmla="*/ 223 h 227"/>
                  <a:gd name="T58" fmla="*/ 66 w 152"/>
                  <a:gd name="T59" fmla="*/ 227 h 227"/>
                  <a:gd name="T60" fmla="*/ 58 w 152"/>
                  <a:gd name="T61" fmla="*/ 223 h 227"/>
                  <a:gd name="T62" fmla="*/ 52 w 152"/>
                  <a:gd name="T63" fmla="*/ 214 h 227"/>
                  <a:gd name="T64" fmla="*/ 45 w 152"/>
                  <a:gd name="T65" fmla="*/ 194 h 227"/>
                  <a:gd name="T66" fmla="*/ 39 w 152"/>
                  <a:gd name="T67" fmla="*/ 188 h 227"/>
                  <a:gd name="T68" fmla="*/ 28 w 152"/>
                  <a:gd name="T69" fmla="*/ 180 h 227"/>
                  <a:gd name="T70" fmla="*/ 27 w 152"/>
                  <a:gd name="T71" fmla="*/ 163 h 227"/>
                  <a:gd name="T72" fmla="*/ 25 w 152"/>
                  <a:gd name="T73" fmla="*/ 142 h 227"/>
                  <a:gd name="T74" fmla="*/ 21 w 152"/>
                  <a:gd name="T75" fmla="*/ 129 h 227"/>
                  <a:gd name="T76" fmla="*/ 14 w 152"/>
                  <a:gd name="T77" fmla="*/ 117 h 227"/>
                  <a:gd name="T78" fmla="*/ 10 w 152"/>
                  <a:gd name="T79" fmla="*/ 112 h 227"/>
                  <a:gd name="T80" fmla="*/ 27 w 152"/>
                  <a:gd name="T81" fmla="*/ 107 h 227"/>
                  <a:gd name="T82" fmla="*/ 27 w 152"/>
                  <a:gd name="T83" fmla="*/ 100 h 227"/>
                  <a:gd name="T84" fmla="*/ 22 w 152"/>
                  <a:gd name="T85" fmla="*/ 94 h 227"/>
                  <a:gd name="T86" fmla="*/ 28 w 152"/>
                  <a:gd name="T87" fmla="*/ 87 h 227"/>
                  <a:gd name="T88" fmla="*/ 34 w 152"/>
                  <a:gd name="T89" fmla="*/ 73 h 227"/>
                  <a:gd name="T90" fmla="*/ 37 w 152"/>
                  <a:gd name="T91" fmla="*/ 67 h 227"/>
                  <a:gd name="T92" fmla="*/ 30 w 152"/>
                  <a:gd name="T93" fmla="*/ 55 h 227"/>
                  <a:gd name="T94" fmla="*/ 24 w 152"/>
                  <a:gd name="T95" fmla="*/ 48 h 227"/>
                  <a:gd name="T96" fmla="*/ 14 w 152"/>
                  <a:gd name="T97" fmla="*/ 41 h 227"/>
                  <a:gd name="T98" fmla="*/ 5 w 152"/>
                  <a:gd name="T99" fmla="*/ 35 h 227"/>
                  <a:gd name="T100" fmla="*/ 0 w 152"/>
                  <a:gd name="T101" fmla="*/ 31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52" h="227">
                    <a:moveTo>
                      <a:pt x="0" y="31"/>
                    </a:moveTo>
                    <a:cubicBezTo>
                      <a:pt x="0" y="28"/>
                      <a:pt x="6" y="24"/>
                      <a:pt x="10" y="21"/>
                    </a:cubicBezTo>
                    <a:cubicBezTo>
                      <a:pt x="15" y="17"/>
                      <a:pt x="20" y="17"/>
                      <a:pt x="20" y="13"/>
                    </a:cubicBezTo>
                    <a:cubicBezTo>
                      <a:pt x="20" y="9"/>
                      <a:pt x="22" y="6"/>
                      <a:pt x="28" y="0"/>
                    </a:cubicBezTo>
                    <a:cubicBezTo>
                      <a:pt x="46" y="7"/>
                      <a:pt x="54" y="22"/>
                      <a:pt x="58" y="29"/>
                    </a:cubicBezTo>
                    <a:cubicBezTo>
                      <a:pt x="61" y="36"/>
                      <a:pt x="65" y="38"/>
                      <a:pt x="71" y="38"/>
                    </a:cubicBezTo>
                    <a:cubicBezTo>
                      <a:pt x="78" y="38"/>
                      <a:pt x="80" y="30"/>
                      <a:pt x="80" y="26"/>
                    </a:cubicBezTo>
                    <a:cubicBezTo>
                      <a:pt x="80" y="23"/>
                      <a:pt x="84" y="22"/>
                      <a:pt x="90" y="22"/>
                    </a:cubicBezTo>
                    <a:cubicBezTo>
                      <a:pt x="95" y="22"/>
                      <a:pt x="95" y="24"/>
                      <a:pt x="100" y="26"/>
                    </a:cubicBezTo>
                    <a:cubicBezTo>
                      <a:pt x="105" y="27"/>
                      <a:pt x="114" y="34"/>
                      <a:pt x="118" y="37"/>
                    </a:cubicBezTo>
                    <a:cubicBezTo>
                      <a:pt x="121" y="40"/>
                      <a:pt x="124" y="38"/>
                      <a:pt x="128" y="38"/>
                    </a:cubicBezTo>
                    <a:cubicBezTo>
                      <a:pt x="131" y="38"/>
                      <a:pt x="135" y="40"/>
                      <a:pt x="137" y="40"/>
                    </a:cubicBezTo>
                    <a:cubicBezTo>
                      <a:pt x="139" y="40"/>
                      <a:pt x="140" y="40"/>
                      <a:pt x="140" y="44"/>
                    </a:cubicBezTo>
                    <a:cubicBezTo>
                      <a:pt x="140" y="47"/>
                      <a:pt x="144" y="49"/>
                      <a:pt x="144" y="49"/>
                    </a:cubicBezTo>
                    <a:cubicBezTo>
                      <a:pt x="144" y="51"/>
                      <a:pt x="146" y="51"/>
                      <a:pt x="146" y="56"/>
                    </a:cubicBezTo>
                    <a:cubicBezTo>
                      <a:pt x="146" y="60"/>
                      <a:pt x="137" y="68"/>
                      <a:pt x="137" y="75"/>
                    </a:cubicBezTo>
                    <a:cubicBezTo>
                      <a:pt x="137" y="80"/>
                      <a:pt x="136" y="80"/>
                      <a:pt x="136" y="83"/>
                    </a:cubicBezTo>
                    <a:cubicBezTo>
                      <a:pt x="136" y="87"/>
                      <a:pt x="149" y="94"/>
                      <a:pt x="152" y="94"/>
                    </a:cubicBezTo>
                    <a:cubicBezTo>
                      <a:pt x="152" y="94"/>
                      <a:pt x="149" y="100"/>
                      <a:pt x="145" y="107"/>
                    </a:cubicBezTo>
                    <a:cubicBezTo>
                      <a:pt x="141" y="113"/>
                      <a:pt x="138" y="116"/>
                      <a:pt x="136" y="119"/>
                    </a:cubicBezTo>
                    <a:cubicBezTo>
                      <a:pt x="134" y="123"/>
                      <a:pt x="132" y="125"/>
                      <a:pt x="130" y="127"/>
                    </a:cubicBezTo>
                    <a:cubicBezTo>
                      <a:pt x="128" y="129"/>
                      <a:pt x="130" y="134"/>
                      <a:pt x="123" y="143"/>
                    </a:cubicBezTo>
                    <a:cubicBezTo>
                      <a:pt x="115" y="153"/>
                      <a:pt x="113" y="155"/>
                      <a:pt x="108" y="155"/>
                    </a:cubicBezTo>
                    <a:cubicBezTo>
                      <a:pt x="104" y="155"/>
                      <a:pt x="97" y="157"/>
                      <a:pt x="97" y="164"/>
                    </a:cubicBezTo>
                    <a:cubicBezTo>
                      <a:pt x="97" y="170"/>
                      <a:pt x="89" y="171"/>
                      <a:pt x="89" y="178"/>
                    </a:cubicBezTo>
                    <a:cubicBezTo>
                      <a:pt x="89" y="184"/>
                      <a:pt x="94" y="193"/>
                      <a:pt x="95" y="203"/>
                    </a:cubicBezTo>
                    <a:cubicBezTo>
                      <a:pt x="95" y="204"/>
                      <a:pt x="95" y="205"/>
                      <a:pt x="95" y="206"/>
                    </a:cubicBezTo>
                    <a:cubicBezTo>
                      <a:pt x="95" y="218"/>
                      <a:pt x="93" y="225"/>
                      <a:pt x="84" y="225"/>
                    </a:cubicBezTo>
                    <a:cubicBezTo>
                      <a:pt x="74" y="225"/>
                      <a:pt x="73" y="223"/>
                      <a:pt x="71" y="223"/>
                    </a:cubicBezTo>
                    <a:cubicBezTo>
                      <a:pt x="69" y="223"/>
                      <a:pt x="68" y="227"/>
                      <a:pt x="66" y="227"/>
                    </a:cubicBezTo>
                    <a:cubicBezTo>
                      <a:pt x="63" y="227"/>
                      <a:pt x="61" y="223"/>
                      <a:pt x="58" y="223"/>
                    </a:cubicBezTo>
                    <a:cubicBezTo>
                      <a:pt x="55" y="223"/>
                      <a:pt x="52" y="218"/>
                      <a:pt x="52" y="214"/>
                    </a:cubicBezTo>
                    <a:cubicBezTo>
                      <a:pt x="52" y="206"/>
                      <a:pt x="45" y="198"/>
                      <a:pt x="45" y="194"/>
                    </a:cubicBezTo>
                    <a:cubicBezTo>
                      <a:pt x="45" y="190"/>
                      <a:pt x="44" y="188"/>
                      <a:pt x="39" y="188"/>
                    </a:cubicBezTo>
                    <a:cubicBezTo>
                      <a:pt x="34" y="188"/>
                      <a:pt x="28" y="188"/>
                      <a:pt x="28" y="180"/>
                    </a:cubicBezTo>
                    <a:cubicBezTo>
                      <a:pt x="28" y="173"/>
                      <a:pt x="26" y="167"/>
                      <a:pt x="27" y="163"/>
                    </a:cubicBezTo>
                    <a:cubicBezTo>
                      <a:pt x="28" y="159"/>
                      <a:pt x="27" y="147"/>
                      <a:pt x="25" y="142"/>
                    </a:cubicBezTo>
                    <a:cubicBezTo>
                      <a:pt x="22" y="137"/>
                      <a:pt x="21" y="133"/>
                      <a:pt x="21" y="129"/>
                    </a:cubicBezTo>
                    <a:cubicBezTo>
                      <a:pt x="21" y="121"/>
                      <a:pt x="14" y="121"/>
                      <a:pt x="14" y="117"/>
                    </a:cubicBezTo>
                    <a:cubicBezTo>
                      <a:pt x="14" y="114"/>
                      <a:pt x="10" y="115"/>
                      <a:pt x="10" y="112"/>
                    </a:cubicBezTo>
                    <a:cubicBezTo>
                      <a:pt x="10" y="108"/>
                      <a:pt x="27" y="112"/>
                      <a:pt x="27" y="107"/>
                    </a:cubicBezTo>
                    <a:cubicBezTo>
                      <a:pt x="27" y="100"/>
                      <a:pt x="27" y="100"/>
                      <a:pt x="27" y="100"/>
                    </a:cubicBezTo>
                    <a:cubicBezTo>
                      <a:pt x="27" y="97"/>
                      <a:pt x="22" y="97"/>
                      <a:pt x="22" y="94"/>
                    </a:cubicBezTo>
                    <a:cubicBezTo>
                      <a:pt x="22" y="91"/>
                      <a:pt x="28" y="91"/>
                      <a:pt x="28" y="87"/>
                    </a:cubicBezTo>
                    <a:cubicBezTo>
                      <a:pt x="28" y="83"/>
                      <a:pt x="29" y="73"/>
                      <a:pt x="34" y="73"/>
                    </a:cubicBezTo>
                    <a:cubicBezTo>
                      <a:pt x="38" y="73"/>
                      <a:pt x="39" y="70"/>
                      <a:pt x="37" y="67"/>
                    </a:cubicBezTo>
                    <a:cubicBezTo>
                      <a:pt x="35" y="64"/>
                      <a:pt x="30" y="59"/>
                      <a:pt x="30" y="55"/>
                    </a:cubicBezTo>
                    <a:cubicBezTo>
                      <a:pt x="30" y="51"/>
                      <a:pt x="28" y="48"/>
                      <a:pt x="24" y="48"/>
                    </a:cubicBezTo>
                    <a:cubicBezTo>
                      <a:pt x="20" y="48"/>
                      <a:pt x="18" y="44"/>
                      <a:pt x="14" y="41"/>
                    </a:cubicBezTo>
                    <a:cubicBezTo>
                      <a:pt x="10" y="39"/>
                      <a:pt x="8" y="38"/>
                      <a:pt x="5" y="35"/>
                    </a:cubicBezTo>
                    <a:cubicBezTo>
                      <a:pt x="2" y="32"/>
                      <a:pt x="0" y="31"/>
                      <a:pt x="0" y="31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47" name="Freeform 31"/>
              <p:cNvSpPr>
                <a:spLocks/>
              </p:cNvSpPr>
              <p:nvPr/>
            </p:nvSpPr>
            <p:spPr bwMode="auto">
              <a:xfrm>
                <a:off x="2435" y="2305"/>
                <a:ext cx="241" cy="381"/>
              </a:xfrm>
              <a:custGeom>
                <a:avLst/>
                <a:gdLst>
                  <a:gd name="T0" fmla="*/ 93 w 102"/>
                  <a:gd name="T1" fmla="*/ 146 h 161"/>
                  <a:gd name="T2" fmla="*/ 92 w 102"/>
                  <a:gd name="T3" fmla="*/ 136 h 161"/>
                  <a:gd name="T4" fmla="*/ 95 w 102"/>
                  <a:gd name="T5" fmla="*/ 128 h 161"/>
                  <a:gd name="T6" fmla="*/ 86 w 102"/>
                  <a:gd name="T7" fmla="*/ 122 h 161"/>
                  <a:gd name="T8" fmla="*/ 75 w 102"/>
                  <a:gd name="T9" fmla="*/ 115 h 161"/>
                  <a:gd name="T10" fmla="*/ 68 w 102"/>
                  <a:gd name="T11" fmla="*/ 105 h 161"/>
                  <a:gd name="T12" fmla="*/ 68 w 102"/>
                  <a:gd name="T13" fmla="*/ 99 h 161"/>
                  <a:gd name="T14" fmla="*/ 76 w 102"/>
                  <a:gd name="T15" fmla="*/ 94 h 161"/>
                  <a:gd name="T16" fmla="*/ 85 w 102"/>
                  <a:gd name="T17" fmla="*/ 88 h 161"/>
                  <a:gd name="T18" fmla="*/ 98 w 102"/>
                  <a:gd name="T19" fmla="*/ 97 h 161"/>
                  <a:gd name="T20" fmla="*/ 102 w 102"/>
                  <a:gd name="T21" fmla="*/ 90 h 161"/>
                  <a:gd name="T22" fmla="*/ 96 w 102"/>
                  <a:gd name="T23" fmla="*/ 86 h 161"/>
                  <a:gd name="T24" fmla="*/ 88 w 102"/>
                  <a:gd name="T25" fmla="*/ 81 h 161"/>
                  <a:gd name="T26" fmla="*/ 86 w 102"/>
                  <a:gd name="T27" fmla="*/ 71 h 161"/>
                  <a:gd name="T28" fmla="*/ 83 w 102"/>
                  <a:gd name="T29" fmla="*/ 65 h 161"/>
                  <a:gd name="T30" fmla="*/ 87 w 102"/>
                  <a:gd name="T31" fmla="*/ 57 h 161"/>
                  <a:gd name="T32" fmla="*/ 90 w 102"/>
                  <a:gd name="T33" fmla="*/ 45 h 161"/>
                  <a:gd name="T34" fmla="*/ 94 w 102"/>
                  <a:gd name="T35" fmla="*/ 37 h 161"/>
                  <a:gd name="T36" fmla="*/ 95 w 102"/>
                  <a:gd name="T37" fmla="*/ 30 h 161"/>
                  <a:gd name="T38" fmla="*/ 84 w 102"/>
                  <a:gd name="T39" fmla="*/ 15 h 161"/>
                  <a:gd name="T40" fmla="*/ 74 w 102"/>
                  <a:gd name="T41" fmla="*/ 6 h 161"/>
                  <a:gd name="T42" fmla="*/ 70 w 102"/>
                  <a:gd name="T43" fmla="*/ 0 h 161"/>
                  <a:gd name="T44" fmla="*/ 60 w 102"/>
                  <a:gd name="T45" fmla="*/ 2 h 161"/>
                  <a:gd name="T46" fmla="*/ 50 w 102"/>
                  <a:gd name="T47" fmla="*/ 13 h 161"/>
                  <a:gd name="T48" fmla="*/ 44 w 102"/>
                  <a:gd name="T49" fmla="*/ 23 h 161"/>
                  <a:gd name="T50" fmla="*/ 29 w 102"/>
                  <a:gd name="T51" fmla="*/ 18 h 161"/>
                  <a:gd name="T52" fmla="*/ 21 w 102"/>
                  <a:gd name="T53" fmla="*/ 29 h 161"/>
                  <a:gd name="T54" fmla="*/ 28 w 102"/>
                  <a:gd name="T55" fmla="*/ 39 h 161"/>
                  <a:gd name="T56" fmla="*/ 38 w 102"/>
                  <a:gd name="T57" fmla="*/ 50 h 161"/>
                  <a:gd name="T58" fmla="*/ 42 w 102"/>
                  <a:gd name="T59" fmla="*/ 55 h 161"/>
                  <a:gd name="T60" fmla="*/ 39 w 102"/>
                  <a:gd name="T61" fmla="*/ 65 h 161"/>
                  <a:gd name="T62" fmla="*/ 34 w 102"/>
                  <a:gd name="T63" fmla="*/ 70 h 161"/>
                  <a:gd name="T64" fmla="*/ 20 w 102"/>
                  <a:gd name="T65" fmla="*/ 84 h 161"/>
                  <a:gd name="T66" fmla="*/ 16 w 102"/>
                  <a:gd name="T67" fmla="*/ 89 h 161"/>
                  <a:gd name="T68" fmla="*/ 12 w 102"/>
                  <a:gd name="T69" fmla="*/ 95 h 161"/>
                  <a:gd name="T70" fmla="*/ 8 w 102"/>
                  <a:gd name="T71" fmla="*/ 102 h 161"/>
                  <a:gd name="T72" fmla="*/ 10 w 102"/>
                  <a:gd name="T73" fmla="*/ 109 h 161"/>
                  <a:gd name="T74" fmla="*/ 1 w 102"/>
                  <a:gd name="T75" fmla="*/ 128 h 161"/>
                  <a:gd name="T76" fmla="*/ 0 w 102"/>
                  <a:gd name="T77" fmla="*/ 136 h 161"/>
                  <a:gd name="T78" fmla="*/ 16 w 102"/>
                  <a:gd name="T79" fmla="*/ 147 h 161"/>
                  <a:gd name="T80" fmla="*/ 25 w 102"/>
                  <a:gd name="T81" fmla="*/ 147 h 161"/>
                  <a:gd name="T82" fmla="*/ 32 w 102"/>
                  <a:gd name="T83" fmla="*/ 152 h 161"/>
                  <a:gd name="T84" fmla="*/ 41 w 102"/>
                  <a:gd name="T85" fmla="*/ 161 h 161"/>
                  <a:gd name="T86" fmla="*/ 55 w 102"/>
                  <a:gd name="T87" fmla="*/ 152 h 161"/>
                  <a:gd name="T88" fmla="*/ 64 w 102"/>
                  <a:gd name="T89" fmla="*/ 155 h 161"/>
                  <a:gd name="T90" fmla="*/ 74 w 102"/>
                  <a:gd name="T91" fmla="*/ 153 h 161"/>
                  <a:gd name="T92" fmla="*/ 83 w 102"/>
                  <a:gd name="T93" fmla="*/ 153 h 161"/>
                  <a:gd name="T94" fmla="*/ 89 w 102"/>
                  <a:gd name="T95" fmla="*/ 149 h 161"/>
                  <a:gd name="T96" fmla="*/ 93 w 102"/>
                  <a:gd name="T97" fmla="*/ 14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02" h="161">
                    <a:moveTo>
                      <a:pt x="93" y="146"/>
                    </a:moveTo>
                    <a:cubicBezTo>
                      <a:pt x="93" y="141"/>
                      <a:pt x="92" y="141"/>
                      <a:pt x="92" y="136"/>
                    </a:cubicBezTo>
                    <a:cubicBezTo>
                      <a:pt x="92" y="132"/>
                      <a:pt x="95" y="131"/>
                      <a:pt x="95" y="128"/>
                    </a:cubicBezTo>
                    <a:cubicBezTo>
                      <a:pt x="95" y="125"/>
                      <a:pt x="90" y="123"/>
                      <a:pt x="86" y="122"/>
                    </a:cubicBezTo>
                    <a:cubicBezTo>
                      <a:pt x="81" y="120"/>
                      <a:pt x="76" y="118"/>
                      <a:pt x="75" y="115"/>
                    </a:cubicBezTo>
                    <a:cubicBezTo>
                      <a:pt x="74" y="111"/>
                      <a:pt x="71" y="110"/>
                      <a:pt x="68" y="105"/>
                    </a:cubicBezTo>
                    <a:cubicBezTo>
                      <a:pt x="65" y="101"/>
                      <a:pt x="65" y="99"/>
                      <a:pt x="68" y="99"/>
                    </a:cubicBezTo>
                    <a:cubicBezTo>
                      <a:pt x="70" y="99"/>
                      <a:pt x="72" y="97"/>
                      <a:pt x="76" y="94"/>
                    </a:cubicBezTo>
                    <a:cubicBezTo>
                      <a:pt x="79" y="90"/>
                      <a:pt x="79" y="88"/>
                      <a:pt x="85" y="88"/>
                    </a:cubicBezTo>
                    <a:cubicBezTo>
                      <a:pt x="91" y="88"/>
                      <a:pt x="94" y="97"/>
                      <a:pt x="98" y="97"/>
                    </a:cubicBezTo>
                    <a:cubicBezTo>
                      <a:pt x="101" y="97"/>
                      <a:pt x="102" y="93"/>
                      <a:pt x="102" y="90"/>
                    </a:cubicBezTo>
                    <a:cubicBezTo>
                      <a:pt x="102" y="87"/>
                      <a:pt x="100" y="86"/>
                      <a:pt x="96" y="86"/>
                    </a:cubicBezTo>
                    <a:cubicBezTo>
                      <a:pt x="92" y="86"/>
                      <a:pt x="88" y="85"/>
                      <a:pt x="88" y="81"/>
                    </a:cubicBezTo>
                    <a:cubicBezTo>
                      <a:pt x="88" y="77"/>
                      <a:pt x="86" y="74"/>
                      <a:pt x="86" y="71"/>
                    </a:cubicBezTo>
                    <a:cubicBezTo>
                      <a:pt x="86" y="67"/>
                      <a:pt x="83" y="68"/>
                      <a:pt x="83" y="65"/>
                    </a:cubicBezTo>
                    <a:cubicBezTo>
                      <a:pt x="83" y="62"/>
                      <a:pt x="84" y="61"/>
                      <a:pt x="87" y="57"/>
                    </a:cubicBezTo>
                    <a:cubicBezTo>
                      <a:pt x="89" y="52"/>
                      <a:pt x="90" y="50"/>
                      <a:pt x="90" y="45"/>
                    </a:cubicBezTo>
                    <a:cubicBezTo>
                      <a:pt x="90" y="40"/>
                      <a:pt x="94" y="41"/>
                      <a:pt x="94" y="37"/>
                    </a:cubicBezTo>
                    <a:cubicBezTo>
                      <a:pt x="94" y="34"/>
                      <a:pt x="95" y="33"/>
                      <a:pt x="95" y="30"/>
                    </a:cubicBezTo>
                    <a:cubicBezTo>
                      <a:pt x="95" y="21"/>
                      <a:pt x="88" y="15"/>
                      <a:pt x="84" y="15"/>
                    </a:cubicBezTo>
                    <a:cubicBezTo>
                      <a:pt x="80" y="15"/>
                      <a:pt x="76" y="9"/>
                      <a:pt x="74" y="6"/>
                    </a:cubicBezTo>
                    <a:cubicBezTo>
                      <a:pt x="72" y="3"/>
                      <a:pt x="72" y="0"/>
                      <a:pt x="70" y="0"/>
                    </a:cubicBezTo>
                    <a:cubicBezTo>
                      <a:pt x="66" y="0"/>
                      <a:pt x="64" y="2"/>
                      <a:pt x="60" y="2"/>
                    </a:cubicBezTo>
                    <a:cubicBezTo>
                      <a:pt x="56" y="2"/>
                      <a:pt x="52" y="8"/>
                      <a:pt x="50" y="13"/>
                    </a:cubicBezTo>
                    <a:cubicBezTo>
                      <a:pt x="48" y="18"/>
                      <a:pt x="48" y="23"/>
                      <a:pt x="44" y="23"/>
                    </a:cubicBezTo>
                    <a:cubicBezTo>
                      <a:pt x="38" y="23"/>
                      <a:pt x="35" y="18"/>
                      <a:pt x="29" y="18"/>
                    </a:cubicBezTo>
                    <a:cubicBezTo>
                      <a:pt x="25" y="18"/>
                      <a:pt x="21" y="26"/>
                      <a:pt x="21" y="29"/>
                    </a:cubicBezTo>
                    <a:cubicBezTo>
                      <a:pt x="21" y="34"/>
                      <a:pt x="25" y="35"/>
                      <a:pt x="28" y="39"/>
                    </a:cubicBezTo>
                    <a:cubicBezTo>
                      <a:pt x="30" y="42"/>
                      <a:pt x="35" y="50"/>
                      <a:pt x="38" y="50"/>
                    </a:cubicBezTo>
                    <a:cubicBezTo>
                      <a:pt x="41" y="50"/>
                      <a:pt x="42" y="52"/>
                      <a:pt x="42" y="55"/>
                    </a:cubicBezTo>
                    <a:cubicBezTo>
                      <a:pt x="42" y="58"/>
                      <a:pt x="39" y="62"/>
                      <a:pt x="39" y="65"/>
                    </a:cubicBezTo>
                    <a:cubicBezTo>
                      <a:pt x="39" y="69"/>
                      <a:pt x="37" y="70"/>
                      <a:pt x="34" y="70"/>
                    </a:cubicBezTo>
                    <a:cubicBezTo>
                      <a:pt x="31" y="70"/>
                      <a:pt x="20" y="76"/>
                      <a:pt x="20" y="84"/>
                    </a:cubicBezTo>
                    <a:cubicBezTo>
                      <a:pt x="20" y="88"/>
                      <a:pt x="19" y="89"/>
                      <a:pt x="16" y="89"/>
                    </a:cubicBezTo>
                    <a:cubicBezTo>
                      <a:pt x="14" y="89"/>
                      <a:pt x="12" y="93"/>
                      <a:pt x="12" y="95"/>
                    </a:cubicBezTo>
                    <a:cubicBezTo>
                      <a:pt x="12" y="97"/>
                      <a:pt x="8" y="99"/>
                      <a:pt x="8" y="102"/>
                    </a:cubicBezTo>
                    <a:cubicBezTo>
                      <a:pt x="8" y="104"/>
                      <a:pt x="10" y="104"/>
                      <a:pt x="10" y="109"/>
                    </a:cubicBezTo>
                    <a:cubicBezTo>
                      <a:pt x="10" y="113"/>
                      <a:pt x="1" y="121"/>
                      <a:pt x="1" y="128"/>
                    </a:cubicBezTo>
                    <a:cubicBezTo>
                      <a:pt x="1" y="133"/>
                      <a:pt x="0" y="133"/>
                      <a:pt x="0" y="136"/>
                    </a:cubicBezTo>
                    <a:cubicBezTo>
                      <a:pt x="0" y="140"/>
                      <a:pt x="13" y="147"/>
                      <a:pt x="16" y="147"/>
                    </a:cubicBezTo>
                    <a:cubicBezTo>
                      <a:pt x="25" y="147"/>
                      <a:pt x="25" y="147"/>
                      <a:pt x="25" y="147"/>
                    </a:cubicBezTo>
                    <a:cubicBezTo>
                      <a:pt x="31" y="147"/>
                      <a:pt x="30" y="152"/>
                      <a:pt x="32" y="152"/>
                    </a:cubicBezTo>
                    <a:cubicBezTo>
                      <a:pt x="35" y="152"/>
                      <a:pt x="37" y="161"/>
                      <a:pt x="41" y="161"/>
                    </a:cubicBezTo>
                    <a:cubicBezTo>
                      <a:pt x="45" y="161"/>
                      <a:pt x="49" y="152"/>
                      <a:pt x="55" y="152"/>
                    </a:cubicBezTo>
                    <a:cubicBezTo>
                      <a:pt x="60" y="152"/>
                      <a:pt x="60" y="155"/>
                      <a:pt x="64" y="155"/>
                    </a:cubicBezTo>
                    <a:cubicBezTo>
                      <a:pt x="68" y="155"/>
                      <a:pt x="70" y="153"/>
                      <a:pt x="74" y="153"/>
                    </a:cubicBezTo>
                    <a:cubicBezTo>
                      <a:pt x="83" y="153"/>
                      <a:pt x="83" y="153"/>
                      <a:pt x="83" y="153"/>
                    </a:cubicBezTo>
                    <a:cubicBezTo>
                      <a:pt x="87" y="153"/>
                      <a:pt x="89" y="152"/>
                      <a:pt x="89" y="149"/>
                    </a:cubicBezTo>
                    <a:cubicBezTo>
                      <a:pt x="89" y="146"/>
                      <a:pt x="93" y="146"/>
                      <a:pt x="93" y="146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48" name="Freeform 32"/>
              <p:cNvSpPr>
                <a:spLocks/>
              </p:cNvSpPr>
              <p:nvPr/>
            </p:nvSpPr>
            <p:spPr bwMode="auto">
              <a:xfrm>
                <a:off x="2324" y="2651"/>
                <a:ext cx="393" cy="478"/>
              </a:xfrm>
              <a:custGeom>
                <a:avLst/>
                <a:gdLst>
                  <a:gd name="T0" fmla="*/ 6 w 166"/>
                  <a:gd name="T1" fmla="*/ 110 h 202"/>
                  <a:gd name="T2" fmla="*/ 0 w 166"/>
                  <a:gd name="T3" fmla="*/ 85 h 202"/>
                  <a:gd name="T4" fmla="*/ 8 w 166"/>
                  <a:gd name="T5" fmla="*/ 71 h 202"/>
                  <a:gd name="T6" fmla="*/ 19 w 166"/>
                  <a:gd name="T7" fmla="*/ 62 h 202"/>
                  <a:gd name="T8" fmla="*/ 34 w 166"/>
                  <a:gd name="T9" fmla="*/ 50 h 202"/>
                  <a:gd name="T10" fmla="*/ 41 w 166"/>
                  <a:gd name="T11" fmla="*/ 34 h 202"/>
                  <a:gd name="T12" fmla="*/ 47 w 166"/>
                  <a:gd name="T13" fmla="*/ 26 h 202"/>
                  <a:gd name="T14" fmla="*/ 56 w 166"/>
                  <a:gd name="T15" fmla="*/ 14 h 202"/>
                  <a:gd name="T16" fmla="*/ 63 w 166"/>
                  <a:gd name="T17" fmla="*/ 1 h 202"/>
                  <a:gd name="T18" fmla="*/ 72 w 166"/>
                  <a:gd name="T19" fmla="*/ 1 h 202"/>
                  <a:gd name="T20" fmla="*/ 79 w 166"/>
                  <a:gd name="T21" fmla="*/ 6 h 202"/>
                  <a:gd name="T22" fmla="*/ 88 w 166"/>
                  <a:gd name="T23" fmla="*/ 15 h 202"/>
                  <a:gd name="T24" fmla="*/ 102 w 166"/>
                  <a:gd name="T25" fmla="*/ 6 h 202"/>
                  <a:gd name="T26" fmla="*/ 111 w 166"/>
                  <a:gd name="T27" fmla="*/ 9 h 202"/>
                  <a:gd name="T28" fmla="*/ 121 w 166"/>
                  <a:gd name="T29" fmla="*/ 7 h 202"/>
                  <a:gd name="T30" fmla="*/ 130 w 166"/>
                  <a:gd name="T31" fmla="*/ 7 h 202"/>
                  <a:gd name="T32" fmla="*/ 136 w 166"/>
                  <a:gd name="T33" fmla="*/ 3 h 202"/>
                  <a:gd name="T34" fmla="*/ 140 w 166"/>
                  <a:gd name="T35" fmla="*/ 0 h 202"/>
                  <a:gd name="T36" fmla="*/ 146 w 166"/>
                  <a:gd name="T37" fmla="*/ 14 h 202"/>
                  <a:gd name="T38" fmla="*/ 157 w 166"/>
                  <a:gd name="T39" fmla="*/ 45 h 202"/>
                  <a:gd name="T40" fmla="*/ 154 w 166"/>
                  <a:gd name="T41" fmla="*/ 75 h 202"/>
                  <a:gd name="T42" fmla="*/ 166 w 166"/>
                  <a:gd name="T43" fmla="*/ 93 h 202"/>
                  <a:gd name="T44" fmla="*/ 159 w 166"/>
                  <a:gd name="T45" fmla="*/ 109 h 202"/>
                  <a:gd name="T46" fmla="*/ 152 w 166"/>
                  <a:gd name="T47" fmla="*/ 125 h 202"/>
                  <a:gd name="T48" fmla="*/ 150 w 166"/>
                  <a:gd name="T49" fmla="*/ 133 h 202"/>
                  <a:gd name="T50" fmla="*/ 139 w 166"/>
                  <a:gd name="T51" fmla="*/ 147 h 202"/>
                  <a:gd name="T52" fmla="*/ 135 w 166"/>
                  <a:gd name="T53" fmla="*/ 160 h 202"/>
                  <a:gd name="T54" fmla="*/ 137 w 166"/>
                  <a:gd name="T55" fmla="*/ 174 h 202"/>
                  <a:gd name="T56" fmla="*/ 135 w 166"/>
                  <a:gd name="T57" fmla="*/ 171 h 202"/>
                  <a:gd name="T58" fmla="*/ 127 w 166"/>
                  <a:gd name="T59" fmla="*/ 164 h 202"/>
                  <a:gd name="T60" fmla="*/ 114 w 166"/>
                  <a:gd name="T61" fmla="*/ 160 h 202"/>
                  <a:gd name="T62" fmla="*/ 110 w 166"/>
                  <a:gd name="T63" fmla="*/ 160 h 202"/>
                  <a:gd name="T64" fmla="*/ 103 w 166"/>
                  <a:gd name="T65" fmla="*/ 155 h 202"/>
                  <a:gd name="T66" fmla="*/ 97 w 166"/>
                  <a:gd name="T67" fmla="*/ 159 h 202"/>
                  <a:gd name="T68" fmla="*/ 89 w 166"/>
                  <a:gd name="T69" fmla="*/ 159 h 202"/>
                  <a:gd name="T70" fmla="*/ 86 w 166"/>
                  <a:gd name="T71" fmla="*/ 163 h 202"/>
                  <a:gd name="T72" fmla="*/ 79 w 166"/>
                  <a:gd name="T73" fmla="*/ 179 h 202"/>
                  <a:gd name="T74" fmla="*/ 71 w 166"/>
                  <a:gd name="T75" fmla="*/ 189 h 202"/>
                  <a:gd name="T76" fmla="*/ 54 w 166"/>
                  <a:gd name="T77" fmla="*/ 202 h 202"/>
                  <a:gd name="T78" fmla="*/ 49 w 166"/>
                  <a:gd name="T79" fmla="*/ 198 h 202"/>
                  <a:gd name="T80" fmla="*/ 44 w 166"/>
                  <a:gd name="T81" fmla="*/ 195 h 202"/>
                  <a:gd name="T82" fmla="*/ 40 w 166"/>
                  <a:gd name="T83" fmla="*/ 193 h 202"/>
                  <a:gd name="T84" fmla="*/ 39 w 166"/>
                  <a:gd name="T85" fmla="*/ 189 h 202"/>
                  <a:gd name="T86" fmla="*/ 35 w 166"/>
                  <a:gd name="T87" fmla="*/ 178 h 202"/>
                  <a:gd name="T88" fmla="*/ 31 w 166"/>
                  <a:gd name="T89" fmla="*/ 171 h 202"/>
                  <a:gd name="T90" fmla="*/ 23 w 166"/>
                  <a:gd name="T91" fmla="*/ 162 h 202"/>
                  <a:gd name="T92" fmla="*/ 28 w 166"/>
                  <a:gd name="T93" fmla="*/ 147 h 202"/>
                  <a:gd name="T94" fmla="*/ 44 w 166"/>
                  <a:gd name="T95" fmla="*/ 153 h 202"/>
                  <a:gd name="T96" fmla="*/ 53 w 166"/>
                  <a:gd name="T97" fmla="*/ 149 h 202"/>
                  <a:gd name="T98" fmla="*/ 60 w 166"/>
                  <a:gd name="T99" fmla="*/ 145 h 202"/>
                  <a:gd name="T100" fmla="*/ 59 w 166"/>
                  <a:gd name="T101" fmla="*/ 138 h 202"/>
                  <a:gd name="T102" fmla="*/ 63 w 166"/>
                  <a:gd name="T103" fmla="*/ 128 h 202"/>
                  <a:gd name="T104" fmla="*/ 58 w 166"/>
                  <a:gd name="T105" fmla="*/ 123 h 202"/>
                  <a:gd name="T106" fmla="*/ 50 w 166"/>
                  <a:gd name="T107" fmla="*/ 129 h 202"/>
                  <a:gd name="T108" fmla="*/ 46 w 166"/>
                  <a:gd name="T109" fmla="*/ 125 h 202"/>
                  <a:gd name="T110" fmla="*/ 38 w 166"/>
                  <a:gd name="T111" fmla="*/ 120 h 202"/>
                  <a:gd name="T112" fmla="*/ 18 w 166"/>
                  <a:gd name="T113" fmla="*/ 115 h 202"/>
                  <a:gd name="T114" fmla="*/ 6 w 166"/>
                  <a:gd name="T115" fmla="*/ 11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66" h="202">
                    <a:moveTo>
                      <a:pt x="6" y="110"/>
                    </a:moveTo>
                    <a:cubicBezTo>
                      <a:pt x="5" y="100"/>
                      <a:pt x="0" y="91"/>
                      <a:pt x="0" y="85"/>
                    </a:cubicBezTo>
                    <a:cubicBezTo>
                      <a:pt x="0" y="78"/>
                      <a:pt x="8" y="77"/>
                      <a:pt x="8" y="71"/>
                    </a:cubicBezTo>
                    <a:cubicBezTo>
                      <a:pt x="8" y="64"/>
                      <a:pt x="15" y="62"/>
                      <a:pt x="19" y="62"/>
                    </a:cubicBezTo>
                    <a:cubicBezTo>
                      <a:pt x="24" y="62"/>
                      <a:pt x="26" y="60"/>
                      <a:pt x="34" y="50"/>
                    </a:cubicBezTo>
                    <a:cubicBezTo>
                      <a:pt x="41" y="41"/>
                      <a:pt x="39" y="36"/>
                      <a:pt x="41" y="34"/>
                    </a:cubicBezTo>
                    <a:cubicBezTo>
                      <a:pt x="43" y="32"/>
                      <a:pt x="45" y="30"/>
                      <a:pt x="47" y="26"/>
                    </a:cubicBezTo>
                    <a:cubicBezTo>
                      <a:pt x="49" y="23"/>
                      <a:pt x="52" y="20"/>
                      <a:pt x="56" y="14"/>
                    </a:cubicBezTo>
                    <a:cubicBezTo>
                      <a:pt x="60" y="7"/>
                      <a:pt x="63" y="1"/>
                      <a:pt x="63" y="1"/>
                    </a:cubicBezTo>
                    <a:cubicBezTo>
                      <a:pt x="72" y="1"/>
                      <a:pt x="72" y="1"/>
                      <a:pt x="72" y="1"/>
                    </a:cubicBezTo>
                    <a:cubicBezTo>
                      <a:pt x="78" y="1"/>
                      <a:pt x="77" y="6"/>
                      <a:pt x="79" y="6"/>
                    </a:cubicBezTo>
                    <a:cubicBezTo>
                      <a:pt x="82" y="6"/>
                      <a:pt x="84" y="15"/>
                      <a:pt x="88" y="15"/>
                    </a:cubicBezTo>
                    <a:cubicBezTo>
                      <a:pt x="92" y="15"/>
                      <a:pt x="96" y="6"/>
                      <a:pt x="102" y="6"/>
                    </a:cubicBezTo>
                    <a:cubicBezTo>
                      <a:pt x="107" y="6"/>
                      <a:pt x="107" y="9"/>
                      <a:pt x="111" y="9"/>
                    </a:cubicBezTo>
                    <a:cubicBezTo>
                      <a:pt x="115" y="9"/>
                      <a:pt x="117" y="7"/>
                      <a:pt x="121" y="7"/>
                    </a:cubicBezTo>
                    <a:cubicBezTo>
                      <a:pt x="130" y="7"/>
                      <a:pt x="130" y="7"/>
                      <a:pt x="130" y="7"/>
                    </a:cubicBezTo>
                    <a:cubicBezTo>
                      <a:pt x="134" y="7"/>
                      <a:pt x="136" y="6"/>
                      <a:pt x="136" y="3"/>
                    </a:cubicBezTo>
                    <a:cubicBezTo>
                      <a:pt x="136" y="0"/>
                      <a:pt x="140" y="0"/>
                      <a:pt x="140" y="0"/>
                    </a:cubicBezTo>
                    <a:cubicBezTo>
                      <a:pt x="140" y="4"/>
                      <a:pt x="146" y="9"/>
                      <a:pt x="146" y="14"/>
                    </a:cubicBezTo>
                    <a:cubicBezTo>
                      <a:pt x="146" y="29"/>
                      <a:pt x="157" y="29"/>
                      <a:pt x="157" y="45"/>
                    </a:cubicBezTo>
                    <a:cubicBezTo>
                      <a:pt x="157" y="57"/>
                      <a:pt x="154" y="67"/>
                      <a:pt x="154" y="75"/>
                    </a:cubicBezTo>
                    <a:cubicBezTo>
                      <a:pt x="154" y="88"/>
                      <a:pt x="166" y="89"/>
                      <a:pt x="166" y="93"/>
                    </a:cubicBezTo>
                    <a:cubicBezTo>
                      <a:pt x="166" y="98"/>
                      <a:pt x="163" y="98"/>
                      <a:pt x="159" y="109"/>
                    </a:cubicBezTo>
                    <a:cubicBezTo>
                      <a:pt x="158" y="113"/>
                      <a:pt x="152" y="119"/>
                      <a:pt x="152" y="125"/>
                    </a:cubicBezTo>
                    <a:cubicBezTo>
                      <a:pt x="152" y="129"/>
                      <a:pt x="153" y="132"/>
                      <a:pt x="150" y="133"/>
                    </a:cubicBezTo>
                    <a:cubicBezTo>
                      <a:pt x="147" y="134"/>
                      <a:pt x="139" y="141"/>
                      <a:pt x="139" y="147"/>
                    </a:cubicBezTo>
                    <a:cubicBezTo>
                      <a:pt x="139" y="153"/>
                      <a:pt x="135" y="153"/>
                      <a:pt x="135" y="160"/>
                    </a:cubicBezTo>
                    <a:cubicBezTo>
                      <a:pt x="135" y="167"/>
                      <a:pt x="137" y="169"/>
                      <a:pt x="137" y="174"/>
                    </a:cubicBezTo>
                    <a:cubicBezTo>
                      <a:pt x="137" y="174"/>
                      <a:pt x="135" y="174"/>
                      <a:pt x="135" y="171"/>
                    </a:cubicBezTo>
                    <a:cubicBezTo>
                      <a:pt x="135" y="168"/>
                      <a:pt x="132" y="164"/>
                      <a:pt x="127" y="164"/>
                    </a:cubicBezTo>
                    <a:cubicBezTo>
                      <a:pt x="123" y="164"/>
                      <a:pt x="121" y="160"/>
                      <a:pt x="114" y="160"/>
                    </a:cubicBezTo>
                    <a:cubicBezTo>
                      <a:pt x="110" y="160"/>
                      <a:pt x="110" y="160"/>
                      <a:pt x="110" y="160"/>
                    </a:cubicBezTo>
                    <a:cubicBezTo>
                      <a:pt x="108" y="160"/>
                      <a:pt x="107" y="155"/>
                      <a:pt x="103" y="155"/>
                    </a:cubicBezTo>
                    <a:cubicBezTo>
                      <a:pt x="99" y="155"/>
                      <a:pt x="102" y="159"/>
                      <a:pt x="97" y="159"/>
                    </a:cubicBezTo>
                    <a:cubicBezTo>
                      <a:pt x="89" y="159"/>
                      <a:pt x="89" y="159"/>
                      <a:pt x="89" y="159"/>
                    </a:cubicBezTo>
                    <a:cubicBezTo>
                      <a:pt x="87" y="159"/>
                      <a:pt x="86" y="161"/>
                      <a:pt x="86" y="163"/>
                    </a:cubicBezTo>
                    <a:cubicBezTo>
                      <a:pt x="86" y="165"/>
                      <a:pt x="82" y="177"/>
                      <a:pt x="79" y="179"/>
                    </a:cubicBezTo>
                    <a:cubicBezTo>
                      <a:pt x="77" y="181"/>
                      <a:pt x="76" y="185"/>
                      <a:pt x="71" y="189"/>
                    </a:cubicBezTo>
                    <a:cubicBezTo>
                      <a:pt x="66" y="194"/>
                      <a:pt x="59" y="202"/>
                      <a:pt x="54" y="202"/>
                    </a:cubicBezTo>
                    <a:cubicBezTo>
                      <a:pt x="49" y="202"/>
                      <a:pt x="49" y="200"/>
                      <a:pt x="49" y="198"/>
                    </a:cubicBezTo>
                    <a:cubicBezTo>
                      <a:pt x="49" y="196"/>
                      <a:pt x="48" y="195"/>
                      <a:pt x="44" y="195"/>
                    </a:cubicBezTo>
                    <a:cubicBezTo>
                      <a:pt x="43" y="195"/>
                      <a:pt x="41" y="194"/>
                      <a:pt x="40" y="193"/>
                    </a:cubicBezTo>
                    <a:cubicBezTo>
                      <a:pt x="40" y="192"/>
                      <a:pt x="39" y="191"/>
                      <a:pt x="39" y="189"/>
                    </a:cubicBezTo>
                    <a:cubicBezTo>
                      <a:pt x="39" y="185"/>
                      <a:pt x="38" y="182"/>
                      <a:pt x="35" y="178"/>
                    </a:cubicBezTo>
                    <a:cubicBezTo>
                      <a:pt x="32" y="174"/>
                      <a:pt x="31" y="174"/>
                      <a:pt x="31" y="171"/>
                    </a:cubicBezTo>
                    <a:cubicBezTo>
                      <a:pt x="31" y="168"/>
                      <a:pt x="23" y="166"/>
                      <a:pt x="23" y="162"/>
                    </a:cubicBezTo>
                    <a:cubicBezTo>
                      <a:pt x="23" y="158"/>
                      <a:pt x="25" y="147"/>
                      <a:pt x="28" y="147"/>
                    </a:cubicBezTo>
                    <a:cubicBezTo>
                      <a:pt x="34" y="147"/>
                      <a:pt x="38" y="153"/>
                      <a:pt x="44" y="153"/>
                    </a:cubicBezTo>
                    <a:cubicBezTo>
                      <a:pt x="49" y="153"/>
                      <a:pt x="50" y="151"/>
                      <a:pt x="53" y="149"/>
                    </a:cubicBezTo>
                    <a:cubicBezTo>
                      <a:pt x="56" y="146"/>
                      <a:pt x="60" y="149"/>
                      <a:pt x="60" y="145"/>
                    </a:cubicBezTo>
                    <a:cubicBezTo>
                      <a:pt x="60" y="142"/>
                      <a:pt x="59" y="141"/>
                      <a:pt x="59" y="138"/>
                    </a:cubicBezTo>
                    <a:cubicBezTo>
                      <a:pt x="59" y="135"/>
                      <a:pt x="63" y="133"/>
                      <a:pt x="63" y="128"/>
                    </a:cubicBezTo>
                    <a:cubicBezTo>
                      <a:pt x="63" y="124"/>
                      <a:pt x="61" y="123"/>
                      <a:pt x="58" y="123"/>
                    </a:cubicBezTo>
                    <a:cubicBezTo>
                      <a:pt x="54" y="123"/>
                      <a:pt x="54" y="129"/>
                      <a:pt x="50" y="129"/>
                    </a:cubicBezTo>
                    <a:cubicBezTo>
                      <a:pt x="48" y="129"/>
                      <a:pt x="46" y="127"/>
                      <a:pt x="46" y="125"/>
                    </a:cubicBezTo>
                    <a:cubicBezTo>
                      <a:pt x="46" y="122"/>
                      <a:pt x="43" y="121"/>
                      <a:pt x="38" y="120"/>
                    </a:cubicBezTo>
                    <a:cubicBezTo>
                      <a:pt x="33" y="120"/>
                      <a:pt x="24" y="118"/>
                      <a:pt x="18" y="115"/>
                    </a:cubicBezTo>
                    <a:cubicBezTo>
                      <a:pt x="12" y="111"/>
                      <a:pt x="6" y="110"/>
                      <a:pt x="6" y="110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49" name="Freeform 33"/>
              <p:cNvSpPr>
                <a:spLocks/>
              </p:cNvSpPr>
              <p:nvPr/>
            </p:nvSpPr>
            <p:spPr bwMode="auto">
              <a:xfrm>
                <a:off x="2151" y="2911"/>
                <a:ext cx="322" cy="426"/>
              </a:xfrm>
              <a:custGeom>
                <a:avLst/>
                <a:gdLst>
                  <a:gd name="T0" fmla="*/ 41 w 136"/>
                  <a:gd name="T1" fmla="*/ 180 h 180"/>
                  <a:gd name="T2" fmla="*/ 52 w 136"/>
                  <a:gd name="T3" fmla="*/ 170 h 180"/>
                  <a:gd name="T4" fmla="*/ 63 w 136"/>
                  <a:gd name="T5" fmla="*/ 161 h 180"/>
                  <a:gd name="T6" fmla="*/ 81 w 136"/>
                  <a:gd name="T7" fmla="*/ 120 h 180"/>
                  <a:gd name="T8" fmla="*/ 81 w 136"/>
                  <a:gd name="T9" fmla="*/ 112 h 180"/>
                  <a:gd name="T10" fmla="*/ 90 w 136"/>
                  <a:gd name="T11" fmla="*/ 103 h 180"/>
                  <a:gd name="T12" fmla="*/ 96 w 136"/>
                  <a:gd name="T13" fmla="*/ 105 h 180"/>
                  <a:gd name="T14" fmla="*/ 107 w 136"/>
                  <a:gd name="T15" fmla="*/ 93 h 180"/>
                  <a:gd name="T16" fmla="*/ 113 w 136"/>
                  <a:gd name="T17" fmla="*/ 83 h 180"/>
                  <a:gd name="T18" fmla="*/ 112 w 136"/>
                  <a:gd name="T19" fmla="*/ 79 h 180"/>
                  <a:gd name="T20" fmla="*/ 108 w 136"/>
                  <a:gd name="T21" fmla="*/ 68 h 180"/>
                  <a:gd name="T22" fmla="*/ 104 w 136"/>
                  <a:gd name="T23" fmla="*/ 61 h 180"/>
                  <a:gd name="T24" fmla="*/ 96 w 136"/>
                  <a:gd name="T25" fmla="*/ 52 h 180"/>
                  <a:gd name="T26" fmla="*/ 101 w 136"/>
                  <a:gd name="T27" fmla="*/ 37 h 180"/>
                  <a:gd name="T28" fmla="*/ 117 w 136"/>
                  <a:gd name="T29" fmla="*/ 43 h 180"/>
                  <a:gd name="T30" fmla="*/ 126 w 136"/>
                  <a:gd name="T31" fmla="*/ 39 h 180"/>
                  <a:gd name="T32" fmla="*/ 133 w 136"/>
                  <a:gd name="T33" fmla="*/ 35 h 180"/>
                  <a:gd name="T34" fmla="*/ 132 w 136"/>
                  <a:gd name="T35" fmla="*/ 28 h 180"/>
                  <a:gd name="T36" fmla="*/ 136 w 136"/>
                  <a:gd name="T37" fmla="*/ 18 h 180"/>
                  <a:gd name="T38" fmla="*/ 131 w 136"/>
                  <a:gd name="T39" fmla="*/ 13 h 180"/>
                  <a:gd name="T40" fmla="*/ 123 w 136"/>
                  <a:gd name="T41" fmla="*/ 19 h 180"/>
                  <a:gd name="T42" fmla="*/ 119 w 136"/>
                  <a:gd name="T43" fmla="*/ 15 h 180"/>
                  <a:gd name="T44" fmla="*/ 111 w 136"/>
                  <a:gd name="T45" fmla="*/ 10 h 180"/>
                  <a:gd name="T46" fmla="*/ 91 w 136"/>
                  <a:gd name="T47" fmla="*/ 5 h 180"/>
                  <a:gd name="T48" fmla="*/ 79 w 136"/>
                  <a:gd name="T49" fmla="*/ 0 h 180"/>
                  <a:gd name="T50" fmla="*/ 79 w 136"/>
                  <a:gd name="T51" fmla="*/ 3 h 180"/>
                  <a:gd name="T52" fmla="*/ 68 w 136"/>
                  <a:gd name="T53" fmla="*/ 22 h 180"/>
                  <a:gd name="T54" fmla="*/ 55 w 136"/>
                  <a:gd name="T55" fmla="*/ 20 h 180"/>
                  <a:gd name="T56" fmla="*/ 50 w 136"/>
                  <a:gd name="T57" fmla="*/ 24 h 180"/>
                  <a:gd name="T58" fmla="*/ 42 w 136"/>
                  <a:gd name="T59" fmla="*/ 20 h 180"/>
                  <a:gd name="T60" fmla="*/ 21 w 136"/>
                  <a:gd name="T61" fmla="*/ 40 h 180"/>
                  <a:gd name="T62" fmla="*/ 12 w 136"/>
                  <a:gd name="T63" fmla="*/ 40 h 180"/>
                  <a:gd name="T64" fmla="*/ 9 w 136"/>
                  <a:gd name="T65" fmla="*/ 41 h 180"/>
                  <a:gd name="T66" fmla="*/ 8 w 136"/>
                  <a:gd name="T67" fmla="*/ 44 h 180"/>
                  <a:gd name="T68" fmla="*/ 3 w 136"/>
                  <a:gd name="T69" fmla="*/ 53 h 180"/>
                  <a:gd name="T70" fmla="*/ 3 w 136"/>
                  <a:gd name="T71" fmla="*/ 62 h 180"/>
                  <a:gd name="T72" fmla="*/ 0 w 136"/>
                  <a:gd name="T73" fmla="*/ 68 h 180"/>
                  <a:gd name="T74" fmla="*/ 6 w 136"/>
                  <a:gd name="T75" fmla="*/ 75 h 180"/>
                  <a:gd name="T76" fmla="*/ 16 w 136"/>
                  <a:gd name="T77" fmla="*/ 77 h 180"/>
                  <a:gd name="T78" fmla="*/ 30 w 136"/>
                  <a:gd name="T79" fmla="*/ 89 h 180"/>
                  <a:gd name="T80" fmla="*/ 26 w 136"/>
                  <a:gd name="T81" fmla="*/ 103 h 180"/>
                  <a:gd name="T82" fmla="*/ 32 w 136"/>
                  <a:gd name="T83" fmla="*/ 119 h 180"/>
                  <a:gd name="T84" fmla="*/ 40 w 136"/>
                  <a:gd name="T85" fmla="*/ 132 h 180"/>
                  <a:gd name="T86" fmla="*/ 35 w 136"/>
                  <a:gd name="T87" fmla="*/ 144 h 180"/>
                  <a:gd name="T88" fmla="*/ 38 w 136"/>
                  <a:gd name="T89" fmla="*/ 156 h 180"/>
                  <a:gd name="T90" fmla="*/ 39 w 136"/>
                  <a:gd name="T91" fmla="*/ 165 h 180"/>
                  <a:gd name="T92" fmla="*/ 38 w 136"/>
                  <a:gd name="T93" fmla="*/ 170 h 180"/>
                  <a:gd name="T94" fmla="*/ 41 w 136"/>
                  <a:gd name="T95" fmla="*/ 174 h 180"/>
                  <a:gd name="T96" fmla="*/ 41 w 136"/>
                  <a:gd name="T97" fmla="*/ 18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36" h="180">
                    <a:moveTo>
                      <a:pt x="41" y="180"/>
                    </a:moveTo>
                    <a:cubicBezTo>
                      <a:pt x="41" y="177"/>
                      <a:pt x="47" y="170"/>
                      <a:pt x="52" y="170"/>
                    </a:cubicBezTo>
                    <a:cubicBezTo>
                      <a:pt x="57" y="170"/>
                      <a:pt x="59" y="168"/>
                      <a:pt x="63" y="161"/>
                    </a:cubicBezTo>
                    <a:cubicBezTo>
                      <a:pt x="66" y="155"/>
                      <a:pt x="81" y="130"/>
                      <a:pt x="81" y="120"/>
                    </a:cubicBezTo>
                    <a:cubicBezTo>
                      <a:pt x="81" y="117"/>
                      <a:pt x="81" y="115"/>
                      <a:pt x="81" y="112"/>
                    </a:cubicBezTo>
                    <a:cubicBezTo>
                      <a:pt x="81" y="109"/>
                      <a:pt x="83" y="103"/>
                      <a:pt x="90" y="103"/>
                    </a:cubicBezTo>
                    <a:cubicBezTo>
                      <a:pt x="94" y="103"/>
                      <a:pt x="94" y="105"/>
                      <a:pt x="96" y="105"/>
                    </a:cubicBezTo>
                    <a:cubicBezTo>
                      <a:pt x="100" y="105"/>
                      <a:pt x="107" y="101"/>
                      <a:pt x="107" y="93"/>
                    </a:cubicBezTo>
                    <a:cubicBezTo>
                      <a:pt x="107" y="84"/>
                      <a:pt x="113" y="83"/>
                      <a:pt x="113" y="83"/>
                    </a:cubicBezTo>
                    <a:cubicBezTo>
                      <a:pt x="113" y="82"/>
                      <a:pt x="112" y="81"/>
                      <a:pt x="112" y="79"/>
                    </a:cubicBezTo>
                    <a:cubicBezTo>
                      <a:pt x="112" y="75"/>
                      <a:pt x="111" y="72"/>
                      <a:pt x="108" y="68"/>
                    </a:cubicBezTo>
                    <a:cubicBezTo>
                      <a:pt x="105" y="64"/>
                      <a:pt x="104" y="64"/>
                      <a:pt x="104" y="61"/>
                    </a:cubicBezTo>
                    <a:cubicBezTo>
                      <a:pt x="104" y="58"/>
                      <a:pt x="96" y="56"/>
                      <a:pt x="96" y="52"/>
                    </a:cubicBezTo>
                    <a:cubicBezTo>
                      <a:pt x="96" y="48"/>
                      <a:pt x="98" y="37"/>
                      <a:pt x="101" y="37"/>
                    </a:cubicBezTo>
                    <a:cubicBezTo>
                      <a:pt x="107" y="37"/>
                      <a:pt x="111" y="43"/>
                      <a:pt x="117" y="43"/>
                    </a:cubicBezTo>
                    <a:cubicBezTo>
                      <a:pt x="122" y="43"/>
                      <a:pt x="123" y="41"/>
                      <a:pt x="126" y="39"/>
                    </a:cubicBezTo>
                    <a:cubicBezTo>
                      <a:pt x="129" y="36"/>
                      <a:pt x="133" y="39"/>
                      <a:pt x="133" y="35"/>
                    </a:cubicBezTo>
                    <a:cubicBezTo>
                      <a:pt x="133" y="32"/>
                      <a:pt x="132" y="31"/>
                      <a:pt x="132" y="28"/>
                    </a:cubicBezTo>
                    <a:cubicBezTo>
                      <a:pt x="132" y="25"/>
                      <a:pt x="136" y="23"/>
                      <a:pt x="136" y="18"/>
                    </a:cubicBezTo>
                    <a:cubicBezTo>
                      <a:pt x="136" y="14"/>
                      <a:pt x="134" y="13"/>
                      <a:pt x="131" y="13"/>
                    </a:cubicBezTo>
                    <a:cubicBezTo>
                      <a:pt x="127" y="13"/>
                      <a:pt x="127" y="19"/>
                      <a:pt x="123" y="19"/>
                    </a:cubicBezTo>
                    <a:cubicBezTo>
                      <a:pt x="121" y="19"/>
                      <a:pt x="119" y="17"/>
                      <a:pt x="119" y="15"/>
                    </a:cubicBezTo>
                    <a:cubicBezTo>
                      <a:pt x="119" y="12"/>
                      <a:pt x="116" y="11"/>
                      <a:pt x="111" y="10"/>
                    </a:cubicBezTo>
                    <a:cubicBezTo>
                      <a:pt x="106" y="10"/>
                      <a:pt x="97" y="8"/>
                      <a:pt x="91" y="5"/>
                    </a:cubicBezTo>
                    <a:cubicBezTo>
                      <a:pt x="85" y="1"/>
                      <a:pt x="79" y="0"/>
                      <a:pt x="79" y="0"/>
                    </a:cubicBezTo>
                    <a:cubicBezTo>
                      <a:pt x="79" y="1"/>
                      <a:pt x="79" y="2"/>
                      <a:pt x="79" y="3"/>
                    </a:cubicBezTo>
                    <a:cubicBezTo>
                      <a:pt x="79" y="15"/>
                      <a:pt x="77" y="22"/>
                      <a:pt x="68" y="22"/>
                    </a:cubicBezTo>
                    <a:cubicBezTo>
                      <a:pt x="58" y="22"/>
                      <a:pt x="57" y="20"/>
                      <a:pt x="55" y="20"/>
                    </a:cubicBezTo>
                    <a:cubicBezTo>
                      <a:pt x="53" y="20"/>
                      <a:pt x="52" y="24"/>
                      <a:pt x="50" y="24"/>
                    </a:cubicBezTo>
                    <a:cubicBezTo>
                      <a:pt x="47" y="24"/>
                      <a:pt x="45" y="20"/>
                      <a:pt x="42" y="20"/>
                    </a:cubicBezTo>
                    <a:cubicBezTo>
                      <a:pt x="42" y="20"/>
                      <a:pt x="37" y="40"/>
                      <a:pt x="21" y="40"/>
                    </a:cubicBezTo>
                    <a:cubicBezTo>
                      <a:pt x="12" y="40"/>
                      <a:pt x="12" y="40"/>
                      <a:pt x="12" y="40"/>
                    </a:cubicBezTo>
                    <a:cubicBezTo>
                      <a:pt x="10" y="40"/>
                      <a:pt x="9" y="41"/>
                      <a:pt x="9" y="41"/>
                    </a:cubicBezTo>
                    <a:cubicBezTo>
                      <a:pt x="8" y="42"/>
                      <a:pt x="8" y="43"/>
                      <a:pt x="8" y="44"/>
                    </a:cubicBezTo>
                    <a:cubicBezTo>
                      <a:pt x="8" y="49"/>
                      <a:pt x="3" y="47"/>
                      <a:pt x="3" y="53"/>
                    </a:cubicBezTo>
                    <a:cubicBezTo>
                      <a:pt x="3" y="62"/>
                      <a:pt x="3" y="62"/>
                      <a:pt x="3" y="62"/>
                    </a:cubicBezTo>
                    <a:cubicBezTo>
                      <a:pt x="3" y="64"/>
                      <a:pt x="0" y="64"/>
                      <a:pt x="0" y="68"/>
                    </a:cubicBezTo>
                    <a:cubicBezTo>
                      <a:pt x="0" y="71"/>
                      <a:pt x="2" y="75"/>
                      <a:pt x="6" y="75"/>
                    </a:cubicBezTo>
                    <a:cubicBezTo>
                      <a:pt x="11" y="75"/>
                      <a:pt x="13" y="75"/>
                      <a:pt x="16" y="77"/>
                    </a:cubicBezTo>
                    <a:cubicBezTo>
                      <a:pt x="20" y="79"/>
                      <a:pt x="30" y="83"/>
                      <a:pt x="30" y="89"/>
                    </a:cubicBezTo>
                    <a:cubicBezTo>
                      <a:pt x="30" y="95"/>
                      <a:pt x="26" y="96"/>
                      <a:pt x="26" y="103"/>
                    </a:cubicBezTo>
                    <a:cubicBezTo>
                      <a:pt x="26" y="110"/>
                      <a:pt x="28" y="114"/>
                      <a:pt x="32" y="119"/>
                    </a:cubicBezTo>
                    <a:cubicBezTo>
                      <a:pt x="35" y="124"/>
                      <a:pt x="40" y="128"/>
                      <a:pt x="40" y="132"/>
                    </a:cubicBezTo>
                    <a:cubicBezTo>
                      <a:pt x="40" y="138"/>
                      <a:pt x="35" y="137"/>
                      <a:pt x="35" y="144"/>
                    </a:cubicBezTo>
                    <a:cubicBezTo>
                      <a:pt x="35" y="151"/>
                      <a:pt x="38" y="150"/>
                      <a:pt x="38" y="156"/>
                    </a:cubicBezTo>
                    <a:cubicBezTo>
                      <a:pt x="38" y="161"/>
                      <a:pt x="39" y="162"/>
                      <a:pt x="39" y="165"/>
                    </a:cubicBezTo>
                    <a:cubicBezTo>
                      <a:pt x="39" y="168"/>
                      <a:pt x="38" y="167"/>
                      <a:pt x="38" y="170"/>
                    </a:cubicBezTo>
                    <a:cubicBezTo>
                      <a:pt x="38" y="172"/>
                      <a:pt x="41" y="171"/>
                      <a:pt x="41" y="174"/>
                    </a:cubicBezTo>
                    <a:cubicBezTo>
                      <a:pt x="41" y="176"/>
                      <a:pt x="41" y="180"/>
                      <a:pt x="41" y="180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50" name="Freeform 34"/>
              <p:cNvSpPr>
                <a:spLocks/>
              </p:cNvSpPr>
              <p:nvPr/>
            </p:nvSpPr>
            <p:spPr bwMode="auto">
              <a:xfrm>
                <a:off x="2205" y="3018"/>
                <a:ext cx="443" cy="584"/>
              </a:xfrm>
              <a:custGeom>
                <a:avLst/>
                <a:gdLst>
                  <a:gd name="T0" fmla="*/ 94 w 187"/>
                  <a:gd name="T1" fmla="*/ 40 h 247"/>
                  <a:gd name="T2" fmla="*/ 104 w 187"/>
                  <a:gd name="T3" fmla="*/ 47 h 247"/>
                  <a:gd name="T4" fmla="*/ 129 w 187"/>
                  <a:gd name="T5" fmla="*/ 24 h 247"/>
                  <a:gd name="T6" fmla="*/ 139 w 187"/>
                  <a:gd name="T7" fmla="*/ 4 h 247"/>
                  <a:gd name="T8" fmla="*/ 153 w 187"/>
                  <a:gd name="T9" fmla="*/ 0 h 247"/>
                  <a:gd name="T10" fmla="*/ 164 w 187"/>
                  <a:gd name="T11" fmla="*/ 5 h 247"/>
                  <a:gd name="T12" fmla="*/ 185 w 187"/>
                  <a:gd name="T13" fmla="*/ 16 h 247"/>
                  <a:gd name="T14" fmla="*/ 177 w 187"/>
                  <a:gd name="T15" fmla="*/ 35 h 247"/>
                  <a:gd name="T16" fmla="*/ 176 w 187"/>
                  <a:gd name="T17" fmla="*/ 83 h 247"/>
                  <a:gd name="T18" fmla="*/ 148 w 187"/>
                  <a:gd name="T19" fmla="*/ 131 h 247"/>
                  <a:gd name="T20" fmla="*/ 142 w 187"/>
                  <a:gd name="T21" fmla="*/ 162 h 247"/>
                  <a:gd name="T22" fmla="*/ 135 w 187"/>
                  <a:gd name="T23" fmla="*/ 160 h 247"/>
                  <a:gd name="T24" fmla="*/ 124 w 187"/>
                  <a:gd name="T25" fmla="*/ 168 h 247"/>
                  <a:gd name="T26" fmla="*/ 136 w 187"/>
                  <a:gd name="T27" fmla="*/ 176 h 247"/>
                  <a:gd name="T28" fmla="*/ 139 w 187"/>
                  <a:gd name="T29" fmla="*/ 177 h 247"/>
                  <a:gd name="T30" fmla="*/ 142 w 187"/>
                  <a:gd name="T31" fmla="*/ 192 h 247"/>
                  <a:gd name="T32" fmla="*/ 152 w 187"/>
                  <a:gd name="T33" fmla="*/ 203 h 247"/>
                  <a:gd name="T34" fmla="*/ 139 w 187"/>
                  <a:gd name="T35" fmla="*/ 224 h 247"/>
                  <a:gd name="T36" fmla="*/ 139 w 187"/>
                  <a:gd name="T37" fmla="*/ 216 h 247"/>
                  <a:gd name="T38" fmla="*/ 124 w 187"/>
                  <a:gd name="T39" fmla="*/ 219 h 247"/>
                  <a:gd name="T40" fmla="*/ 119 w 187"/>
                  <a:gd name="T41" fmla="*/ 214 h 247"/>
                  <a:gd name="T42" fmla="*/ 105 w 187"/>
                  <a:gd name="T43" fmla="*/ 222 h 247"/>
                  <a:gd name="T44" fmla="*/ 74 w 187"/>
                  <a:gd name="T45" fmla="*/ 215 h 247"/>
                  <a:gd name="T46" fmla="*/ 50 w 187"/>
                  <a:gd name="T47" fmla="*/ 215 h 247"/>
                  <a:gd name="T48" fmla="*/ 50 w 187"/>
                  <a:gd name="T49" fmla="*/ 208 h 247"/>
                  <a:gd name="T50" fmla="*/ 52 w 187"/>
                  <a:gd name="T51" fmla="*/ 198 h 247"/>
                  <a:gd name="T52" fmla="*/ 45 w 187"/>
                  <a:gd name="T53" fmla="*/ 207 h 247"/>
                  <a:gd name="T54" fmla="*/ 39 w 187"/>
                  <a:gd name="T55" fmla="*/ 210 h 247"/>
                  <a:gd name="T56" fmla="*/ 44 w 187"/>
                  <a:gd name="T57" fmla="*/ 213 h 247"/>
                  <a:gd name="T58" fmla="*/ 43 w 187"/>
                  <a:gd name="T59" fmla="*/ 222 h 247"/>
                  <a:gd name="T60" fmla="*/ 28 w 187"/>
                  <a:gd name="T61" fmla="*/ 234 h 247"/>
                  <a:gd name="T62" fmla="*/ 15 w 187"/>
                  <a:gd name="T63" fmla="*/ 246 h 247"/>
                  <a:gd name="T64" fmla="*/ 24 w 187"/>
                  <a:gd name="T65" fmla="*/ 230 h 247"/>
                  <a:gd name="T66" fmla="*/ 16 w 187"/>
                  <a:gd name="T67" fmla="*/ 210 h 247"/>
                  <a:gd name="T68" fmla="*/ 7 w 187"/>
                  <a:gd name="T69" fmla="*/ 195 h 247"/>
                  <a:gd name="T70" fmla="*/ 3 w 187"/>
                  <a:gd name="T71" fmla="*/ 187 h 247"/>
                  <a:gd name="T72" fmla="*/ 6 w 187"/>
                  <a:gd name="T73" fmla="*/ 170 h 247"/>
                  <a:gd name="T74" fmla="*/ 13 w 187"/>
                  <a:gd name="T75" fmla="*/ 144 h 247"/>
                  <a:gd name="T76" fmla="*/ 29 w 187"/>
                  <a:gd name="T77" fmla="*/ 125 h 247"/>
                  <a:gd name="T78" fmla="*/ 58 w 187"/>
                  <a:gd name="T79" fmla="*/ 75 h 247"/>
                  <a:gd name="T80" fmla="*/ 67 w 187"/>
                  <a:gd name="T81" fmla="*/ 58 h 247"/>
                  <a:gd name="T82" fmla="*/ 84 w 187"/>
                  <a:gd name="T83" fmla="*/ 48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87" h="247">
                    <a:moveTo>
                      <a:pt x="90" y="38"/>
                    </a:moveTo>
                    <a:cubicBezTo>
                      <a:pt x="91" y="39"/>
                      <a:pt x="93" y="40"/>
                      <a:pt x="94" y="40"/>
                    </a:cubicBezTo>
                    <a:cubicBezTo>
                      <a:pt x="98" y="40"/>
                      <a:pt x="99" y="41"/>
                      <a:pt x="99" y="43"/>
                    </a:cubicBezTo>
                    <a:cubicBezTo>
                      <a:pt x="99" y="45"/>
                      <a:pt x="99" y="47"/>
                      <a:pt x="104" y="47"/>
                    </a:cubicBezTo>
                    <a:cubicBezTo>
                      <a:pt x="109" y="47"/>
                      <a:pt x="116" y="39"/>
                      <a:pt x="121" y="34"/>
                    </a:cubicBezTo>
                    <a:cubicBezTo>
                      <a:pt x="126" y="30"/>
                      <a:pt x="127" y="26"/>
                      <a:pt x="129" y="24"/>
                    </a:cubicBezTo>
                    <a:cubicBezTo>
                      <a:pt x="132" y="22"/>
                      <a:pt x="136" y="10"/>
                      <a:pt x="136" y="8"/>
                    </a:cubicBezTo>
                    <a:cubicBezTo>
                      <a:pt x="136" y="6"/>
                      <a:pt x="137" y="4"/>
                      <a:pt x="139" y="4"/>
                    </a:cubicBezTo>
                    <a:cubicBezTo>
                      <a:pt x="147" y="4"/>
                      <a:pt x="147" y="4"/>
                      <a:pt x="147" y="4"/>
                    </a:cubicBezTo>
                    <a:cubicBezTo>
                      <a:pt x="152" y="4"/>
                      <a:pt x="149" y="0"/>
                      <a:pt x="153" y="0"/>
                    </a:cubicBezTo>
                    <a:cubicBezTo>
                      <a:pt x="157" y="0"/>
                      <a:pt x="158" y="5"/>
                      <a:pt x="160" y="5"/>
                    </a:cubicBezTo>
                    <a:cubicBezTo>
                      <a:pt x="164" y="5"/>
                      <a:pt x="164" y="5"/>
                      <a:pt x="164" y="5"/>
                    </a:cubicBezTo>
                    <a:cubicBezTo>
                      <a:pt x="171" y="5"/>
                      <a:pt x="173" y="9"/>
                      <a:pt x="177" y="9"/>
                    </a:cubicBezTo>
                    <a:cubicBezTo>
                      <a:pt x="182" y="9"/>
                      <a:pt x="185" y="13"/>
                      <a:pt x="185" y="16"/>
                    </a:cubicBezTo>
                    <a:cubicBezTo>
                      <a:pt x="185" y="19"/>
                      <a:pt x="187" y="19"/>
                      <a:pt x="187" y="19"/>
                    </a:cubicBezTo>
                    <a:cubicBezTo>
                      <a:pt x="187" y="25"/>
                      <a:pt x="181" y="26"/>
                      <a:pt x="177" y="35"/>
                    </a:cubicBezTo>
                    <a:cubicBezTo>
                      <a:pt x="173" y="42"/>
                      <a:pt x="170" y="49"/>
                      <a:pt x="170" y="56"/>
                    </a:cubicBezTo>
                    <a:cubicBezTo>
                      <a:pt x="170" y="67"/>
                      <a:pt x="176" y="72"/>
                      <a:pt x="176" y="83"/>
                    </a:cubicBezTo>
                    <a:cubicBezTo>
                      <a:pt x="176" y="94"/>
                      <a:pt x="161" y="110"/>
                      <a:pt x="159" y="116"/>
                    </a:cubicBezTo>
                    <a:cubicBezTo>
                      <a:pt x="157" y="122"/>
                      <a:pt x="153" y="125"/>
                      <a:pt x="148" y="131"/>
                    </a:cubicBezTo>
                    <a:cubicBezTo>
                      <a:pt x="144" y="137"/>
                      <a:pt x="141" y="143"/>
                      <a:pt x="141" y="151"/>
                    </a:cubicBezTo>
                    <a:cubicBezTo>
                      <a:pt x="141" y="159"/>
                      <a:pt x="142" y="160"/>
                      <a:pt x="142" y="162"/>
                    </a:cubicBezTo>
                    <a:cubicBezTo>
                      <a:pt x="142" y="164"/>
                      <a:pt x="142" y="165"/>
                      <a:pt x="141" y="165"/>
                    </a:cubicBezTo>
                    <a:cubicBezTo>
                      <a:pt x="140" y="165"/>
                      <a:pt x="139" y="160"/>
                      <a:pt x="135" y="160"/>
                    </a:cubicBezTo>
                    <a:cubicBezTo>
                      <a:pt x="131" y="160"/>
                      <a:pt x="131" y="159"/>
                      <a:pt x="129" y="159"/>
                    </a:cubicBezTo>
                    <a:cubicBezTo>
                      <a:pt x="127" y="159"/>
                      <a:pt x="124" y="162"/>
                      <a:pt x="124" y="168"/>
                    </a:cubicBezTo>
                    <a:cubicBezTo>
                      <a:pt x="124" y="175"/>
                      <a:pt x="129" y="180"/>
                      <a:pt x="133" y="180"/>
                    </a:cubicBezTo>
                    <a:cubicBezTo>
                      <a:pt x="136" y="180"/>
                      <a:pt x="136" y="178"/>
                      <a:pt x="136" y="176"/>
                    </a:cubicBezTo>
                    <a:cubicBezTo>
                      <a:pt x="136" y="174"/>
                      <a:pt x="137" y="171"/>
                      <a:pt x="139" y="171"/>
                    </a:cubicBezTo>
                    <a:cubicBezTo>
                      <a:pt x="140" y="171"/>
                      <a:pt x="139" y="174"/>
                      <a:pt x="139" y="177"/>
                    </a:cubicBezTo>
                    <a:cubicBezTo>
                      <a:pt x="139" y="180"/>
                      <a:pt x="138" y="181"/>
                      <a:pt x="138" y="184"/>
                    </a:cubicBezTo>
                    <a:cubicBezTo>
                      <a:pt x="138" y="188"/>
                      <a:pt x="142" y="188"/>
                      <a:pt x="142" y="192"/>
                    </a:cubicBezTo>
                    <a:cubicBezTo>
                      <a:pt x="142" y="196"/>
                      <a:pt x="145" y="194"/>
                      <a:pt x="146" y="195"/>
                    </a:cubicBezTo>
                    <a:cubicBezTo>
                      <a:pt x="149" y="196"/>
                      <a:pt x="152" y="199"/>
                      <a:pt x="152" y="203"/>
                    </a:cubicBezTo>
                    <a:cubicBezTo>
                      <a:pt x="152" y="208"/>
                      <a:pt x="146" y="212"/>
                      <a:pt x="146" y="216"/>
                    </a:cubicBezTo>
                    <a:cubicBezTo>
                      <a:pt x="146" y="221"/>
                      <a:pt x="144" y="224"/>
                      <a:pt x="139" y="224"/>
                    </a:cubicBezTo>
                    <a:cubicBezTo>
                      <a:pt x="135" y="224"/>
                      <a:pt x="134" y="224"/>
                      <a:pt x="134" y="222"/>
                    </a:cubicBezTo>
                    <a:cubicBezTo>
                      <a:pt x="134" y="220"/>
                      <a:pt x="139" y="218"/>
                      <a:pt x="139" y="216"/>
                    </a:cubicBezTo>
                    <a:cubicBezTo>
                      <a:pt x="139" y="214"/>
                      <a:pt x="138" y="214"/>
                      <a:pt x="136" y="214"/>
                    </a:cubicBezTo>
                    <a:cubicBezTo>
                      <a:pt x="134" y="214"/>
                      <a:pt x="133" y="219"/>
                      <a:pt x="124" y="219"/>
                    </a:cubicBezTo>
                    <a:cubicBezTo>
                      <a:pt x="120" y="219"/>
                      <a:pt x="119" y="217"/>
                      <a:pt x="122" y="216"/>
                    </a:cubicBezTo>
                    <a:cubicBezTo>
                      <a:pt x="124" y="215"/>
                      <a:pt x="122" y="214"/>
                      <a:pt x="119" y="214"/>
                    </a:cubicBezTo>
                    <a:cubicBezTo>
                      <a:pt x="116" y="214"/>
                      <a:pt x="116" y="217"/>
                      <a:pt x="114" y="219"/>
                    </a:cubicBezTo>
                    <a:cubicBezTo>
                      <a:pt x="112" y="221"/>
                      <a:pt x="109" y="222"/>
                      <a:pt x="105" y="222"/>
                    </a:cubicBezTo>
                    <a:cubicBezTo>
                      <a:pt x="100" y="222"/>
                      <a:pt x="99" y="227"/>
                      <a:pt x="94" y="227"/>
                    </a:cubicBezTo>
                    <a:cubicBezTo>
                      <a:pt x="89" y="227"/>
                      <a:pt x="84" y="215"/>
                      <a:pt x="74" y="215"/>
                    </a:cubicBezTo>
                    <a:cubicBezTo>
                      <a:pt x="67" y="215"/>
                      <a:pt x="68" y="212"/>
                      <a:pt x="63" y="212"/>
                    </a:cubicBezTo>
                    <a:cubicBezTo>
                      <a:pt x="57" y="212"/>
                      <a:pt x="55" y="215"/>
                      <a:pt x="50" y="215"/>
                    </a:cubicBezTo>
                    <a:cubicBezTo>
                      <a:pt x="47" y="215"/>
                      <a:pt x="46" y="215"/>
                      <a:pt x="46" y="213"/>
                    </a:cubicBezTo>
                    <a:cubicBezTo>
                      <a:pt x="46" y="211"/>
                      <a:pt x="50" y="210"/>
                      <a:pt x="50" y="208"/>
                    </a:cubicBezTo>
                    <a:cubicBezTo>
                      <a:pt x="50" y="205"/>
                      <a:pt x="54" y="203"/>
                      <a:pt x="54" y="201"/>
                    </a:cubicBezTo>
                    <a:cubicBezTo>
                      <a:pt x="54" y="198"/>
                      <a:pt x="54" y="197"/>
                      <a:pt x="52" y="198"/>
                    </a:cubicBezTo>
                    <a:cubicBezTo>
                      <a:pt x="51" y="199"/>
                      <a:pt x="51" y="201"/>
                      <a:pt x="49" y="201"/>
                    </a:cubicBezTo>
                    <a:cubicBezTo>
                      <a:pt x="47" y="201"/>
                      <a:pt x="49" y="207"/>
                      <a:pt x="45" y="207"/>
                    </a:cubicBezTo>
                    <a:cubicBezTo>
                      <a:pt x="42" y="207"/>
                      <a:pt x="41" y="205"/>
                      <a:pt x="40" y="205"/>
                    </a:cubicBezTo>
                    <a:cubicBezTo>
                      <a:pt x="39" y="205"/>
                      <a:pt x="39" y="208"/>
                      <a:pt x="39" y="210"/>
                    </a:cubicBezTo>
                    <a:cubicBezTo>
                      <a:pt x="39" y="213"/>
                      <a:pt x="39" y="213"/>
                      <a:pt x="39" y="213"/>
                    </a:cubicBezTo>
                    <a:cubicBezTo>
                      <a:pt x="44" y="213"/>
                      <a:pt x="44" y="213"/>
                      <a:pt x="44" y="213"/>
                    </a:cubicBezTo>
                    <a:cubicBezTo>
                      <a:pt x="44" y="213"/>
                      <a:pt x="44" y="216"/>
                      <a:pt x="43" y="217"/>
                    </a:cubicBezTo>
                    <a:cubicBezTo>
                      <a:pt x="41" y="219"/>
                      <a:pt x="43" y="220"/>
                      <a:pt x="43" y="222"/>
                    </a:cubicBezTo>
                    <a:cubicBezTo>
                      <a:pt x="43" y="224"/>
                      <a:pt x="41" y="229"/>
                      <a:pt x="37" y="229"/>
                    </a:cubicBezTo>
                    <a:cubicBezTo>
                      <a:pt x="33" y="229"/>
                      <a:pt x="32" y="230"/>
                      <a:pt x="28" y="234"/>
                    </a:cubicBezTo>
                    <a:cubicBezTo>
                      <a:pt x="24" y="238"/>
                      <a:pt x="24" y="241"/>
                      <a:pt x="21" y="243"/>
                    </a:cubicBezTo>
                    <a:cubicBezTo>
                      <a:pt x="18" y="246"/>
                      <a:pt x="17" y="247"/>
                      <a:pt x="15" y="246"/>
                    </a:cubicBezTo>
                    <a:cubicBezTo>
                      <a:pt x="13" y="245"/>
                      <a:pt x="14" y="241"/>
                      <a:pt x="17" y="239"/>
                    </a:cubicBezTo>
                    <a:cubicBezTo>
                      <a:pt x="19" y="236"/>
                      <a:pt x="24" y="235"/>
                      <a:pt x="24" y="230"/>
                    </a:cubicBezTo>
                    <a:cubicBezTo>
                      <a:pt x="24" y="227"/>
                      <a:pt x="22" y="224"/>
                      <a:pt x="22" y="219"/>
                    </a:cubicBezTo>
                    <a:cubicBezTo>
                      <a:pt x="22" y="214"/>
                      <a:pt x="19" y="213"/>
                      <a:pt x="16" y="210"/>
                    </a:cubicBezTo>
                    <a:cubicBezTo>
                      <a:pt x="13" y="207"/>
                      <a:pt x="12" y="204"/>
                      <a:pt x="10" y="202"/>
                    </a:cubicBezTo>
                    <a:cubicBezTo>
                      <a:pt x="8" y="201"/>
                      <a:pt x="7" y="198"/>
                      <a:pt x="7" y="195"/>
                    </a:cubicBezTo>
                    <a:cubicBezTo>
                      <a:pt x="7" y="192"/>
                      <a:pt x="7" y="190"/>
                      <a:pt x="6" y="190"/>
                    </a:cubicBezTo>
                    <a:cubicBezTo>
                      <a:pt x="4" y="190"/>
                      <a:pt x="6" y="187"/>
                      <a:pt x="3" y="187"/>
                    </a:cubicBezTo>
                    <a:cubicBezTo>
                      <a:pt x="0" y="187"/>
                      <a:pt x="2" y="182"/>
                      <a:pt x="4" y="180"/>
                    </a:cubicBezTo>
                    <a:cubicBezTo>
                      <a:pt x="7" y="177"/>
                      <a:pt x="6" y="175"/>
                      <a:pt x="6" y="170"/>
                    </a:cubicBezTo>
                    <a:cubicBezTo>
                      <a:pt x="6" y="165"/>
                      <a:pt x="8" y="161"/>
                      <a:pt x="8" y="156"/>
                    </a:cubicBezTo>
                    <a:cubicBezTo>
                      <a:pt x="8" y="152"/>
                      <a:pt x="13" y="148"/>
                      <a:pt x="13" y="144"/>
                    </a:cubicBezTo>
                    <a:cubicBezTo>
                      <a:pt x="13" y="140"/>
                      <a:pt x="18" y="138"/>
                      <a:pt x="18" y="135"/>
                    </a:cubicBezTo>
                    <a:cubicBezTo>
                      <a:pt x="18" y="132"/>
                      <a:pt x="24" y="125"/>
                      <a:pt x="29" y="125"/>
                    </a:cubicBezTo>
                    <a:cubicBezTo>
                      <a:pt x="34" y="125"/>
                      <a:pt x="36" y="123"/>
                      <a:pt x="40" y="116"/>
                    </a:cubicBezTo>
                    <a:cubicBezTo>
                      <a:pt x="43" y="110"/>
                      <a:pt x="58" y="85"/>
                      <a:pt x="58" y="75"/>
                    </a:cubicBezTo>
                    <a:cubicBezTo>
                      <a:pt x="58" y="72"/>
                      <a:pt x="58" y="70"/>
                      <a:pt x="58" y="67"/>
                    </a:cubicBezTo>
                    <a:cubicBezTo>
                      <a:pt x="58" y="64"/>
                      <a:pt x="60" y="58"/>
                      <a:pt x="67" y="58"/>
                    </a:cubicBezTo>
                    <a:cubicBezTo>
                      <a:pt x="71" y="58"/>
                      <a:pt x="71" y="60"/>
                      <a:pt x="73" y="60"/>
                    </a:cubicBezTo>
                    <a:cubicBezTo>
                      <a:pt x="77" y="60"/>
                      <a:pt x="84" y="56"/>
                      <a:pt x="84" y="48"/>
                    </a:cubicBezTo>
                    <a:cubicBezTo>
                      <a:pt x="84" y="39"/>
                      <a:pt x="90" y="38"/>
                      <a:pt x="90" y="38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52" name="Freeform 35"/>
              <p:cNvSpPr>
                <a:spLocks/>
              </p:cNvSpPr>
              <p:nvPr/>
            </p:nvSpPr>
            <p:spPr bwMode="auto">
              <a:xfrm>
                <a:off x="1864" y="2947"/>
                <a:ext cx="384" cy="549"/>
              </a:xfrm>
              <a:custGeom>
                <a:avLst/>
                <a:gdLst>
                  <a:gd name="T0" fmla="*/ 0 w 162"/>
                  <a:gd name="T1" fmla="*/ 39 h 232"/>
                  <a:gd name="T2" fmla="*/ 21 w 162"/>
                  <a:gd name="T3" fmla="*/ 23 h 232"/>
                  <a:gd name="T4" fmla="*/ 29 w 162"/>
                  <a:gd name="T5" fmla="*/ 31 h 232"/>
                  <a:gd name="T6" fmla="*/ 35 w 162"/>
                  <a:gd name="T7" fmla="*/ 30 h 232"/>
                  <a:gd name="T8" fmla="*/ 46 w 162"/>
                  <a:gd name="T9" fmla="*/ 37 h 232"/>
                  <a:gd name="T10" fmla="*/ 58 w 162"/>
                  <a:gd name="T11" fmla="*/ 30 h 232"/>
                  <a:gd name="T12" fmla="*/ 67 w 162"/>
                  <a:gd name="T13" fmla="*/ 23 h 232"/>
                  <a:gd name="T14" fmla="*/ 70 w 162"/>
                  <a:gd name="T15" fmla="*/ 17 h 232"/>
                  <a:gd name="T16" fmla="*/ 78 w 162"/>
                  <a:gd name="T17" fmla="*/ 9 h 232"/>
                  <a:gd name="T18" fmla="*/ 86 w 162"/>
                  <a:gd name="T19" fmla="*/ 11 h 232"/>
                  <a:gd name="T20" fmla="*/ 91 w 162"/>
                  <a:gd name="T21" fmla="*/ 4 h 232"/>
                  <a:gd name="T22" fmla="*/ 97 w 162"/>
                  <a:gd name="T23" fmla="*/ 1 h 232"/>
                  <a:gd name="T24" fmla="*/ 106 w 162"/>
                  <a:gd name="T25" fmla="*/ 0 h 232"/>
                  <a:gd name="T26" fmla="*/ 115 w 162"/>
                  <a:gd name="T27" fmla="*/ 4 h 232"/>
                  <a:gd name="T28" fmla="*/ 120 w 162"/>
                  <a:gd name="T29" fmla="*/ 13 h 232"/>
                  <a:gd name="T30" fmla="*/ 130 w 162"/>
                  <a:gd name="T31" fmla="*/ 26 h 232"/>
                  <a:gd name="T32" fmla="*/ 129 w 162"/>
                  <a:gd name="T33" fmla="*/ 29 h 232"/>
                  <a:gd name="T34" fmla="*/ 124 w 162"/>
                  <a:gd name="T35" fmla="*/ 38 h 232"/>
                  <a:gd name="T36" fmla="*/ 124 w 162"/>
                  <a:gd name="T37" fmla="*/ 47 h 232"/>
                  <a:gd name="T38" fmla="*/ 121 w 162"/>
                  <a:gd name="T39" fmla="*/ 53 h 232"/>
                  <a:gd name="T40" fmla="*/ 127 w 162"/>
                  <a:gd name="T41" fmla="*/ 60 h 232"/>
                  <a:gd name="T42" fmla="*/ 137 w 162"/>
                  <a:gd name="T43" fmla="*/ 62 h 232"/>
                  <a:gd name="T44" fmla="*/ 151 w 162"/>
                  <a:gd name="T45" fmla="*/ 74 h 232"/>
                  <a:gd name="T46" fmla="*/ 147 w 162"/>
                  <a:gd name="T47" fmla="*/ 88 h 232"/>
                  <a:gd name="T48" fmla="*/ 153 w 162"/>
                  <a:gd name="T49" fmla="*/ 104 h 232"/>
                  <a:gd name="T50" fmla="*/ 161 w 162"/>
                  <a:gd name="T51" fmla="*/ 117 h 232"/>
                  <a:gd name="T52" fmla="*/ 156 w 162"/>
                  <a:gd name="T53" fmla="*/ 129 h 232"/>
                  <a:gd name="T54" fmla="*/ 159 w 162"/>
                  <a:gd name="T55" fmla="*/ 141 h 232"/>
                  <a:gd name="T56" fmla="*/ 160 w 162"/>
                  <a:gd name="T57" fmla="*/ 150 h 232"/>
                  <a:gd name="T58" fmla="*/ 159 w 162"/>
                  <a:gd name="T59" fmla="*/ 155 h 232"/>
                  <a:gd name="T60" fmla="*/ 162 w 162"/>
                  <a:gd name="T61" fmla="*/ 159 h 232"/>
                  <a:gd name="T62" fmla="*/ 162 w 162"/>
                  <a:gd name="T63" fmla="*/ 165 h 232"/>
                  <a:gd name="T64" fmla="*/ 157 w 162"/>
                  <a:gd name="T65" fmla="*/ 174 h 232"/>
                  <a:gd name="T66" fmla="*/ 152 w 162"/>
                  <a:gd name="T67" fmla="*/ 186 h 232"/>
                  <a:gd name="T68" fmla="*/ 150 w 162"/>
                  <a:gd name="T69" fmla="*/ 200 h 232"/>
                  <a:gd name="T70" fmla="*/ 148 w 162"/>
                  <a:gd name="T71" fmla="*/ 210 h 232"/>
                  <a:gd name="T72" fmla="*/ 147 w 162"/>
                  <a:gd name="T73" fmla="*/ 217 h 232"/>
                  <a:gd name="T74" fmla="*/ 150 w 162"/>
                  <a:gd name="T75" fmla="*/ 220 h 232"/>
                  <a:gd name="T76" fmla="*/ 148 w 162"/>
                  <a:gd name="T77" fmla="*/ 222 h 232"/>
                  <a:gd name="T78" fmla="*/ 140 w 162"/>
                  <a:gd name="T79" fmla="*/ 225 h 232"/>
                  <a:gd name="T80" fmla="*/ 135 w 162"/>
                  <a:gd name="T81" fmla="*/ 232 h 232"/>
                  <a:gd name="T82" fmla="*/ 131 w 162"/>
                  <a:gd name="T83" fmla="*/ 228 h 232"/>
                  <a:gd name="T84" fmla="*/ 124 w 162"/>
                  <a:gd name="T85" fmla="*/ 231 h 232"/>
                  <a:gd name="T86" fmla="*/ 113 w 162"/>
                  <a:gd name="T87" fmla="*/ 224 h 232"/>
                  <a:gd name="T88" fmla="*/ 101 w 162"/>
                  <a:gd name="T89" fmla="*/ 231 h 232"/>
                  <a:gd name="T90" fmla="*/ 86 w 162"/>
                  <a:gd name="T91" fmla="*/ 219 h 232"/>
                  <a:gd name="T92" fmla="*/ 74 w 162"/>
                  <a:gd name="T93" fmla="*/ 202 h 232"/>
                  <a:gd name="T94" fmla="*/ 68 w 162"/>
                  <a:gd name="T95" fmla="*/ 193 h 232"/>
                  <a:gd name="T96" fmla="*/ 62 w 162"/>
                  <a:gd name="T97" fmla="*/ 177 h 232"/>
                  <a:gd name="T98" fmla="*/ 57 w 162"/>
                  <a:gd name="T99" fmla="*/ 163 h 232"/>
                  <a:gd name="T100" fmla="*/ 50 w 162"/>
                  <a:gd name="T101" fmla="*/ 148 h 232"/>
                  <a:gd name="T102" fmla="*/ 55 w 162"/>
                  <a:gd name="T103" fmla="*/ 137 h 232"/>
                  <a:gd name="T104" fmla="*/ 49 w 162"/>
                  <a:gd name="T105" fmla="*/ 120 h 232"/>
                  <a:gd name="T106" fmla="*/ 43 w 162"/>
                  <a:gd name="T107" fmla="*/ 100 h 232"/>
                  <a:gd name="T108" fmla="*/ 35 w 162"/>
                  <a:gd name="T109" fmla="*/ 82 h 232"/>
                  <a:gd name="T110" fmla="*/ 27 w 162"/>
                  <a:gd name="T111" fmla="*/ 68 h 232"/>
                  <a:gd name="T112" fmla="*/ 15 w 162"/>
                  <a:gd name="T113" fmla="*/ 61 h 232"/>
                  <a:gd name="T114" fmla="*/ 5 w 162"/>
                  <a:gd name="T115" fmla="*/ 50 h 232"/>
                  <a:gd name="T116" fmla="*/ 0 w 162"/>
                  <a:gd name="T117" fmla="*/ 39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62" h="232">
                    <a:moveTo>
                      <a:pt x="0" y="39"/>
                    </a:moveTo>
                    <a:cubicBezTo>
                      <a:pt x="3" y="39"/>
                      <a:pt x="16" y="23"/>
                      <a:pt x="21" y="23"/>
                    </a:cubicBezTo>
                    <a:cubicBezTo>
                      <a:pt x="27" y="23"/>
                      <a:pt x="26" y="31"/>
                      <a:pt x="29" y="31"/>
                    </a:cubicBezTo>
                    <a:cubicBezTo>
                      <a:pt x="31" y="31"/>
                      <a:pt x="33" y="30"/>
                      <a:pt x="35" y="30"/>
                    </a:cubicBezTo>
                    <a:cubicBezTo>
                      <a:pt x="40" y="30"/>
                      <a:pt x="41" y="37"/>
                      <a:pt x="46" y="37"/>
                    </a:cubicBezTo>
                    <a:cubicBezTo>
                      <a:pt x="51" y="37"/>
                      <a:pt x="54" y="30"/>
                      <a:pt x="58" y="30"/>
                    </a:cubicBezTo>
                    <a:cubicBezTo>
                      <a:pt x="62" y="30"/>
                      <a:pt x="66" y="26"/>
                      <a:pt x="67" y="23"/>
                    </a:cubicBezTo>
                    <a:cubicBezTo>
                      <a:pt x="68" y="20"/>
                      <a:pt x="69" y="19"/>
                      <a:pt x="70" y="17"/>
                    </a:cubicBezTo>
                    <a:cubicBezTo>
                      <a:pt x="71" y="14"/>
                      <a:pt x="74" y="9"/>
                      <a:pt x="78" y="9"/>
                    </a:cubicBezTo>
                    <a:cubicBezTo>
                      <a:pt x="82" y="9"/>
                      <a:pt x="82" y="11"/>
                      <a:pt x="86" y="11"/>
                    </a:cubicBezTo>
                    <a:cubicBezTo>
                      <a:pt x="90" y="11"/>
                      <a:pt x="91" y="7"/>
                      <a:pt x="91" y="4"/>
                    </a:cubicBezTo>
                    <a:cubicBezTo>
                      <a:pt x="91" y="2"/>
                      <a:pt x="93" y="1"/>
                      <a:pt x="97" y="1"/>
                    </a:cubicBezTo>
                    <a:cubicBezTo>
                      <a:pt x="100" y="1"/>
                      <a:pt x="101" y="0"/>
                      <a:pt x="106" y="0"/>
                    </a:cubicBezTo>
                    <a:cubicBezTo>
                      <a:pt x="111" y="0"/>
                      <a:pt x="111" y="4"/>
                      <a:pt x="115" y="4"/>
                    </a:cubicBezTo>
                    <a:cubicBezTo>
                      <a:pt x="118" y="4"/>
                      <a:pt x="120" y="8"/>
                      <a:pt x="120" y="13"/>
                    </a:cubicBezTo>
                    <a:cubicBezTo>
                      <a:pt x="120" y="17"/>
                      <a:pt x="130" y="26"/>
                      <a:pt x="130" y="26"/>
                    </a:cubicBezTo>
                    <a:cubicBezTo>
                      <a:pt x="129" y="27"/>
                      <a:pt x="129" y="28"/>
                      <a:pt x="129" y="29"/>
                    </a:cubicBezTo>
                    <a:cubicBezTo>
                      <a:pt x="129" y="34"/>
                      <a:pt x="124" y="32"/>
                      <a:pt x="124" y="38"/>
                    </a:cubicBezTo>
                    <a:cubicBezTo>
                      <a:pt x="124" y="47"/>
                      <a:pt x="124" y="47"/>
                      <a:pt x="124" y="47"/>
                    </a:cubicBezTo>
                    <a:cubicBezTo>
                      <a:pt x="124" y="49"/>
                      <a:pt x="121" y="49"/>
                      <a:pt x="121" y="53"/>
                    </a:cubicBezTo>
                    <a:cubicBezTo>
                      <a:pt x="121" y="56"/>
                      <a:pt x="123" y="60"/>
                      <a:pt x="127" y="60"/>
                    </a:cubicBezTo>
                    <a:cubicBezTo>
                      <a:pt x="132" y="60"/>
                      <a:pt x="134" y="60"/>
                      <a:pt x="137" y="62"/>
                    </a:cubicBezTo>
                    <a:cubicBezTo>
                      <a:pt x="141" y="64"/>
                      <a:pt x="151" y="68"/>
                      <a:pt x="151" y="74"/>
                    </a:cubicBezTo>
                    <a:cubicBezTo>
                      <a:pt x="151" y="80"/>
                      <a:pt x="147" y="81"/>
                      <a:pt x="147" y="88"/>
                    </a:cubicBezTo>
                    <a:cubicBezTo>
                      <a:pt x="147" y="95"/>
                      <a:pt x="149" y="99"/>
                      <a:pt x="153" y="104"/>
                    </a:cubicBezTo>
                    <a:cubicBezTo>
                      <a:pt x="156" y="109"/>
                      <a:pt x="161" y="113"/>
                      <a:pt x="161" y="117"/>
                    </a:cubicBezTo>
                    <a:cubicBezTo>
                      <a:pt x="161" y="123"/>
                      <a:pt x="156" y="122"/>
                      <a:pt x="156" y="129"/>
                    </a:cubicBezTo>
                    <a:cubicBezTo>
                      <a:pt x="156" y="136"/>
                      <a:pt x="159" y="135"/>
                      <a:pt x="159" y="141"/>
                    </a:cubicBezTo>
                    <a:cubicBezTo>
                      <a:pt x="159" y="146"/>
                      <a:pt x="160" y="147"/>
                      <a:pt x="160" y="150"/>
                    </a:cubicBezTo>
                    <a:cubicBezTo>
                      <a:pt x="160" y="153"/>
                      <a:pt x="159" y="152"/>
                      <a:pt x="159" y="155"/>
                    </a:cubicBezTo>
                    <a:cubicBezTo>
                      <a:pt x="159" y="157"/>
                      <a:pt x="162" y="156"/>
                      <a:pt x="162" y="159"/>
                    </a:cubicBezTo>
                    <a:cubicBezTo>
                      <a:pt x="162" y="161"/>
                      <a:pt x="162" y="165"/>
                      <a:pt x="162" y="165"/>
                    </a:cubicBezTo>
                    <a:cubicBezTo>
                      <a:pt x="162" y="168"/>
                      <a:pt x="157" y="170"/>
                      <a:pt x="157" y="174"/>
                    </a:cubicBezTo>
                    <a:cubicBezTo>
                      <a:pt x="157" y="178"/>
                      <a:pt x="152" y="182"/>
                      <a:pt x="152" y="186"/>
                    </a:cubicBezTo>
                    <a:cubicBezTo>
                      <a:pt x="152" y="191"/>
                      <a:pt x="150" y="195"/>
                      <a:pt x="150" y="200"/>
                    </a:cubicBezTo>
                    <a:cubicBezTo>
                      <a:pt x="150" y="205"/>
                      <a:pt x="151" y="207"/>
                      <a:pt x="148" y="210"/>
                    </a:cubicBezTo>
                    <a:cubicBezTo>
                      <a:pt x="146" y="212"/>
                      <a:pt x="144" y="217"/>
                      <a:pt x="147" y="217"/>
                    </a:cubicBezTo>
                    <a:cubicBezTo>
                      <a:pt x="150" y="217"/>
                      <a:pt x="148" y="220"/>
                      <a:pt x="150" y="220"/>
                    </a:cubicBezTo>
                    <a:cubicBezTo>
                      <a:pt x="149" y="220"/>
                      <a:pt x="149" y="221"/>
                      <a:pt x="148" y="222"/>
                    </a:cubicBezTo>
                    <a:cubicBezTo>
                      <a:pt x="148" y="222"/>
                      <a:pt x="143" y="222"/>
                      <a:pt x="140" y="225"/>
                    </a:cubicBezTo>
                    <a:cubicBezTo>
                      <a:pt x="137" y="229"/>
                      <a:pt x="137" y="232"/>
                      <a:pt x="135" y="232"/>
                    </a:cubicBezTo>
                    <a:cubicBezTo>
                      <a:pt x="133" y="232"/>
                      <a:pt x="134" y="228"/>
                      <a:pt x="131" y="228"/>
                    </a:cubicBezTo>
                    <a:cubicBezTo>
                      <a:pt x="128" y="228"/>
                      <a:pt x="128" y="231"/>
                      <a:pt x="124" y="231"/>
                    </a:cubicBezTo>
                    <a:cubicBezTo>
                      <a:pt x="120" y="231"/>
                      <a:pt x="118" y="224"/>
                      <a:pt x="113" y="224"/>
                    </a:cubicBezTo>
                    <a:cubicBezTo>
                      <a:pt x="107" y="224"/>
                      <a:pt x="107" y="231"/>
                      <a:pt x="101" y="231"/>
                    </a:cubicBezTo>
                    <a:cubicBezTo>
                      <a:pt x="95" y="231"/>
                      <a:pt x="89" y="223"/>
                      <a:pt x="86" y="219"/>
                    </a:cubicBezTo>
                    <a:cubicBezTo>
                      <a:pt x="83" y="215"/>
                      <a:pt x="80" y="205"/>
                      <a:pt x="74" y="202"/>
                    </a:cubicBezTo>
                    <a:cubicBezTo>
                      <a:pt x="69" y="200"/>
                      <a:pt x="68" y="198"/>
                      <a:pt x="68" y="193"/>
                    </a:cubicBezTo>
                    <a:cubicBezTo>
                      <a:pt x="68" y="188"/>
                      <a:pt x="62" y="183"/>
                      <a:pt x="62" y="177"/>
                    </a:cubicBezTo>
                    <a:cubicBezTo>
                      <a:pt x="62" y="171"/>
                      <a:pt x="61" y="166"/>
                      <a:pt x="57" y="163"/>
                    </a:cubicBezTo>
                    <a:cubicBezTo>
                      <a:pt x="54" y="160"/>
                      <a:pt x="50" y="156"/>
                      <a:pt x="50" y="148"/>
                    </a:cubicBezTo>
                    <a:cubicBezTo>
                      <a:pt x="50" y="141"/>
                      <a:pt x="55" y="142"/>
                      <a:pt x="55" y="137"/>
                    </a:cubicBezTo>
                    <a:cubicBezTo>
                      <a:pt x="55" y="132"/>
                      <a:pt x="50" y="127"/>
                      <a:pt x="49" y="120"/>
                    </a:cubicBezTo>
                    <a:cubicBezTo>
                      <a:pt x="48" y="113"/>
                      <a:pt x="43" y="105"/>
                      <a:pt x="43" y="100"/>
                    </a:cubicBezTo>
                    <a:cubicBezTo>
                      <a:pt x="43" y="89"/>
                      <a:pt x="37" y="88"/>
                      <a:pt x="35" y="82"/>
                    </a:cubicBezTo>
                    <a:cubicBezTo>
                      <a:pt x="33" y="75"/>
                      <a:pt x="31" y="70"/>
                      <a:pt x="27" y="68"/>
                    </a:cubicBezTo>
                    <a:cubicBezTo>
                      <a:pt x="22" y="65"/>
                      <a:pt x="19" y="65"/>
                      <a:pt x="15" y="61"/>
                    </a:cubicBezTo>
                    <a:cubicBezTo>
                      <a:pt x="11" y="57"/>
                      <a:pt x="9" y="55"/>
                      <a:pt x="5" y="50"/>
                    </a:cubicBezTo>
                    <a:cubicBezTo>
                      <a:pt x="2" y="45"/>
                      <a:pt x="0" y="39"/>
                      <a:pt x="0" y="39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61" name="Freeform 36"/>
              <p:cNvSpPr>
                <a:spLocks/>
              </p:cNvSpPr>
              <p:nvPr/>
            </p:nvSpPr>
            <p:spPr bwMode="auto">
              <a:xfrm>
                <a:off x="1431" y="2705"/>
                <a:ext cx="611" cy="831"/>
              </a:xfrm>
              <a:custGeom>
                <a:avLst/>
                <a:gdLst>
                  <a:gd name="T0" fmla="*/ 92 w 258"/>
                  <a:gd name="T1" fmla="*/ 350 h 351"/>
                  <a:gd name="T2" fmla="*/ 85 w 258"/>
                  <a:gd name="T3" fmla="*/ 340 h 351"/>
                  <a:gd name="T4" fmla="*/ 72 w 258"/>
                  <a:gd name="T5" fmla="*/ 316 h 351"/>
                  <a:gd name="T6" fmla="*/ 72 w 258"/>
                  <a:gd name="T7" fmla="*/ 306 h 351"/>
                  <a:gd name="T8" fmla="*/ 61 w 258"/>
                  <a:gd name="T9" fmla="*/ 280 h 351"/>
                  <a:gd name="T10" fmla="*/ 54 w 258"/>
                  <a:gd name="T11" fmla="*/ 277 h 351"/>
                  <a:gd name="T12" fmla="*/ 33 w 258"/>
                  <a:gd name="T13" fmla="*/ 268 h 351"/>
                  <a:gd name="T14" fmla="*/ 35 w 258"/>
                  <a:gd name="T15" fmla="*/ 240 h 351"/>
                  <a:gd name="T16" fmla="*/ 43 w 258"/>
                  <a:gd name="T17" fmla="*/ 242 h 351"/>
                  <a:gd name="T18" fmla="*/ 64 w 258"/>
                  <a:gd name="T19" fmla="*/ 235 h 351"/>
                  <a:gd name="T20" fmla="*/ 62 w 258"/>
                  <a:gd name="T21" fmla="*/ 216 h 351"/>
                  <a:gd name="T22" fmla="*/ 67 w 258"/>
                  <a:gd name="T23" fmla="*/ 197 h 351"/>
                  <a:gd name="T24" fmla="*/ 70 w 258"/>
                  <a:gd name="T25" fmla="*/ 186 h 351"/>
                  <a:gd name="T26" fmla="*/ 51 w 258"/>
                  <a:gd name="T27" fmla="*/ 175 h 351"/>
                  <a:gd name="T28" fmla="*/ 9 w 258"/>
                  <a:gd name="T29" fmla="*/ 172 h 351"/>
                  <a:gd name="T30" fmla="*/ 0 w 258"/>
                  <a:gd name="T31" fmla="*/ 170 h 351"/>
                  <a:gd name="T32" fmla="*/ 6 w 258"/>
                  <a:gd name="T33" fmla="*/ 146 h 351"/>
                  <a:gd name="T34" fmla="*/ 14 w 258"/>
                  <a:gd name="T35" fmla="*/ 123 h 351"/>
                  <a:gd name="T36" fmla="*/ 31 w 258"/>
                  <a:gd name="T37" fmla="*/ 94 h 351"/>
                  <a:gd name="T38" fmla="*/ 41 w 258"/>
                  <a:gd name="T39" fmla="*/ 65 h 351"/>
                  <a:gd name="T40" fmla="*/ 59 w 258"/>
                  <a:gd name="T41" fmla="*/ 39 h 351"/>
                  <a:gd name="T42" fmla="*/ 65 w 258"/>
                  <a:gd name="T43" fmla="*/ 33 h 351"/>
                  <a:gd name="T44" fmla="*/ 75 w 258"/>
                  <a:gd name="T45" fmla="*/ 14 h 351"/>
                  <a:gd name="T46" fmla="*/ 92 w 258"/>
                  <a:gd name="T47" fmla="*/ 0 h 351"/>
                  <a:gd name="T48" fmla="*/ 125 w 258"/>
                  <a:gd name="T49" fmla="*/ 26 h 351"/>
                  <a:gd name="T50" fmla="*/ 125 w 258"/>
                  <a:gd name="T51" fmla="*/ 49 h 351"/>
                  <a:gd name="T52" fmla="*/ 117 w 258"/>
                  <a:gd name="T53" fmla="*/ 69 h 351"/>
                  <a:gd name="T54" fmla="*/ 116 w 258"/>
                  <a:gd name="T55" fmla="*/ 81 h 351"/>
                  <a:gd name="T56" fmla="*/ 107 w 258"/>
                  <a:gd name="T57" fmla="*/ 99 h 351"/>
                  <a:gd name="T58" fmla="*/ 124 w 258"/>
                  <a:gd name="T59" fmla="*/ 108 h 351"/>
                  <a:gd name="T60" fmla="*/ 138 w 258"/>
                  <a:gd name="T61" fmla="*/ 95 h 351"/>
                  <a:gd name="T62" fmla="*/ 140 w 258"/>
                  <a:gd name="T63" fmla="*/ 82 h 351"/>
                  <a:gd name="T64" fmla="*/ 152 w 258"/>
                  <a:gd name="T65" fmla="*/ 77 h 351"/>
                  <a:gd name="T66" fmla="*/ 155 w 258"/>
                  <a:gd name="T67" fmla="*/ 78 h 351"/>
                  <a:gd name="T68" fmla="*/ 173 w 258"/>
                  <a:gd name="T69" fmla="*/ 72 h 351"/>
                  <a:gd name="T70" fmla="*/ 180 w 258"/>
                  <a:gd name="T71" fmla="*/ 88 h 351"/>
                  <a:gd name="T72" fmla="*/ 177 w 258"/>
                  <a:gd name="T73" fmla="*/ 129 h 351"/>
                  <a:gd name="T74" fmla="*/ 184 w 258"/>
                  <a:gd name="T75" fmla="*/ 141 h 351"/>
                  <a:gd name="T76" fmla="*/ 207 w 258"/>
                  <a:gd name="T77" fmla="*/ 168 h 351"/>
                  <a:gd name="T78" fmla="*/ 222 w 258"/>
                  <a:gd name="T79" fmla="*/ 189 h 351"/>
                  <a:gd name="T80" fmla="*/ 233 w 258"/>
                  <a:gd name="T81" fmla="*/ 222 h 351"/>
                  <a:gd name="T82" fmla="*/ 236 w 258"/>
                  <a:gd name="T83" fmla="*/ 244 h 351"/>
                  <a:gd name="T84" fmla="*/ 246 w 258"/>
                  <a:gd name="T85" fmla="*/ 279 h 351"/>
                  <a:gd name="T86" fmla="*/ 258 w 258"/>
                  <a:gd name="T87" fmla="*/ 303 h 351"/>
                  <a:gd name="T88" fmla="*/ 222 w 258"/>
                  <a:gd name="T89" fmla="*/ 300 h 351"/>
                  <a:gd name="T90" fmla="*/ 187 w 258"/>
                  <a:gd name="T91" fmla="*/ 298 h 351"/>
                  <a:gd name="T92" fmla="*/ 162 w 258"/>
                  <a:gd name="T93" fmla="*/ 329 h 351"/>
                  <a:gd name="T94" fmla="*/ 123 w 258"/>
                  <a:gd name="T95" fmla="*/ 341 h 351"/>
                  <a:gd name="T96" fmla="*/ 106 w 258"/>
                  <a:gd name="T97" fmla="*/ 350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58" h="351">
                    <a:moveTo>
                      <a:pt x="98" y="351"/>
                    </a:moveTo>
                    <a:cubicBezTo>
                      <a:pt x="96" y="351"/>
                      <a:pt x="95" y="351"/>
                      <a:pt x="94" y="350"/>
                    </a:cubicBezTo>
                    <a:cubicBezTo>
                      <a:pt x="94" y="350"/>
                      <a:pt x="93" y="350"/>
                      <a:pt x="92" y="350"/>
                    </a:cubicBezTo>
                    <a:cubicBezTo>
                      <a:pt x="87" y="350"/>
                      <a:pt x="84" y="347"/>
                      <a:pt x="84" y="345"/>
                    </a:cubicBezTo>
                    <a:cubicBezTo>
                      <a:pt x="84" y="343"/>
                      <a:pt x="84" y="342"/>
                      <a:pt x="85" y="341"/>
                    </a:cubicBezTo>
                    <a:cubicBezTo>
                      <a:pt x="85" y="341"/>
                      <a:pt x="85" y="341"/>
                      <a:pt x="85" y="340"/>
                    </a:cubicBezTo>
                    <a:cubicBezTo>
                      <a:pt x="85" y="338"/>
                      <a:pt x="84" y="338"/>
                      <a:pt x="79" y="335"/>
                    </a:cubicBezTo>
                    <a:cubicBezTo>
                      <a:pt x="78" y="334"/>
                      <a:pt x="78" y="334"/>
                      <a:pt x="77" y="334"/>
                    </a:cubicBezTo>
                    <a:cubicBezTo>
                      <a:pt x="71" y="330"/>
                      <a:pt x="72" y="323"/>
                      <a:pt x="72" y="316"/>
                    </a:cubicBezTo>
                    <a:cubicBezTo>
                      <a:pt x="72" y="316"/>
                      <a:pt x="72" y="316"/>
                      <a:pt x="72" y="316"/>
                    </a:cubicBezTo>
                    <a:cubicBezTo>
                      <a:pt x="72" y="314"/>
                      <a:pt x="72" y="313"/>
                      <a:pt x="72" y="311"/>
                    </a:cubicBezTo>
                    <a:cubicBezTo>
                      <a:pt x="72" y="309"/>
                      <a:pt x="72" y="307"/>
                      <a:pt x="72" y="306"/>
                    </a:cubicBezTo>
                    <a:cubicBezTo>
                      <a:pt x="73" y="300"/>
                      <a:pt x="73" y="298"/>
                      <a:pt x="70" y="297"/>
                    </a:cubicBezTo>
                    <a:cubicBezTo>
                      <a:pt x="61" y="293"/>
                      <a:pt x="61" y="285"/>
                      <a:pt x="61" y="280"/>
                    </a:cubicBezTo>
                    <a:cubicBezTo>
                      <a:pt x="61" y="280"/>
                      <a:pt x="61" y="280"/>
                      <a:pt x="61" y="280"/>
                    </a:cubicBezTo>
                    <a:cubicBezTo>
                      <a:pt x="61" y="277"/>
                      <a:pt x="60" y="277"/>
                      <a:pt x="58" y="277"/>
                    </a:cubicBezTo>
                    <a:cubicBezTo>
                      <a:pt x="57" y="277"/>
                      <a:pt x="57" y="277"/>
                      <a:pt x="56" y="277"/>
                    </a:cubicBezTo>
                    <a:cubicBezTo>
                      <a:pt x="55" y="277"/>
                      <a:pt x="55" y="277"/>
                      <a:pt x="54" y="277"/>
                    </a:cubicBezTo>
                    <a:cubicBezTo>
                      <a:pt x="50" y="277"/>
                      <a:pt x="46" y="275"/>
                      <a:pt x="42" y="270"/>
                    </a:cubicBezTo>
                    <a:cubicBezTo>
                      <a:pt x="40" y="268"/>
                      <a:pt x="38" y="268"/>
                      <a:pt x="36" y="268"/>
                    </a:cubicBezTo>
                    <a:cubicBezTo>
                      <a:pt x="35" y="268"/>
                      <a:pt x="34" y="268"/>
                      <a:pt x="33" y="268"/>
                    </a:cubicBezTo>
                    <a:cubicBezTo>
                      <a:pt x="32" y="268"/>
                      <a:pt x="30" y="268"/>
                      <a:pt x="29" y="268"/>
                    </a:cubicBezTo>
                    <a:cubicBezTo>
                      <a:pt x="22" y="268"/>
                      <a:pt x="21" y="265"/>
                      <a:pt x="21" y="259"/>
                    </a:cubicBezTo>
                    <a:cubicBezTo>
                      <a:pt x="21" y="248"/>
                      <a:pt x="31" y="240"/>
                      <a:pt x="35" y="240"/>
                    </a:cubicBezTo>
                    <a:cubicBezTo>
                      <a:pt x="37" y="240"/>
                      <a:pt x="38" y="242"/>
                      <a:pt x="39" y="244"/>
                    </a:cubicBezTo>
                    <a:cubicBezTo>
                      <a:pt x="40" y="244"/>
                      <a:pt x="40" y="245"/>
                      <a:pt x="40" y="246"/>
                    </a:cubicBezTo>
                    <a:cubicBezTo>
                      <a:pt x="41" y="246"/>
                      <a:pt x="42" y="245"/>
                      <a:pt x="43" y="242"/>
                    </a:cubicBezTo>
                    <a:cubicBezTo>
                      <a:pt x="43" y="242"/>
                      <a:pt x="43" y="242"/>
                      <a:pt x="43" y="242"/>
                    </a:cubicBezTo>
                    <a:cubicBezTo>
                      <a:pt x="45" y="239"/>
                      <a:pt x="47" y="235"/>
                      <a:pt x="53" y="235"/>
                    </a:cubicBezTo>
                    <a:cubicBezTo>
                      <a:pt x="64" y="235"/>
                      <a:pt x="64" y="235"/>
                      <a:pt x="64" y="235"/>
                    </a:cubicBezTo>
                    <a:cubicBezTo>
                      <a:pt x="64" y="233"/>
                      <a:pt x="64" y="233"/>
                      <a:pt x="64" y="233"/>
                    </a:cubicBezTo>
                    <a:cubicBezTo>
                      <a:pt x="64" y="231"/>
                      <a:pt x="64" y="229"/>
                      <a:pt x="63" y="226"/>
                    </a:cubicBezTo>
                    <a:cubicBezTo>
                      <a:pt x="63" y="223"/>
                      <a:pt x="62" y="219"/>
                      <a:pt x="62" y="216"/>
                    </a:cubicBezTo>
                    <a:cubicBezTo>
                      <a:pt x="62" y="213"/>
                      <a:pt x="63" y="210"/>
                      <a:pt x="64" y="209"/>
                    </a:cubicBezTo>
                    <a:cubicBezTo>
                      <a:pt x="64" y="207"/>
                      <a:pt x="65" y="206"/>
                      <a:pt x="65" y="205"/>
                    </a:cubicBezTo>
                    <a:cubicBezTo>
                      <a:pt x="65" y="202"/>
                      <a:pt x="66" y="200"/>
                      <a:pt x="67" y="197"/>
                    </a:cubicBezTo>
                    <a:cubicBezTo>
                      <a:pt x="68" y="197"/>
                      <a:pt x="68" y="196"/>
                      <a:pt x="69" y="195"/>
                    </a:cubicBezTo>
                    <a:cubicBezTo>
                      <a:pt x="70" y="192"/>
                      <a:pt x="70" y="189"/>
                      <a:pt x="70" y="188"/>
                    </a:cubicBezTo>
                    <a:cubicBezTo>
                      <a:pt x="70" y="187"/>
                      <a:pt x="70" y="187"/>
                      <a:pt x="70" y="186"/>
                    </a:cubicBezTo>
                    <a:cubicBezTo>
                      <a:pt x="70" y="186"/>
                      <a:pt x="70" y="185"/>
                      <a:pt x="66" y="185"/>
                    </a:cubicBezTo>
                    <a:cubicBezTo>
                      <a:pt x="61" y="185"/>
                      <a:pt x="58" y="181"/>
                      <a:pt x="56" y="179"/>
                    </a:cubicBezTo>
                    <a:cubicBezTo>
                      <a:pt x="54" y="177"/>
                      <a:pt x="53" y="175"/>
                      <a:pt x="51" y="175"/>
                    </a:cubicBezTo>
                    <a:cubicBezTo>
                      <a:pt x="49" y="175"/>
                      <a:pt x="47" y="175"/>
                      <a:pt x="45" y="176"/>
                    </a:cubicBezTo>
                    <a:cubicBezTo>
                      <a:pt x="41" y="177"/>
                      <a:pt x="36" y="178"/>
                      <a:pt x="30" y="178"/>
                    </a:cubicBezTo>
                    <a:cubicBezTo>
                      <a:pt x="18" y="178"/>
                      <a:pt x="14" y="175"/>
                      <a:pt x="9" y="172"/>
                    </a:cubicBezTo>
                    <a:cubicBezTo>
                      <a:pt x="7" y="170"/>
                      <a:pt x="4" y="169"/>
                      <a:pt x="3" y="169"/>
                    </a:cubicBezTo>
                    <a:cubicBezTo>
                      <a:pt x="2" y="169"/>
                      <a:pt x="1" y="169"/>
                      <a:pt x="1" y="169"/>
                    </a:cubicBezTo>
                    <a:cubicBezTo>
                      <a:pt x="0" y="170"/>
                      <a:pt x="0" y="170"/>
                      <a:pt x="0" y="170"/>
                    </a:cubicBezTo>
                    <a:cubicBezTo>
                      <a:pt x="0" y="168"/>
                      <a:pt x="0" y="168"/>
                      <a:pt x="0" y="168"/>
                    </a:cubicBezTo>
                    <a:cubicBezTo>
                      <a:pt x="0" y="159"/>
                      <a:pt x="0" y="159"/>
                      <a:pt x="0" y="159"/>
                    </a:cubicBezTo>
                    <a:cubicBezTo>
                      <a:pt x="0" y="156"/>
                      <a:pt x="3" y="151"/>
                      <a:pt x="6" y="146"/>
                    </a:cubicBezTo>
                    <a:cubicBezTo>
                      <a:pt x="9" y="142"/>
                      <a:pt x="12" y="138"/>
                      <a:pt x="12" y="136"/>
                    </a:cubicBezTo>
                    <a:cubicBezTo>
                      <a:pt x="12" y="132"/>
                      <a:pt x="12" y="130"/>
                      <a:pt x="13" y="128"/>
                    </a:cubicBezTo>
                    <a:cubicBezTo>
                      <a:pt x="13" y="126"/>
                      <a:pt x="14" y="125"/>
                      <a:pt x="14" y="123"/>
                    </a:cubicBezTo>
                    <a:cubicBezTo>
                      <a:pt x="14" y="118"/>
                      <a:pt x="15" y="115"/>
                      <a:pt x="16" y="112"/>
                    </a:cubicBezTo>
                    <a:cubicBezTo>
                      <a:pt x="17" y="109"/>
                      <a:pt x="19" y="107"/>
                      <a:pt x="19" y="102"/>
                    </a:cubicBezTo>
                    <a:cubicBezTo>
                      <a:pt x="19" y="95"/>
                      <a:pt x="25" y="94"/>
                      <a:pt x="31" y="94"/>
                    </a:cubicBezTo>
                    <a:cubicBezTo>
                      <a:pt x="37" y="94"/>
                      <a:pt x="43" y="86"/>
                      <a:pt x="43" y="79"/>
                    </a:cubicBezTo>
                    <a:cubicBezTo>
                      <a:pt x="43" y="76"/>
                      <a:pt x="43" y="74"/>
                      <a:pt x="42" y="72"/>
                    </a:cubicBezTo>
                    <a:cubicBezTo>
                      <a:pt x="41" y="70"/>
                      <a:pt x="41" y="68"/>
                      <a:pt x="41" y="65"/>
                    </a:cubicBezTo>
                    <a:cubicBezTo>
                      <a:pt x="41" y="62"/>
                      <a:pt x="43" y="61"/>
                      <a:pt x="45" y="60"/>
                    </a:cubicBezTo>
                    <a:cubicBezTo>
                      <a:pt x="47" y="59"/>
                      <a:pt x="49" y="58"/>
                      <a:pt x="49" y="55"/>
                    </a:cubicBezTo>
                    <a:cubicBezTo>
                      <a:pt x="49" y="45"/>
                      <a:pt x="55" y="41"/>
                      <a:pt x="59" y="39"/>
                    </a:cubicBezTo>
                    <a:cubicBezTo>
                      <a:pt x="59" y="38"/>
                      <a:pt x="60" y="38"/>
                      <a:pt x="60" y="38"/>
                    </a:cubicBezTo>
                    <a:cubicBezTo>
                      <a:pt x="60" y="36"/>
                      <a:pt x="62" y="35"/>
                      <a:pt x="63" y="34"/>
                    </a:cubicBezTo>
                    <a:cubicBezTo>
                      <a:pt x="64" y="34"/>
                      <a:pt x="65" y="34"/>
                      <a:pt x="65" y="33"/>
                    </a:cubicBezTo>
                    <a:cubicBezTo>
                      <a:pt x="67" y="32"/>
                      <a:pt x="69" y="29"/>
                      <a:pt x="69" y="25"/>
                    </a:cubicBezTo>
                    <a:cubicBezTo>
                      <a:pt x="69" y="23"/>
                      <a:pt x="71" y="21"/>
                      <a:pt x="72" y="19"/>
                    </a:cubicBezTo>
                    <a:cubicBezTo>
                      <a:pt x="73" y="17"/>
                      <a:pt x="75" y="16"/>
                      <a:pt x="75" y="14"/>
                    </a:cubicBezTo>
                    <a:cubicBezTo>
                      <a:pt x="75" y="9"/>
                      <a:pt x="82" y="2"/>
                      <a:pt x="86" y="2"/>
                    </a:cubicBezTo>
                    <a:cubicBezTo>
                      <a:pt x="89" y="2"/>
                      <a:pt x="91" y="1"/>
                      <a:pt x="91" y="1"/>
                    </a:cubicBezTo>
                    <a:cubicBezTo>
                      <a:pt x="92" y="0"/>
                      <a:pt x="92" y="0"/>
                      <a:pt x="92" y="0"/>
                    </a:cubicBezTo>
                    <a:cubicBezTo>
                      <a:pt x="92" y="1"/>
                      <a:pt x="92" y="1"/>
                      <a:pt x="92" y="1"/>
                    </a:cubicBezTo>
                    <a:cubicBezTo>
                      <a:pt x="103" y="14"/>
                      <a:pt x="105" y="15"/>
                      <a:pt x="112" y="17"/>
                    </a:cubicBezTo>
                    <a:cubicBezTo>
                      <a:pt x="119" y="20"/>
                      <a:pt x="125" y="22"/>
                      <a:pt x="125" y="26"/>
                    </a:cubicBezTo>
                    <a:cubicBezTo>
                      <a:pt x="125" y="28"/>
                      <a:pt x="126" y="29"/>
                      <a:pt x="127" y="30"/>
                    </a:cubicBezTo>
                    <a:cubicBezTo>
                      <a:pt x="128" y="31"/>
                      <a:pt x="129" y="33"/>
                      <a:pt x="129" y="36"/>
                    </a:cubicBezTo>
                    <a:cubicBezTo>
                      <a:pt x="129" y="40"/>
                      <a:pt x="128" y="45"/>
                      <a:pt x="125" y="49"/>
                    </a:cubicBezTo>
                    <a:cubicBezTo>
                      <a:pt x="123" y="52"/>
                      <a:pt x="123" y="57"/>
                      <a:pt x="123" y="61"/>
                    </a:cubicBezTo>
                    <a:cubicBezTo>
                      <a:pt x="123" y="62"/>
                      <a:pt x="123" y="62"/>
                      <a:pt x="123" y="62"/>
                    </a:cubicBezTo>
                    <a:cubicBezTo>
                      <a:pt x="123" y="65"/>
                      <a:pt x="120" y="67"/>
                      <a:pt x="117" y="69"/>
                    </a:cubicBezTo>
                    <a:cubicBezTo>
                      <a:pt x="115" y="70"/>
                      <a:pt x="113" y="72"/>
                      <a:pt x="113" y="73"/>
                    </a:cubicBezTo>
                    <a:cubicBezTo>
                      <a:pt x="113" y="76"/>
                      <a:pt x="114" y="77"/>
                      <a:pt x="115" y="78"/>
                    </a:cubicBezTo>
                    <a:cubicBezTo>
                      <a:pt x="115" y="79"/>
                      <a:pt x="116" y="80"/>
                      <a:pt x="116" y="81"/>
                    </a:cubicBezTo>
                    <a:cubicBezTo>
                      <a:pt x="116" y="83"/>
                      <a:pt x="113" y="83"/>
                      <a:pt x="110" y="85"/>
                    </a:cubicBezTo>
                    <a:cubicBezTo>
                      <a:pt x="108" y="86"/>
                      <a:pt x="104" y="87"/>
                      <a:pt x="104" y="89"/>
                    </a:cubicBezTo>
                    <a:cubicBezTo>
                      <a:pt x="104" y="94"/>
                      <a:pt x="104" y="99"/>
                      <a:pt x="107" y="99"/>
                    </a:cubicBezTo>
                    <a:cubicBezTo>
                      <a:pt x="111" y="99"/>
                      <a:pt x="116" y="102"/>
                      <a:pt x="116" y="107"/>
                    </a:cubicBezTo>
                    <a:cubicBezTo>
                      <a:pt x="116" y="110"/>
                      <a:pt x="118" y="111"/>
                      <a:pt x="120" y="111"/>
                    </a:cubicBezTo>
                    <a:cubicBezTo>
                      <a:pt x="121" y="111"/>
                      <a:pt x="124" y="111"/>
                      <a:pt x="124" y="108"/>
                    </a:cubicBezTo>
                    <a:cubicBezTo>
                      <a:pt x="124" y="104"/>
                      <a:pt x="124" y="100"/>
                      <a:pt x="129" y="100"/>
                    </a:cubicBezTo>
                    <a:cubicBezTo>
                      <a:pt x="132" y="100"/>
                      <a:pt x="134" y="99"/>
                      <a:pt x="137" y="96"/>
                    </a:cubicBezTo>
                    <a:cubicBezTo>
                      <a:pt x="137" y="96"/>
                      <a:pt x="138" y="95"/>
                      <a:pt x="138" y="95"/>
                    </a:cubicBezTo>
                    <a:cubicBezTo>
                      <a:pt x="140" y="92"/>
                      <a:pt x="142" y="90"/>
                      <a:pt x="142" y="88"/>
                    </a:cubicBezTo>
                    <a:cubicBezTo>
                      <a:pt x="142" y="87"/>
                      <a:pt x="142" y="86"/>
                      <a:pt x="141" y="85"/>
                    </a:cubicBezTo>
                    <a:cubicBezTo>
                      <a:pt x="141" y="84"/>
                      <a:pt x="140" y="83"/>
                      <a:pt x="140" y="82"/>
                    </a:cubicBezTo>
                    <a:cubicBezTo>
                      <a:pt x="140" y="78"/>
                      <a:pt x="146" y="77"/>
                      <a:pt x="147" y="77"/>
                    </a:cubicBezTo>
                    <a:cubicBezTo>
                      <a:pt x="147" y="76"/>
                      <a:pt x="148" y="76"/>
                      <a:pt x="149" y="76"/>
                    </a:cubicBezTo>
                    <a:cubicBezTo>
                      <a:pt x="150" y="76"/>
                      <a:pt x="151" y="77"/>
                      <a:pt x="152" y="77"/>
                    </a:cubicBezTo>
                    <a:cubicBezTo>
                      <a:pt x="153" y="77"/>
                      <a:pt x="153" y="77"/>
                      <a:pt x="153" y="77"/>
                    </a:cubicBezTo>
                    <a:cubicBezTo>
                      <a:pt x="153" y="78"/>
                      <a:pt x="154" y="78"/>
                      <a:pt x="155" y="78"/>
                    </a:cubicBezTo>
                    <a:cubicBezTo>
                      <a:pt x="155" y="78"/>
                      <a:pt x="155" y="78"/>
                      <a:pt x="155" y="78"/>
                    </a:cubicBezTo>
                    <a:cubicBezTo>
                      <a:pt x="160" y="75"/>
                      <a:pt x="164" y="74"/>
                      <a:pt x="169" y="74"/>
                    </a:cubicBezTo>
                    <a:cubicBezTo>
                      <a:pt x="170" y="74"/>
                      <a:pt x="171" y="74"/>
                      <a:pt x="171" y="73"/>
                    </a:cubicBezTo>
                    <a:cubicBezTo>
                      <a:pt x="173" y="72"/>
                      <a:pt x="173" y="72"/>
                      <a:pt x="173" y="72"/>
                    </a:cubicBezTo>
                    <a:cubicBezTo>
                      <a:pt x="173" y="74"/>
                      <a:pt x="173" y="74"/>
                      <a:pt x="173" y="74"/>
                    </a:cubicBezTo>
                    <a:cubicBezTo>
                      <a:pt x="173" y="77"/>
                      <a:pt x="175" y="79"/>
                      <a:pt x="176" y="80"/>
                    </a:cubicBezTo>
                    <a:cubicBezTo>
                      <a:pt x="178" y="82"/>
                      <a:pt x="180" y="84"/>
                      <a:pt x="180" y="88"/>
                    </a:cubicBezTo>
                    <a:cubicBezTo>
                      <a:pt x="180" y="91"/>
                      <a:pt x="179" y="93"/>
                      <a:pt x="177" y="95"/>
                    </a:cubicBezTo>
                    <a:cubicBezTo>
                      <a:pt x="175" y="98"/>
                      <a:pt x="173" y="102"/>
                      <a:pt x="173" y="111"/>
                    </a:cubicBezTo>
                    <a:cubicBezTo>
                      <a:pt x="173" y="115"/>
                      <a:pt x="174" y="122"/>
                      <a:pt x="177" y="129"/>
                    </a:cubicBezTo>
                    <a:cubicBezTo>
                      <a:pt x="180" y="137"/>
                      <a:pt x="182" y="140"/>
                      <a:pt x="183" y="140"/>
                    </a:cubicBezTo>
                    <a:cubicBezTo>
                      <a:pt x="183" y="140"/>
                      <a:pt x="183" y="140"/>
                      <a:pt x="183" y="140"/>
                    </a:cubicBezTo>
                    <a:cubicBezTo>
                      <a:pt x="184" y="141"/>
                      <a:pt x="184" y="141"/>
                      <a:pt x="184" y="141"/>
                    </a:cubicBezTo>
                    <a:cubicBezTo>
                      <a:pt x="184" y="141"/>
                      <a:pt x="186" y="147"/>
                      <a:pt x="189" y="152"/>
                    </a:cubicBezTo>
                    <a:cubicBezTo>
                      <a:pt x="193" y="157"/>
                      <a:pt x="194" y="159"/>
                      <a:pt x="199" y="162"/>
                    </a:cubicBezTo>
                    <a:cubicBezTo>
                      <a:pt x="202" y="165"/>
                      <a:pt x="204" y="166"/>
                      <a:pt x="207" y="168"/>
                    </a:cubicBezTo>
                    <a:cubicBezTo>
                      <a:pt x="208" y="168"/>
                      <a:pt x="209" y="168"/>
                      <a:pt x="210" y="169"/>
                    </a:cubicBezTo>
                    <a:cubicBezTo>
                      <a:pt x="215" y="171"/>
                      <a:pt x="217" y="177"/>
                      <a:pt x="219" y="183"/>
                    </a:cubicBezTo>
                    <a:cubicBezTo>
                      <a:pt x="220" y="186"/>
                      <a:pt x="221" y="187"/>
                      <a:pt x="222" y="189"/>
                    </a:cubicBezTo>
                    <a:cubicBezTo>
                      <a:pt x="225" y="191"/>
                      <a:pt x="227" y="195"/>
                      <a:pt x="227" y="202"/>
                    </a:cubicBezTo>
                    <a:cubicBezTo>
                      <a:pt x="227" y="204"/>
                      <a:pt x="228" y="208"/>
                      <a:pt x="230" y="211"/>
                    </a:cubicBezTo>
                    <a:cubicBezTo>
                      <a:pt x="231" y="215"/>
                      <a:pt x="233" y="219"/>
                      <a:pt x="233" y="222"/>
                    </a:cubicBezTo>
                    <a:cubicBezTo>
                      <a:pt x="234" y="225"/>
                      <a:pt x="235" y="228"/>
                      <a:pt x="236" y="231"/>
                    </a:cubicBezTo>
                    <a:cubicBezTo>
                      <a:pt x="238" y="234"/>
                      <a:pt x="239" y="236"/>
                      <a:pt x="239" y="239"/>
                    </a:cubicBezTo>
                    <a:cubicBezTo>
                      <a:pt x="239" y="242"/>
                      <a:pt x="238" y="243"/>
                      <a:pt x="236" y="244"/>
                    </a:cubicBezTo>
                    <a:cubicBezTo>
                      <a:pt x="235" y="246"/>
                      <a:pt x="234" y="247"/>
                      <a:pt x="234" y="250"/>
                    </a:cubicBezTo>
                    <a:cubicBezTo>
                      <a:pt x="234" y="257"/>
                      <a:pt x="238" y="261"/>
                      <a:pt x="241" y="264"/>
                    </a:cubicBezTo>
                    <a:cubicBezTo>
                      <a:pt x="245" y="268"/>
                      <a:pt x="246" y="274"/>
                      <a:pt x="246" y="279"/>
                    </a:cubicBezTo>
                    <a:cubicBezTo>
                      <a:pt x="246" y="282"/>
                      <a:pt x="247" y="285"/>
                      <a:pt x="249" y="287"/>
                    </a:cubicBezTo>
                    <a:cubicBezTo>
                      <a:pt x="250" y="290"/>
                      <a:pt x="252" y="292"/>
                      <a:pt x="252" y="295"/>
                    </a:cubicBezTo>
                    <a:cubicBezTo>
                      <a:pt x="252" y="300"/>
                      <a:pt x="252" y="301"/>
                      <a:pt x="258" y="303"/>
                    </a:cubicBezTo>
                    <a:cubicBezTo>
                      <a:pt x="257" y="305"/>
                      <a:pt x="257" y="305"/>
                      <a:pt x="257" y="305"/>
                    </a:cubicBezTo>
                    <a:cubicBezTo>
                      <a:pt x="257" y="305"/>
                      <a:pt x="252" y="304"/>
                      <a:pt x="246" y="303"/>
                    </a:cubicBezTo>
                    <a:cubicBezTo>
                      <a:pt x="238" y="301"/>
                      <a:pt x="230" y="300"/>
                      <a:pt x="222" y="300"/>
                    </a:cubicBezTo>
                    <a:cubicBezTo>
                      <a:pt x="220" y="300"/>
                      <a:pt x="219" y="299"/>
                      <a:pt x="218" y="299"/>
                    </a:cubicBezTo>
                    <a:cubicBezTo>
                      <a:pt x="216" y="298"/>
                      <a:pt x="214" y="297"/>
                      <a:pt x="202" y="297"/>
                    </a:cubicBezTo>
                    <a:cubicBezTo>
                      <a:pt x="197" y="297"/>
                      <a:pt x="192" y="298"/>
                      <a:pt x="187" y="298"/>
                    </a:cubicBezTo>
                    <a:cubicBezTo>
                      <a:pt x="182" y="299"/>
                      <a:pt x="176" y="300"/>
                      <a:pt x="169" y="300"/>
                    </a:cubicBezTo>
                    <a:cubicBezTo>
                      <a:pt x="157" y="300"/>
                      <a:pt x="155" y="310"/>
                      <a:pt x="155" y="315"/>
                    </a:cubicBezTo>
                    <a:cubicBezTo>
                      <a:pt x="155" y="323"/>
                      <a:pt x="159" y="326"/>
                      <a:pt x="162" y="329"/>
                    </a:cubicBezTo>
                    <a:cubicBezTo>
                      <a:pt x="165" y="331"/>
                      <a:pt x="168" y="334"/>
                      <a:pt x="168" y="338"/>
                    </a:cubicBezTo>
                    <a:cubicBezTo>
                      <a:pt x="168" y="346"/>
                      <a:pt x="159" y="346"/>
                      <a:pt x="153" y="346"/>
                    </a:cubicBezTo>
                    <a:cubicBezTo>
                      <a:pt x="138" y="346"/>
                      <a:pt x="129" y="343"/>
                      <a:pt x="123" y="341"/>
                    </a:cubicBezTo>
                    <a:cubicBezTo>
                      <a:pt x="120" y="340"/>
                      <a:pt x="118" y="339"/>
                      <a:pt x="116" y="339"/>
                    </a:cubicBezTo>
                    <a:cubicBezTo>
                      <a:pt x="114" y="339"/>
                      <a:pt x="111" y="339"/>
                      <a:pt x="111" y="344"/>
                    </a:cubicBezTo>
                    <a:cubicBezTo>
                      <a:pt x="111" y="346"/>
                      <a:pt x="110" y="348"/>
                      <a:pt x="106" y="350"/>
                    </a:cubicBezTo>
                    <a:cubicBezTo>
                      <a:pt x="104" y="350"/>
                      <a:pt x="100" y="351"/>
                      <a:pt x="98" y="351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62" name="Freeform 37"/>
              <p:cNvSpPr>
                <a:spLocks/>
              </p:cNvSpPr>
              <p:nvPr/>
            </p:nvSpPr>
            <p:spPr bwMode="auto">
              <a:xfrm>
                <a:off x="680" y="2719"/>
                <a:ext cx="860" cy="512"/>
              </a:xfrm>
              <a:custGeom>
                <a:avLst/>
                <a:gdLst>
                  <a:gd name="T0" fmla="*/ 5 w 363"/>
                  <a:gd name="T1" fmla="*/ 215 h 216"/>
                  <a:gd name="T2" fmla="*/ 15 w 363"/>
                  <a:gd name="T3" fmla="*/ 203 h 216"/>
                  <a:gd name="T4" fmla="*/ 39 w 363"/>
                  <a:gd name="T5" fmla="*/ 188 h 216"/>
                  <a:gd name="T6" fmla="*/ 51 w 363"/>
                  <a:gd name="T7" fmla="*/ 176 h 216"/>
                  <a:gd name="T8" fmla="*/ 61 w 363"/>
                  <a:gd name="T9" fmla="*/ 168 h 216"/>
                  <a:gd name="T10" fmla="*/ 70 w 363"/>
                  <a:gd name="T11" fmla="*/ 157 h 216"/>
                  <a:gd name="T12" fmla="*/ 90 w 363"/>
                  <a:gd name="T13" fmla="*/ 149 h 216"/>
                  <a:gd name="T14" fmla="*/ 98 w 363"/>
                  <a:gd name="T15" fmla="*/ 142 h 216"/>
                  <a:gd name="T16" fmla="*/ 98 w 363"/>
                  <a:gd name="T17" fmla="*/ 136 h 216"/>
                  <a:gd name="T18" fmla="*/ 106 w 363"/>
                  <a:gd name="T19" fmla="*/ 121 h 216"/>
                  <a:gd name="T20" fmla="*/ 112 w 363"/>
                  <a:gd name="T21" fmla="*/ 107 h 216"/>
                  <a:gd name="T22" fmla="*/ 116 w 363"/>
                  <a:gd name="T23" fmla="*/ 96 h 216"/>
                  <a:gd name="T24" fmla="*/ 130 w 363"/>
                  <a:gd name="T25" fmla="*/ 81 h 216"/>
                  <a:gd name="T26" fmla="*/ 122 w 363"/>
                  <a:gd name="T27" fmla="*/ 83 h 216"/>
                  <a:gd name="T28" fmla="*/ 110 w 363"/>
                  <a:gd name="T29" fmla="*/ 81 h 216"/>
                  <a:gd name="T30" fmla="*/ 109 w 363"/>
                  <a:gd name="T31" fmla="*/ 72 h 216"/>
                  <a:gd name="T32" fmla="*/ 122 w 363"/>
                  <a:gd name="T33" fmla="*/ 50 h 216"/>
                  <a:gd name="T34" fmla="*/ 137 w 363"/>
                  <a:gd name="T35" fmla="*/ 25 h 216"/>
                  <a:gd name="T36" fmla="*/ 146 w 363"/>
                  <a:gd name="T37" fmla="*/ 10 h 216"/>
                  <a:gd name="T38" fmla="*/ 175 w 363"/>
                  <a:gd name="T39" fmla="*/ 11 h 216"/>
                  <a:gd name="T40" fmla="*/ 186 w 363"/>
                  <a:gd name="T41" fmla="*/ 7 h 216"/>
                  <a:gd name="T42" fmla="*/ 190 w 363"/>
                  <a:gd name="T43" fmla="*/ 0 h 216"/>
                  <a:gd name="T44" fmla="*/ 208 w 363"/>
                  <a:gd name="T45" fmla="*/ 4 h 216"/>
                  <a:gd name="T46" fmla="*/ 223 w 363"/>
                  <a:gd name="T47" fmla="*/ 29 h 216"/>
                  <a:gd name="T48" fmla="*/ 238 w 363"/>
                  <a:gd name="T49" fmla="*/ 53 h 216"/>
                  <a:gd name="T50" fmla="*/ 256 w 363"/>
                  <a:gd name="T51" fmla="*/ 64 h 216"/>
                  <a:gd name="T52" fmla="*/ 269 w 363"/>
                  <a:gd name="T53" fmla="*/ 53 h 216"/>
                  <a:gd name="T54" fmla="*/ 313 w 363"/>
                  <a:gd name="T55" fmla="*/ 50 h 216"/>
                  <a:gd name="T56" fmla="*/ 330 w 363"/>
                  <a:gd name="T57" fmla="*/ 64 h 216"/>
                  <a:gd name="T58" fmla="*/ 341 w 363"/>
                  <a:gd name="T59" fmla="*/ 64 h 216"/>
                  <a:gd name="T60" fmla="*/ 359 w 363"/>
                  <a:gd name="T61" fmla="*/ 57 h 216"/>
                  <a:gd name="T62" fmla="*/ 363 w 363"/>
                  <a:gd name="T63" fmla="*/ 73 h 216"/>
                  <a:gd name="T64" fmla="*/ 335 w 363"/>
                  <a:gd name="T65" fmla="*/ 107 h 216"/>
                  <a:gd name="T66" fmla="*/ 331 w 363"/>
                  <a:gd name="T67" fmla="*/ 130 h 216"/>
                  <a:gd name="T68" fmla="*/ 319 w 363"/>
                  <a:gd name="T69" fmla="*/ 162 h 216"/>
                  <a:gd name="T70" fmla="*/ 313 w 363"/>
                  <a:gd name="T71" fmla="*/ 170 h 216"/>
                  <a:gd name="T72" fmla="*/ 297 w 363"/>
                  <a:gd name="T73" fmla="*/ 171 h 216"/>
                  <a:gd name="T74" fmla="*/ 280 w 363"/>
                  <a:gd name="T75" fmla="*/ 169 h 216"/>
                  <a:gd name="T76" fmla="*/ 263 w 363"/>
                  <a:gd name="T77" fmla="*/ 177 h 216"/>
                  <a:gd name="T78" fmla="*/ 260 w 363"/>
                  <a:gd name="T79" fmla="*/ 176 h 216"/>
                  <a:gd name="T80" fmla="*/ 249 w 363"/>
                  <a:gd name="T81" fmla="*/ 173 h 216"/>
                  <a:gd name="T82" fmla="*/ 227 w 363"/>
                  <a:gd name="T83" fmla="*/ 171 h 216"/>
                  <a:gd name="T84" fmla="*/ 217 w 363"/>
                  <a:gd name="T85" fmla="*/ 167 h 216"/>
                  <a:gd name="T86" fmla="*/ 218 w 363"/>
                  <a:gd name="T87" fmla="*/ 155 h 216"/>
                  <a:gd name="T88" fmla="*/ 215 w 363"/>
                  <a:gd name="T89" fmla="*/ 142 h 216"/>
                  <a:gd name="T90" fmla="*/ 201 w 363"/>
                  <a:gd name="T91" fmla="*/ 151 h 216"/>
                  <a:gd name="T92" fmla="*/ 199 w 363"/>
                  <a:gd name="T93" fmla="*/ 161 h 216"/>
                  <a:gd name="T94" fmla="*/ 182 w 363"/>
                  <a:gd name="T95" fmla="*/ 185 h 216"/>
                  <a:gd name="T96" fmla="*/ 164 w 363"/>
                  <a:gd name="T97" fmla="*/ 195 h 216"/>
                  <a:gd name="T98" fmla="*/ 154 w 363"/>
                  <a:gd name="T99" fmla="*/ 196 h 216"/>
                  <a:gd name="T100" fmla="*/ 141 w 363"/>
                  <a:gd name="T101" fmla="*/ 207 h 216"/>
                  <a:gd name="T102" fmla="*/ 146 w 363"/>
                  <a:gd name="T103" fmla="*/ 191 h 216"/>
                  <a:gd name="T104" fmla="*/ 142 w 363"/>
                  <a:gd name="T105" fmla="*/ 191 h 216"/>
                  <a:gd name="T106" fmla="*/ 128 w 363"/>
                  <a:gd name="T107" fmla="*/ 195 h 216"/>
                  <a:gd name="T108" fmla="*/ 111 w 363"/>
                  <a:gd name="T109" fmla="*/ 197 h 216"/>
                  <a:gd name="T110" fmla="*/ 95 w 363"/>
                  <a:gd name="T111" fmla="*/ 191 h 216"/>
                  <a:gd name="T112" fmla="*/ 82 w 363"/>
                  <a:gd name="T113" fmla="*/ 180 h 216"/>
                  <a:gd name="T114" fmla="*/ 81 w 363"/>
                  <a:gd name="T115" fmla="*/ 190 h 216"/>
                  <a:gd name="T116" fmla="*/ 73 w 363"/>
                  <a:gd name="T117" fmla="*/ 195 h 216"/>
                  <a:gd name="T118" fmla="*/ 54 w 363"/>
                  <a:gd name="T119" fmla="*/ 202 h 216"/>
                  <a:gd name="T120" fmla="*/ 46 w 363"/>
                  <a:gd name="T121" fmla="*/ 206 h 216"/>
                  <a:gd name="T122" fmla="*/ 35 w 363"/>
                  <a:gd name="T123" fmla="*/ 212 h 216"/>
                  <a:gd name="T124" fmla="*/ 24 w 363"/>
                  <a:gd name="T125" fmla="*/ 212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63" h="216">
                    <a:moveTo>
                      <a:pt x="12" y="216"/>
                    </a:moveTo>
                    <a:cubicBezTo>
                      <a:pt x="9" y="216"/>
                      <a:pt x="7" y="216"/>
                      <a:pt x="6" y="216"/>
                    </a:cubicBezTo>
                    <a:cubicBezTo>
                      <a:pt x="6" y="216"/>
                      <a:pt x="5" y="215"/>
                      <a:pt x="5" y="215"/>
                    </a:cubicBezTo>
                    <a:cubicBezTo>
                      <a:pt x="3" y="215"/>
                      <a:pt x="0" y="214"/>
                      <a:pt x="0" y="211"/>
                    </a:cubicBezTo>
                    <a:cubicBezTo>
                      <a:pt x="0" y="209"/>
                      <a:pt x="5" y="205"/>
                      <a:pt x="9" y="205"/>
                    </a:cubicBezTo>
                    <a:cubicBezTo>
                      <a:pt x="10" y="205"/>
                      <a:pt x="12" y="204"/>
                      <a:pt x="15" y="203"/>
                    </a:cubicBezTo>
                    <a:cubicBezTo>
                      <a:pt x="18" y="201"/>
                      <a:pt x="21" y="199"/>
                      <a:pt x="25" y="199"/>
                    </a:cubicBezTo>
                    <a:cubicBezTo>
                      <a:pt x="28" y="199"/>
                      <a:pt x="31" y="196"/>
                      <a:pt x="31" y="195"/>
                    </a:cubicBezTo>
                    <a:cubicBezTo>
                      <a:pt x="31" y="191"/>
                      <a:pt x="36" y="189"/>
                      <a:pt x="39" y="188"/>
                    </a:cubicBezTo>
                    <a:cubicBezTo>
                      <a:pt x="40" y="187"/>
                      <a:pt x="41" y="186"/>
                      <a:pt x="42" y="185"/>
                    </a:cubicBezTo>
                    <a:cubicBezTo>
                      <a:pt x="43" y="184"/>
                      <a:pt x="44" y="183"/>
                      <a:pt x="45" y="182"/>
                    </a:cubicBezTo>
                    <a:cubicBezTo>
                      <a:pt x="49" y="180"/>
                      <a:pt x="50" y="179"/>
                      <a:pt x="51" y="176"/>
                    </a:cubicBezTo>
                    <a:cubicBezTo>
                      <a:pt x="53" y="172"/>
                      <a:pt x="56" y="170"/>
                      <a:pt x="59" y="170"/>
                    </a:cubicBezTo>
                    <a:cubicBezTo>
                      <a:pt x="60" y="170"/>
                      <a:pt x="60" y="170"/>
                      <a:pt x="61" y="170"/>
                    </a:cubicBezTo>
                    <a:cubicBezTo>
                      <a:pt x="61" y="169"/>
                      <a:pt x="61" y="169"/>
                      <a:pt x="61" y="168"/>
                    </a:cubicBezTo>
                    <a:cubicBezTo>
                      <a:pt x="61" y="167"/>
                      <a:pt x="61" y="167"/>
                      <a:pt x="61" y="167"/>
                    </a:cubicBezTo>
                    <a:cubicBezTo>
                      <a:pt x="61" y="165"/>
                      <a:pt x="64" y="163"/>
                      <a:pt x="66" y="161"/>
                    </a:cubicBezTo>
                    <a:cubicBezTo>
                      <a:pt x="68" y="160"/>
                      <a:pt x="70" y="159"/>
                      <a:pt x="70" y="157"/>
                    </a:cubicBezTo>
                    <a:cubicBezTo>
                      <a:pt x="70" y="151"/>
                      <a:pt x="77" y="145"/>
                      <a:pt x="83" y="145"/>
                    </a:cubicBezTo>
                    <a:cubicBezTo>
                      <a:pt x="86" y="145"/>
                      <a:pt x="87" y="146"/>
                      <a:pt x="88" y="148"/>
                    </a:cubicBezTo>
                    <a:cubicBezTo>
                      <a:pt x="89" y="148"/>
                      <a:pt x="89" y="149"/>
                      <a:pt x="90" y="149"/>
                    </a:cubicBezTo>
                    <a:cubicBezTo>
                      <a:pt x="90" y="149"/>
                      <a:pt x="91" y="148"/>
                      <a:pt x="91" y="148"/>
                    </a:cubicBezTo>
                    <a:cubicBezTo>
                      <a:pt x="92" y="147"/>
                      <a:pt x="93" y="146"/>
                      <a:pt x="95" y="146"/>
                    </a:cubicBezTo>
                    <a:cubicBezTo>
                      <a:pt x="98" y="146"/>
                      <a:pt x="98" y="143"/>
                      <a:pt x="98" y="142"/>
                    </a:cubicBezTo>
                    <a:cubicBezTo>
                      <a:pt x="98" y="141"/>
                      <a:pt x="98" y="141"/>
                      <a:pt x="98" y="141"/>
                    </a:cubicBezTo>
                    <a:cubicBezTo>
                      <a:pt x="98" y="140"/>
                      <a:pt x="97" y="140"/>
                      <a:pt x="97" y="138"/>
                    </a:cubicBezTo>
                    <a:cubicBezTo>
                      <a:pt x="97" y="137"/>
                      <a:pt x="98" y="137"/>
                      <a:pt x="98" y="136"/>
                    </a:cubicBezTo>
                    <a:cubicBezTo>
                      <a:pt x="99" y="135"/>
                      <a:pt x="100" y="135"/>
                      <a:pt x="100" y="132"/>
                    </a:cubicBezTo>
                    <a:cubicBezTo>
                      <a:pt x="100" y="127"/>
                      <a:pt x="101" y="125"/>
                      <a:pt x="104" y="124"/>
                    </a:cubicBezTo>
                    <a:cubicBezTo>
                      <a:pt x="105" y="123"/>
                      <a:pt x="105" y="122"/>
                      <a:pt x="106" y="121"/>
                    </a:cubicBezTo>
                    <a:cubicBezTo>
                      <a:pt x="106" y="120"/>
                      <a:pt x="107" y="118"/>
                      <a:pt x="109" y="117"/>
                    </a:cubicBezTo>
                    <a:cubicBezTo>
                      <a:pt x="111" y="115"/>
                      <a:pt x="111" y="115"/>
                      <a:pt x="111" y="111"/>
                    </a:cubicBezTo>
                    <a:cubicBezTo>
                      <a:pt x="111" y="109"/>
                      <a:pt x="112" y="108"/>
                      <a:pt x="112" y="107"/>
                    </a:cubicBezTo>
                    <a:cubicBezTo>
                      <a:pt x="112" y="106"/>
                      <a:pt x="113" y="106"/>
                      <a:pt x="113" y="105"/>
                    </a:cubicBezTo>
                    <a:cubicBezTo>
                      <a:pt x="113" y="104"/>
                      <a:pt x="113" y="104"/>
                      <a:pt x="113" y="104"/>
                    </a:cubicBezTo>
                    <a:cubicBezTo>
                      <a:pt x="113" y="101"/>
                      <a:pt x="113" y="99"/>
                      <a:pt x="116" y="96"/>
                    </a:cubicBezTo>
                    <a:cubicBezTo>
                      <a:pt x="120" y="94"/>
                      <a:pt x="123" y="91"/>
                      <a:pt x="126" y="88"/>
                    </a:cubicBezTo>
                    <a:cubicBezTo>
                      <a:pt x="127" y="87"/>
                      <a:pt x="127" y="87"/>
                      <a:pt x="127" y="87"/>
                    </a:cubicBezTo>
                    <a:cubicBezTo>
                      <a:pt x="130" y="84"/>
                      <a:pt x="130" y="83"/>
                      <a:pt x="130" y="81"/>
                    </a:cubicBezTo>
                    <a:cubicBezTo>
                      <a:pt x="130" y="80"/>
                      <a:pt x="129" y="80"/>
                      <a:pt x="129" y="80"/>
                    </a:cubicBezTo>
                    <a:cubicBezTo>
                      <a:pt x="129" y="80"/>
                      <a:pt x="128" y="80"/>
                      <a:pt x="127" y="81"/>
                    </a:cubicBezTo>
                    <a:cubicBezTo>
                      <a:pt x="126" y="82"/>
                      <a:pt x="124" y="83"/>
                      <a:pt x="122" y="83"/>
                    </a:cubicBezTo>
                    <a:cubicBezTo>
                      <a:pt x="120" y="83"/>
                      <a:pt x="119" y="82"/>
                      <a:pt x="118" y="82"/>
                    </a:cubicBezTo>
                    <a:cubicBezTo>
                      <a:pt x="116" y="81"/>
                      <a:pt x="115" y="81"/>
                      <a:pt x="114" y="81"/>
                    </a:cubicBezTo>
                    <a:cubicBezTo>
                      <a:pt x="112" y="81"/>
                      <a:pt x="111" y="81"/>
                      <a:pt x="110" y="81"/>
                    </a:cubicBezTo>
                    <a:cubicBezTo>
                      <a:pt x="110" y="82"/>
                      <a:pt x="109" y="82"/>
                      <a:pt x="108" y="82"/>
                    </a:cubicBezTo>
                    <a:cubicBezTo>
                      <a:pt x="105" y="82"/>
                      <a:pt x="105" y="79"/>
                      <a:pt x="105" y="77"/>
                    </a:cubicBezTo>
                    <a:cubicBezTo>
                      <a:pt x="105" y="75"/>
                      <a:pt x="107" y="73"/>
                      <a:pt x="109" y="72"/>
                    </a:cubicBezTo>
                    <a:cubicBezTo>
                      <a:pt x="111" y="70"/>
                      <a:pt x="114" y="69"/>
                      <a:pt x="114" y="67"/>
                    </a:cubicBezTo>
                    <a:cubicBezTo>
                      <a:pt x="114" y="64"/>
                      <a:pt x="116" y="59"/>
                      <a:pt x="119" y="57"/>
                    </a:cubicBezTo>
                    <a:cubicBezTo>
                      <a:pt x="121" y="54"/>
                      <a:pt x="122" y="53"/>
                      <a:pt x="122" y="50"/>
                    </a:cubicBezTo>
                    <a:cubicBezTo>
                      <a:pt x="122" y="48"/>
                      <a:pt x="123" y="46"/>
                      <a:pt x="126" y="42"/>
                    </a:cubicBezTo>
                    <a:cubicBezTo>
                      <a:pt x="128" y="39"/>
                      <a:pt x="131" y="34"/>
                      <a:pt x="131" y="32"/>
                    </a:cubicBezTo>
                    <a:cubicBezTo>
                      <a:pt x="131" y="29"/>
                      <a:pt x="134" y="27"/>
                      <a:pt x="137" y="25"/>
                    </a:cubicBezTo>
                    <a:cubicBezTo>
                      <a:pt x="140" y="22"/>
                      <a:pt x="144" y="19"/>
                      <a:pt x="144" y="16"/>
                    </a:cubicBezTo>
                    <a:cubicBezTo>
                      <a:pt x="144" y="14"/>
                      <a:pt x="145" y="13"/>
                      <a:pt x="145" y="13"/>
                    </a:cubicBezTo>
                    <a:cubicBezTo>
                      <a:pt x="145" y="12"/>
                      <a:pt x="146" y="11"/>
                      <a:pt x="146" y="10"/>
                    </a:cubicBezTo>
                    <a:cubicBezTo>
                      <a:pt x="146" y="6"/>
                      <a:pt x="148" y="1"/>
                      <a:pt x="154" y="1"/>
                    </a:cubicBezTo>
                    <a:cubicBezTo>
                      <a:pt x="157" y="1"/>
                      <a:pt x="161" y="3"/>
                      <a:pt x="165" y="6"/>
                    </a:cubicBezTo>
                    <a:cubicBezTo>
                      <a:pt x="169" y="9"/>
                      <a:pt x="173" y="11"/>
                      <a:pt x="175" y="11"/>
                    </a:cubicBezTo>
                    <a:cubicBezTo>
                      <a:pt x="177" y="11"/>
                      <a:pt x="179" y="10"/>
                      <a:pt x="181" y="9"/>
                    </a:cubicBezTo>
                    <a:cubicBezTo>
                      <a:pt x="182" y="8"/>
                      <a:pt x="184" y="7"/>
                      <a:pt x="185" y="7"/>
                    </a:cubicBezTo>
                    <a:cubicBezTo>
                      <a:pt x="186" y="7"/>
                      <a:pt x="186" y="7"/>
                      <a:pt x="186" y="7"/>
                    </a:cubicBezTo>
                    <a:cubicBezTo>
                      <a:pt x="186" y="7"/>
                      <a:pt x="186" y="7"/>
                      <a:pt x="186" y="7"/>
                    </a:cubicBezTo>
                    <a:cubicBezTo>
                      <a:pt x="184" y="7"/>
                      <a:pt x="180" y="6"/>
                      <a:pt x="180" y="3"/>
                    </a:cubicBezTo>
                    <a:cubicBezTo>
                      <a:pt x="180" y="0"/>
                      <a:pt x="185" y="0"/>
                      <a:pt x="190" y="0"/>
                    </a:cubicBezTo>
                    <a:cubicBezTo>
                      <a:pt x="194" y="0"/>
                      <a:pt x="198" y="2"/>
                      <a:pt x="202" y="3"/>
                    </a:cubicBezTo>
                    <a:cubicBezTo>
                      <a:pt x="204" y="4"/>
                      <a:pt x="205" y="4"/>
                      <a:pt x="207" y="4"/>
                    </a:cubicBezTo>
                    <a:cubicBezTo>
                      <a:pt x="208" y="4"/>
                      <a:pt x="208" y="4"/>
                      <a:pt x="208" y="4"/>
                    </a:cubicBezTo>
                    <a:cubicBezTo>
                      <a:pt x="210" y="5"/>
                      <a:pt x="210" y="5"/>
                      <a:pt x="210" y="5"/>
                    </a:cubicBezTo>
                    <a:cubicBezTo>
                      <a:pt x="210" y="5"/>
                      <a:pt x="212" y="13"/>
                      <a:pt x="212" y="19"/>
                    </a:cubicBezTo>
                    <a:cubicBezTo>
                      <a:pt x="212" y="24"/>
                      <a:pt x="216" y="26"/>
                      <a:pt x="223" y="29"/>
                    </a:cubicBezTo>
                    <a:cubicBezTo>
                      <a:pt x="224" y="29"/>
                      <a:pt x="224" y="30"/>
                      <a:pt x="225" y="30"/>
                    </a:cubicBezTo>
                    <a:cubicBezTo>
                      <a:pt x="232" y="33"/>
                      <a:pt x="233" y="38"/>
                      <a:pt x="236" y="46"/>
                    </a:cubicBezTo>
                    <a:cubicBezTo>
                      <a:pt x="236" y="48"/>
                      <a:pt x="237" y="51"/>
                      <a:pt x="238" y="53"/>
                    </a:cubicBezTo>
                    <a:cubicBezTo>
                      <a:pt x="240" y="63"/>
                      <a:pt x="248" y="64"/>
                      <a:pt x="253" y="64"/>
                    </a:cubicBezTo>
                    <a:cubicBezTo>
                      <a:pt x="253" y="64"/>
                      <a:pt x="254" y="64"/>
                      <a:pt x="254" y="64"/>
                    </a:cubicBezTo>
                    <a:cubicBezTo>
                      <a:pt x="255" y="64"/>
                      <a:pt x="255" y="64"/>
                      <a:pt x="256" y="64"/>
                    </a:cubicBezTo>
                    <a:cubicBezTo>
                      <a:pt x="259" y="64"/>
                      <a:pt x="260" y="63"/>
                      <a:pt x="260" y="61"/>
                    </a:cubicBezTo>
                    <a:cubicBezTo>
                      <a:pt x="260" y="57"/>
                      <a:pt x="262" y="55"/>
                      <a:pt x="266" y="55"/>
                    </a:cubicBezTo>
                    <a:cubicBezTo>
                      <a:pt x="268" y="55"/>
                      <a:pt x="268" y="54"/>
                      <a:pt x="269" y="53"/>
                    </a:cubicBezTo>
                    <a:cubicBezTo>
                      <a:pt x="270" y="51"/>
                      <a:pt x="272" y="49"/>
                      <a:pt x="275" y="48"/>
                    </a:cubicBezTo>
                    <a:cubicBezTo>
                      <a:pt x="283" y="45"/>
                      <a:pt x="295" y="43"/>
                      <a:pt x="302" y="43"/>
                    </a:cubicBezTo>
                    <a:cubicBezTo>
                      <a:pt x="307" y="43"/>
                      <a:pt x="310" y="47"/>
                      <a:pt x="313" y="50"/>
                    </a:cubicBezTo>
                    <a:cubicBezTo>
                      <a:pt x="314" y="51"/>
                      <a:pt x="315" y="52"/>
                      <a:pt x="316" y="53"/>
                    </a:cubicBezTo>
                    <a:cubicBezTo>
                      <a:pt x="317" y="54"/>
                      <a:pt x="318" y="55"/>
                      <a:pt x="318" y="56"/>
                    </a:cubicBezTo>
                    <a:cubicBezTo>
                      <a:pt x="322" y="60"/>
                      <a:pt x="327" y="64"/>
                      <a:pt x="330" y="64"/>
                    </a:cubicBezTo>
                    <a:cubicBezTo>
                      <a:pt x="332" y="64"/>
                      <a:pt x="333" y="64"/>
                      <a:pt x="333" y="63"/>
                    </a:cubicBezTo>
                    <a:cubicBezTo>
                      <a:pt x="334" y="63"/>
                      <a:pt x="335" y="62"/>
                      <a:pt x="337" y="62"/>
                    </a:cubicBezTo>
                    <a:cubicBezTo>
                      <a:pt x="339" y="62"/>
                      <a:pt x="340" y="63"/>
                      <a:pt x="341" y="64"/>
                    </a:cubicBezTo>
                    <a:cubicBezTo>
                      <a:pt x="342" y="65"/>
                      <a:pt x="343" y="66"/>
                      <a:pt x="345" y="66"/>
                    </a:cubicBezTo>
                    <a:cubicBezTo>
                      <a:pt x="349" y="66"/>
                      <a:pt x="356" y="61"/>
                      <a:pt x="358" y="59"/>
                    </a:cubicBezTo>
                    <a:cubicBezTo>
                      <a:pt x="359" y="57"/>
                      <a:pt x="359" y="57"/>
                      <a:pt x="359" y="57"/>
                    </a:cubicBezTo>
                    <a:cubicBezTo>
                      <a:pt x="360" y="59"/>
                      <a:pt x="360" y="59"/>
                      <a:pt x="360" y="59"/>
                    </a:cubicBezTo>
                    <a:cubicBezTo>
                      <a:pt x="360" y="62"/>
                      <a:pt x="360" y="64"/>
                      <a:pt x="361" y="65"/>
                    </a:cubicBezTo>
                    <a:cubicBezTo>
                      <a:pt x="362" y="68"/>
                      <a:pt x="363" y="70"/>
                      <a:pt x="363" y="73"/>
                    </a:cubicBezTo>
                    <a:cubicBezTo>
                      <a:pt x="363" y="81"/>
                      <a:pt x="356" y="90"/>
                      <a:pt x="348" y="90"/>
                    </a:cubicBezTo>
                    <a:cubicBezTo>
                      <a:pt x="340" y="90"/>
                      <a:pt x="338" y="92"/>
                      <a:pt x="338" y="96"/>
                    </a:cubicBezTo>
                    <a:cubicBezTo>
                      <a:pt x="338" y="101"/>
                      <a:pt x="336" y="104"/>
                      <a:pt x="335" y="107"/>
                    </a:cubicBezTo>
                    <a:cubicBezTo>
                      <a:pt x="334" y="110"/>
                      <a:pt x="333" y="113"/>
                      <a:pt x="333" y="117"/>
                    </a:cubicBezTo>
                    <a:cubicBezTo>
                      <a:pt x="333" y="119"/>
                      <a:pt x="332" y="121"/>
                      <a:pt x="332" y="123"/>
                    </a:cubicBezTo>
                    <a:cubicBezTo>
                      <a:pt x="331" y="125"/>
                      <a:pt x="331" y="127"/>
                      <a:pt x="331" y="130"/>
                    </a:cubicBezTo>
                    <a:cubicBezTo>
                      <a:pt x="331" y="133"/>
                      <a:pt x="328" y="137"/>
                      <a:pt x="325" y="141"/>
                    </a:cubicBezTo>
                    <a:cubicBezTo>
                      <a:pt x="322" y="146"/>
                      <a:pt x="319" y="150"/>
                      <a:pt x="319" y="153"/>
                    </a:cubicBezTo>
                    <a:cubicBezTo>
                      <a:pt x="319" y="162"/>
                      <a:pt x="319" y="162"/>
                      <a:pt x="319" y="162"/>
                    </a:cubicBezTo>
                    <a:cubicBezTo>
                      <a:pt x="319" y="163"/>
                      <a:pt x="319" y="163"/>
                      <a:pt x="319" y="163"/>
                    </a:cubicBezTo>
                    <a:cubicBezTo>
                      <a:pt x="318" y="163"/>
                      <a:pt x="318" y="163"/>
                      <a:pt x="318" y="163"/>
                    </a:cubicBezTo>
                    <a:cubicBezTo>
                      <a:pt x="317" y="164"/>
                      <a:pt x="313" y="167"/>
                      <a:pt x="313" y="170"/>
                    </a:cubicBezTo>
                    <a:cubicBezTo>
                      <a:pt x="313" y="174"/>
                      <a:pt x="308" y="177"/>
                      <a:pt x="304" y="177"/>
                    </a:cubicBezTo>
                    <a:cubicBezTo>
                      <a:pt x="301" y="177"/>
                      <a:pt x="300" y="175"/>
                      <a:pt x="299" y="173"/>
                    </a:cubicBezTo>
                    <a:cubicBezTo>
                      <a:pt x="298" y="172"/>
                      <a:pt x="298" y="171"/>
                      <a:pt x="297" y="171"/>
                    </a:cubicBezTo>
                    <a:cubicBezTo>
                      <a:pt x="295" y="171"/>
                      <a:pt x="294" y="170"/>
                      <a:pt x="293" y="169"/>
                    </a:cubicBezTo>
                    <a:cubicBezTo>
                      <a:pt x="291" y="167"/>
                      <a:pt x="290" y="165"/>
                      <a:pt x="287" y="165"/>
                    </a:cubicBezTo>
                    <a:cubicBezTo>
                      <a:pt x="285" y="165"/>
                      <a:pt x="282" y="167"/>
                      <a:pt x="280" y="169"/>
                    </a:cubicBezTo>
                    <a:cubicBezTo>
                      <a:pt x="279" y="171"/>
                      <a:pt x="277" y="172"/>
                      <a:pt x="275" y="172"/>
                    </a:cubicBezTo>
                    <a:cubicBezTo>
                      <a:pt x="270" y="172"/>
                      <a:pt x="269" y="173"/>
                      <a:pt x="269" y="174"/>
                    </a:cubicBezTo>
                    <a:cubicBezTo>
                      <a:pt x="269" y="176"/>
                      <a:pt x="268" y="177"/>
                      <a:pt x="263" y="177"/>
                    </a:cubicBezTo>
                    <a:cubicBezTo>
                      <a:pt x="262" y="177"/>
                      <a:pt x="261" y="177"/>
                      <a:pt x="261" y="177"/>
                    </a:cubicBezTo>
                    <a:cubicBezTo>
                      <a:pt x="260" y="177"/>
                      <a:pt x="260" y="177"/>
                      <a:pt x="260" y="177"/>
                    </a:cubicBezTo>
                    <a:cubicBezTo>
                      <a:pt x="260" y="176"/>
                      <a:pt x="260" y="176"/>
                      <a:pt x="260" y="176"/>
                    </a:cubicBezTo>
                    <a:cubicBezTo>
                      <a:pt x="260" y="176"/>
                      <a:pt x="260" y="176"/>
                      <a:pt x="259" y="176"/>
                    </a:cubicBezTo>
                    <a:cubicBezTo>
                      <a:pt x="257" y="176"/>
                      <a:pt x="255" y="175"/>
                      <a:pt x="253" y="174"/>
                    </a:cubicBezTo>
                    <a:cubicBezTo>
                      <a:pt x="252" y="174"/>
                      <a:pt x="250" y="173"/>
                      <a:pt x="249" y="173"/>
                    </a:cubicBezTo>
                    <a:cubicBezTo>
                      <a:pt x="246" y="173"/>
                      <a:pt x="244" y="172"/>
                      <a:pt x="242" y="171"/>
                    </a:cubicBezTo>
                    <a:cubicBezTo>
                      <a:pt x="240" y="170"/>
                      <a:pt x="238" y="170"/>
                      <a:pt x="235" y="170"/>
                    </a:cubicBezTo>
                    <a:cubicBezTo>
                      <a:pt x="233" y="170"/>
                      <a:pt x="230" y="170"/>
                      <a:pt x="227" y="171"/>
                    </a:cubicBezTo>
                    <a:cubicBezTo>
                      <a:pt x="224" y="172"/>
                      <a:pt x="221" y="173"/>
                      <a:pt x="218" y="173"/>
                    </a:cubicBezTo>
                    <a:cubicBezTo>
                      <a:pt x="214" y="173"/>
                      <a:pt x="214" y="171"/>
                      <a:pt x="214" y="170"/>
                    </a:cubicBezTo>
                    <a:cubicBezTo>
                      <a:pt x="214" y="169"/>
                      <a:pt x="215" y="168"/>
                      <a:pt x="217" y="167"/>
                    </a:cubicBezTo>
                    <a:cubicBezTo>
                      <a:pt x="218" y="166"/>
                      <a:pt x="220" y="164"/>
                      <a:pt x="220" y="162"/>
                    </a:cubicBezTo>
                    <a:cubicBezTo>
                      <a:pt x="220" y="161"/>
                      <a:pt x="220" y="161"/>
                      <a:pt x="220" y="160"/>
                    </a:cubicBezTo>
                    <a:cubicBezTo>
                      <a:pt x="219" y="159"/>
                      <a:pt x="218" y="158"/>
                      <a:pt x="218" y="155"/>
                    </a:cubicBezTo>
                    <a:cubicBezTo>
                      <a:pt x="218" y="154"/>
                      <a:pt x="218" y="152"/>
                      <a:pt x="217" y="151"/>
                    </a:cubicBezTo>
                    <a:cubicBezTo>
                      <a:pt x="217" y="149"/>
                      <a:pt x="216" y="148"/>
                      <a:pt x="216" y="146"/>
                    </a:cubicBezTo>
                    <a:cubicBezTo>
                      <a:pt x="216" y="142"/>
                      <a:pt x="215" y="142"/>
                      <a:pt x="215" y="142"/>
                    </a:cubicBezTo>
                    <a:cubicBezTo>
                      <a:pt x="215" y="142"/>
                      <a:pt x="215" y="142"/>
                      <a:pt x="214" y="142"/>
                    </a:cubicBezTo>
                    <a:cubicBezTo>
                      <a:pt x="213" y="143"/>
                      <a:pt x="212" y="143"/>
                      <a:pt x="210" y="144"/>
                    </a:cubicBezTo>
                    <a:cubicBezTo>
                      <a:pt x="207" y="146"/>
                      <a:pt x="201" y="149"/>
                      <a:pt x="201" y="151"/>
                    </a:cubicBezTo>
                    <a:cubicBezTo>
                      <a:pt x="201" y="152"/>
                      <a:pt x="201" y="152"/>
                      <a:pt x="202" y="153"/>
                    </a:cubicBezTo>
                    <a:cubicBezTo>
                      <a:pt x="202" y="153"/>
                      <a:pt x="203" y="154"/>
                      <a:pt x="203" y="156"/>
                    </a:cubicBezTo>
                    <a:cubicBezTo>
                      <a:pt x="203" y="157"/>
                      <a:pt x="201" y="159"/>
                      <a:pt x="199" y="161"/>
                    </a:cubicBezTo>
                    <a:cubicBezTo>
                      <a:pt x="198" y="164"/>
                      <a:pt x="196" y="166"/>
                      <a:pt x="194" y="169"/>
                    </a:cubicBezTo>
                    <a:cubicBezTo>
                      <a:pt x="192" y="173"/>
                      <a:pt x="189" y="176"/>
                      <a:pt x="187" y="179"/>
                    </a:cubicBezTo>
                    <a:cubicBezTo>
                      <a:pt x="185" y="181"/>
                      <a:pt x="183" y="183"/>
                      <a:pt x="182" y="185"/>
                    </a:cubicBezTo>
                    <a:cubicBezTo>
                      <a:pt x="181" y="186"/>
                      <a:pt x="181" y="186"/>
                      <a:pt x="180" y="187"/>
                    </a:cubicBezTo>
                    <a:cubicBezTo>
                      <a:pt x="178" y="191"/>
                      <a:pt x="176" y="195"/>
                      <a:pt x="171" y="195"/>
                    </a:cubicBezTo>
                    <a:cubicBezTo>
                      <a:pt x="169" y="195"/>
                      <a:pt x="166" y="195"/>
                      <a:pt x="164" y="195"/>
                    </a:cubicBezTo>
                    <a:cubicBezTo>
                      <a:pt x="162" y="195"/>
                      <a:pt x="160" y="195"/>
                      <a:pt x="159" y="195"/>
                    </a:cubicBezTo>
                    <a:cubicBezTo>
                      <a:pt x="157" y="195"/>
                      <a:pt x="156" y="195"/>
                      <a:pt x="156" y="195"/>
                    </a:cubicBezTo>
                    <a:cubicBezTo>
                      <a:pt x="156" y="196"/>
                      <a:pt x="155" y="196"/>
                      <a:pt x="154" y="196"/>
                    </a:cubicBezTo>
                    <a:cubicBezTo>
                      <a:pt x="153" y="197"/>
                      <a:pt x="153" y="197"/>
                      <a:pt x="152" y="198"/>
                    </a:cubicBezTo>
                    <a:cubicBezTo>
                      <a:pt x="151" y="199"/>
                      <a:pt x="151" y="199"/>
                      <a:pt x="150" y="200"/>
                    </a:cubicBezTo>
                    <a:cubicBezTo>
                      <a:pt x="149" y="203"/>
                      <a:pt x="146" y="207"/>
                      <a:pt x="141" y="207"/>
                    </a:cubicBezTo>
                    <a:cubicBezTo>
                      <a:pt x="134" y="207"/>
                      <a:pt x="133" y="202"/>
                      <a:pt x="133" y="201"/>
                    </a:cubicBezTo>
                    <a:cubicBezTo>
                      <a:pt x="133" y="199"/>
                      <a:pt x="135" y="197"/>
                      <a:pt x="139" y="195"/>
                    </a:cubicBezTo>
                    <a:cubicBezTo>
                      <a:pt x="142" y="194"/>
                      <a:pt x="146" y="192"/>
                      <a:pt x="146" y="191"/>
                    </a:cubicBezTo>
                    <a:cubicBezTo>
                      <a:pt x="146" y="190"/>
                      <a:pt x="145" y="190"/>
                      <a:pt x="145" y="190"/>
                    </a:cubicBezTo>
                    <a:cubicBezTo>
                      <a:pt x="144" y="190"/>
                      <a:pt x="143" y="190"/>
                      <a:pt x="143" y="190"/>
                    </a:cubicBezTo>
                    <a:cubicBezTo>
                      <a:pt x="143" y="191"/>
                      <a:pt x="142" y="191"/>
                      <a:pt x="142" y="191"/>
                    </a:cubicBezTo>
                    <a:cubicBezTo>
                      <a:pt x="141" y="192"/>
                      <a:pt x="140" y="193"/>
                      <a:pt x="137" y="193"/>
                    </a:cubicBezTo>
                    <a:cubicBezTo>
                      <a:pt x="133" y="193"/>
                      <a:pt x="132" y="194"/>
                      <a:pt x="130" y="194"/>
                    </a:cubicBezTo>
                    <a:cubicBezTo>
                      <a:pt x="129" y="195"/>
                      <a:pt x="129" y="195"/>
                      <a:pt x="128" y="195"/>
                    </a:cubicBezTo>
                    <a:cubicBezTo>
                      <a:pt x="127" y="195"/>
                      <a:pt x="126" y="196"/>
                      <a:pt x="125" y="197"/>
                    </a:cubicBezTo>
                    <a:cubicBezTo>
                      <a:pt x="123" y="198"/>
                      <a:pt x="121" y="199"/>
                      <a:pt x="119" y="199"/>
                    </a:cubicBezTo>
                    <a:cubicBezTo>
                      <a:pt x="115" y="199"/>
                      <a:pt x="113" y="198"/>
                      <a:pt x="111" y="197"/>
                    </a:cubicBezTo>
                    <a:cubicBezTo>
                      <a:pt x="110" y="197"/>
                      <a:pt x="109" y="196"/>
                      <a:pt x="108" y="196"/>
                    </a:cubicBezTo>
                    <a:cubicBezTo>
                      <a:pt x="106" y="196"/>
                      <a:pt x="103" y="195"/>
                      <a:pt x="101" y="194"/>
                    </a:cubicBezTo>
                    <a:cubicBezTo>
                      <a:pt x="99" y="192"/>
                      <a:pt x="96" y="191"/>
                      <a:pt x="95" y="191"/>
                    </a:cubicBezTo>
                    <a:cubicBezTo>
                      <a:pt x="90" y="191"/>
                      <a:pt x="87" y="184"/>
                      <a:pt x="87" y="181"/>
                    </a:cubicBezTo>
                    <a:cubicBezTo>
                      <a:pt x="87" y="177"/>
                      <a:pt x="86" y="177"/>
                      <a:pt x="85" y="177"/>
                    </a:cubicBezTo>
                    <a:cubicBezTo>
                      <a:pt x="84" y="177"/>
                      <a:pt x="82" y="179"/>
                      <a:pt x="82" y="180"/>
                    </a:cubicBezTo>
                    <a:cubicBezTo>
                      <a:pt x="82" y="181"/>
                      <a:pt x="82" y="181"/>
                      <a:pt x="83" y="181"/>
                    </a:cubicBezTo>
                    <a:cubicBezTo>
                      <a:pt x="84" y="182"/>
                      <a:pt x="85" y="183"/>
                      <a:pt x="85" y="186"/>
                    </a:cubicBezTo>
                    <a:cubicBezTo>
                      <a:pt x="85" y="189"/>
                      <a:pt x="83" y="189"/>
                      <a:pt x="81" y="190"/>
                    </a:cubicBezTo>
                    <a:cubicBezTo>
                      <a:pt x="81" y="190"/>
                      <a:pt x="80" y="191"/>
                      <a:pt x="80" y="191"/>
                    </a:cubicBezTo>
                    <a:cubicBezTo>
                      <a:pt x="79" y="191"/>
                      <a:pt x="79" y="192"/>
                      <a:pt x="78" y="193"/>
                    </a:cubicBezTo>
                    <a:cubicBezTo>
                      <a:pt x="78" y="194"/>
                      <a:pt x="77" y="195"/>
                      <a:pt x="73" y="195"/>
                    </a:cubicBezTo>
                    <a:cubicBezTo>
                      <a:pt x="68" y="195"/>
                      <a:pt x="66" y="196"/>
                      <a:pt x="64" y="196"/>
                    </a:cubicBezTo>
                    <a:cubicBezTo>
                      <a:pt x="63" y="196"/>
                      <a:pt x="62" y="197"/>
                      <a:pt x="61" y="197"/>
                    </a:cubicBezTo>
                    <a:cubicBezTo>
                      <a:pt x="60" y="197"/>
                      <a:pt x="54" y="198"/>
                      <a:pt x="54" y="202"/>
                    </a:cubicBezTo>
                    <a:cubicBezTo>
                      <a:pt x="54" y="206"/>
                      <a:pt x="53" y="208"/>
                      <a:pt x="50" y="208"/>
                    </a:cubicBezTo>
                    <a:cubicBezTo>
                      <a:pt x="49" y="208"/>
                      <a:pt x="48" y="207"/>
                      <a:pt x="48" y="207"/>
                    </a:cubicBezTo>
                    <a:cubicBezTo>
                      <a:pt x="47" y="206"/>
                      <a:pt x="47" y="206"/>
                      <a:pt x="46" y="206"/>
                    </a:cubicBezTo>
                    <a:cubicBezTo>
                      <a:pt x="46" y="206"/>
                      <a:pt x="45" y="207"/>
                      <a:pt x="45" y="207"/>
                    </a:cubicBezTo>
                    <a:cubicBezTo>
                      <a:pt x="43" y="209"/>
                      <a:pt x="41" y="211"/>
                      <a:pt x="36" y="211"/>
                    </a:cubicBezTo>
                    <a:cubicBezTo>
                      <a:pt x="35" y="211"/>
                      <a:pt x="35" y="211"/>
                      <a:pt x="35" y="212"/>
                    </a:cubicBezTo>
                    <a:cubicBezTo>
                      <a:pt x="34" y="212"/>
                      <a:pt x="34" y="213"/>
                      <a:pt x="32" y="213"/>
                    </a:cubicBezTo>
                    <a:cubicBezTo>
                      <a:pt x="30" y="213"/>
                      <a:pt x="29" y="213"/>
                      <a:pt x="28" y="212"/>
                    </a:cubicBezTo>
                    <a:cubicBezTo>
                      <a:pt x="27" y="212"/>
                      <a:pt x="26" y="212"/>
                      <a:pt x="24" y="212"/>
                    </a:cubicBezTo>
                    <a:cubicBezTo>
                      <a:pt x="22" y="212"/>
                      <a:pt x="20" y="213"/>
                      <a:pt x="18" y="214"/>
                    </a:cubicBezTo>
                    <a:cubicBezTo>
                      <a:pt x="16" y="215"/>
                      <a:pt x="14" y="216"/>
                      <a:pt x="12" y="216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63" name="Freeform 38"/>
              <p:cNvSpPr>
                <a:spLocks/>
              </p:cNvSpPr>
              <p:nvPr/>
            </p:nvSpPr>
            <p:spPr bwMode="auto">
              <a:xfrm>
                <a:off x="988" y="3101"/>
                <a:ext cx="620" cy="371"/>
              </a:xfrm>
              <a:custGeom>
                <a:avLst/>
                <a:gdLst>
                  <a:gd name="T0" fmla="*/ 164 w 262"/>
                  <a:gd name="T1" fmla="*/ 139 h 157"/>
                  <a:gd name="T2" fmla="*/ 145 w 262"/>
                  <a:gd name="T3" fmla="*/ 123 h 157"/>
                  <a:gd name="T4" fmla="*/ 118 w 262"/>
                  <a:gd name="T5" fmla="*/ 121 h 157"/>
                  <a:gd name="T6" fmla="*/ 101 w 262"/>
                  <a:gd name="T7" fmla="*/ 133 h 157"/>
                  <a:gd name="T8" fmla="*/ 71 w 262"/>
                  <a:gd name="T9" fmla="*/ 143 h 157"/>
                  <a:gd name="T10" fmla="*/ 53 w 262"/>
                  <a:gd name="T11" fmla="*/ 137 h 157"/>
                  <a:gd name="T12" fmla="*/ 30 w 262"/>
                  <a:gd name="T13" fmla="*/ 144 h 157"/>
                  <a:gd name="T14" fmla="*/ 15 w 262"/>
                  <a:gd name="T15" fmla="*/ 132 h 157"/>
                  <a:gd name="T16" fmla="*/ 4 w 262"/>
                  <a:gd name="T17" fmla="*/ 115 h 157"/>
                  <a:gd name="T18" fmla="*/ 11 w 262"/>
                  <a:gd name="T19" fmla="*/ 103 h 157"/>
                  <a:gd name="T20" fmla="*/ 0 w 262"/>
                  <a:gd name="T21" fmla="*/ 88 h 157"/>
                  <a:gd name="T22" fmla="*/ 8 w 262"/>
                  <a:gd name="T23" fmla="*/ 67 h 157"/>
                  <a:gd name="T24" fmla="*/ 4 w 262"/>
                  <a:gd name="T25" fmla="*/ 50 h 157"/>
                  <a:gd name="T26" fmla="*/ 12 w 262"/>
                  <a:gd name="T27" fmla="*/ 50 h 157"/>
                  <a:gd name="T28" fmla="*/ 27 w 262"/>
                  <a:gd name="T29" fmla="*/ 44 h 157"/>
                  <a:gd name="T30" fmla="*/ 45 w 262"/>
                  <a:gd name="T31" fmla="*/ 36 h 157"/>
                  <a:gd name="T32" fmla="*/ 59 w 262"/>
                  <a:gd name="T33" fmla="*/ 32 h 157"/>
                  <a:gd name="T34" fmla="*/ 68 w 262"/>
                  <a:gd name="T35" fmla="*/ 33 h 157"/>
                  <a:gd name="T36" fmla="*/ 75 w 262"/>
                  <a:gd name="T37" fmla="*/ 32 h 157"/>
                  <a:gd name="T38" fmla="*/ 89 w 262"/>
                  <a:gd name="T39" fmla="*/ 20 h 157"/>
                  <a:gd name="T40" fmla="*/ 112 w 262"/>
                  <a:gd name="T41" fmla="*/ 16 h 157"/>
                  <a:gd name="T42" fmla="*/ 122 w 262"/>
                  <a:gd name="T43" fmla="*/ 19 h 157"/>
                  <a:gd name="T44" fmla="*/ 130 w 262"/>
                  <a:gd name="T45" fmla="*/ 15 h 157"/>
                  <a:gd name="T46" fmla="*/ 133 w 262"/>
                  <a:gd name="T47" fmla="*/ 14 h 157"/>
                  <a:gd name="T48" fmla="*/ 149 w 262"/>
                  <a:gd name="T49" fmla="*/ 6 h 157"/>
                  <a:gd name="T50" fmla="*/ 167 w 262"/>
                  <a:gd name="T51" fmla="*/ 8 h 157"/>
                  <a:gd name="T52" fmla="*/ 181 w 262"/>
                  <a:gd name="T53" fmla="*/ 9 h 157"/>
                  <a:gd name="T54" fmla="*/ 188 w 262"/>
                  <a:gd name="T55" fmla="*/ 0 h 157"/>
                  <a:gd name="T56" fmla="*/ 217 w 262"/>
                  <a:gd name="T57" fmla="*/ 9 h 157"/>
                  <a:gd name="T58" fmla="*/ 244 w 262"/>
                  <a:gd name="T59" fmla="*/ 10 h 157"/>
                  <a:gd name="T60" fmla="*/ 259 w 262"/>
                  <a:gd name="T61" fmla="*/ 20 h 157"/>
                  <a:gd name="T62" fmla="*/ 254 w 262"/>
                  <a:gd name="T63" fmla="*/ 38 h 157"/>
                  <a:gd name="T64" fmla="*/ 252 w 262"/>
                  <a:gd name="T65" fmla="*/ 59 h 157"/>
                  <a:gd name="T66" fmla="*/ 253 w 262"/>
                  <a:gd name="T67" fmla="*/ 70 h 157"/>
                  <a:gd name="T68" fmla="*/ 232 w 262"/>
                  <a:gd name="T69" fmla="*/ 76 h 157"/>
                  <a:gd name="T70" fmla="*/ 224 w 262"/>
                  <a:gd name="T71" fmla="*/ 78 h 157"/>
                  <a:gd name="T72" fmla="*/ 216 w 262"/>
                  <a:gd name="T73" fmla="*/ 99 h 157"/>
                  <a:gd name="T74" fmla="*/ 230 w 262"/>
                  <a:gd name="T75" fmla="*/ 102 h 157"/>
                  <a:gd name="T76" fmla="*/ 245 w 262"/>
                  <a:gd name="T77" fmla="*/ 108 h 157"/>
                  <a:gd name="T78" fmla="*/ 258 w 262"/>
                  <a:gd name="T79" fmla="*/ 128 h 157"/>
                  <a:gd name="T80" fmla="*/ 261 w 262"/>
                  <a:gd name="T81" fmla="*/ 149 h 157"/>
                  <a:gd name="T82" fmla="*/ 260 w 262"/>
                  <a:gd name="T83" fmla="*/ 150 h 157"/>
                  <a:gd name="T84" fmla="*/ 252 w 262"/>
                  <a:gd name="T85" fmla="*/ 151 h 157"/>
                  <a:gd name="T86" fmla="*/ 229 w 262"/>
                  <a:gd name="T87" fmla="*/ 146 h 157"/>
                  <a:gd name="T88" fmla="*/ 214 w 262"/>
                  <a:gd name="T89" fmla="*/ 147 h 157"/>
                  <a:gd name="T90" fmla="*/ 192 w 262"/>
                  <a:gd name="T91" fmla="*/ 155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62" h="157">
                    <a:moveTo>
                      <a:pt x="187" y="157"/>
                    </a:moveTo>
                    <a:cubicBezTo>
                      <a:pt x="182" y="157"/>
                      <a:pt x="175" y="154"/>
                      <a:pt x="169" y="146"/>
                    </a:cubicBezTo>
                    <a:cubicBezTo>
                      <a:pt x="166" y="144"/>
                      <a:pt x="165" y="141"/>
                      <a:pt x="164" y="139"/>
                    </a:cubicBezTo>
                    <a:cubicBezTo>
                      <a:pt x="161" y="135"/>
                      <a:pt x="159" y="132"/>
                      <a:pt x="155" y="131"/>
                    </a:cubicBezTo>
                    <a:cubicBezTo>
                      <a:pt x="151" y="130"/>
                      <a:pt x="149" y="127"/>
                      <a:pt x="148" y="125"/>
                    </a:cubicBezTo>
                    <a:cubicBezTo>
                      <a:pt x="147" y="124"/>
                      <a:pt x="146" y="123"/>
                      <a:pt x="145" y="123"/>
                    </a:cubicBezTo>
                    <a:cubicBezTo>
                      <a:pt x="128" y="123"/>
                      <a:pt x="128" y="123"/>
                      <a:pt x="128" y="123"/>
                    </a:cubicBezTo>
                    <a:cubicBezTo>
                      <a:pt x="126" y="123"/>
                      <a:pt x="124" y="122"/>
                      <a:pt x="123" y="122"/>
                    </a:cubicBezTo>
                    <a:cubicBezTo>
                      <a:pt x="121" y="121"/>
                      <a:pt x="120" y="121"/>
                      <a:pt x="118" y="121"/>
                    </a:cubicBezTo>
                    <a:cubicBezTo>
                      <a:pt x="117" y="121"/>
                      <a:pt x="116" y="122"/>
                      <a:pt x="115" y="123"/>
                    </a:cubicBezTo>
                    <a:cubicBezTo>
                      <a:pt x="114" y="124"/>
                      <a:pt x="113" y="125"/>
                      <a:pt x="111" y="125"/>
                    </a:cubicBezTo>
                    <a:cubicBezTo>
                      <a:pt x="108" y="125"/>
                      <a:pt x="101" y="130"/>
                      <a:pt x="101" y="133"/>
                    </a:cubicBezTo>
                    <a:cubicBezTo>
                      <a:pt x="101" y="135"/>
                      <a:pt x="97" y="139"/>
                      <a:pt x="94" y="142"/>
                    </a:cubicBezTo>
                    <a:cubicBezTo>
                      <a:pt x="91" y="143"/>
                      <a:pt x="85" y="147"/>
                      <a:pt x="80" y="147"/>
                    </a:cubicBezTo>
                    <a:cubicBezTo>
                      <a:pt x="75" y="147"/>
                      <a:pt x="73" y="145"/>
                      <a:pt x="71" y="143"/>
                    </a:cubicBezTo>
                    <a:cubicBezTo>
                      <a:pt x="70" y="142"/>
                      <a:pt x="70" y="141"/>
                      <a:pt x="68" y="141"/>
                    </a:cubicBezTo>
                    <a:cubicBezTo>
                      <a:pt x="66" y="141"/>
                      <a:pt x="64" y="140"/>
                      <a:pt x="62" y="139"/>
                    </a:cubicBezTo>
                    <a:cubicBezTo>
                      <a:pt x="59" y="138"/>
                      <a:pt x="56" y="137"/>
                      <a:pt x="53" y="137"/>
                    </a:cubicBezTo>
                    <a:cubicBezTo>
                      <a:pt x="49" y="137"/>
                      <a:pt x="46" y="140"/>
                      <a:pt x="43" y="142"/>
                    </a:cubicBezTo>
                    <a:cubicBezTo>
                      <a:pt x="40" y="144"/>
                      <a:pt x="36" y="146"/>
                      <a:pt x="32" y="146"/>
                    </a:cubicBezTo>
                    <a:cubicBezTo>
                      <a:pt x="30" y="146"/>
                      <a:pt x="30" y="145"/>
                      <a:pt x="30" y="144"/>
                    </a:cubicBezTo>
                    <a:cubicBezTo>
                      <a:pt x="29" y="144"/>
                      <a:pt x="29" y="144"/>
                      <a:pt x="29" y="144"/>
                    </a:cubicBezTo>
                    <a:cubicBezTo>
                      <a:pt x="29" y="143"/>
                      <a:pt x="29" y="142"/>
                      <a:pt x="27" y="141"/>
                    </a:cubicBezTo>
                    <a:cubicBezTo>
                      <a:pt x="23" y="138"/>
                      <a:pt x="19" y="136"/>
                      <a:pt x="15" y="132"/>
                    </a:cubicBezTo>
                    <a:cubicBezTo>
                      <a:pt x="14" y="130"/>
                      <a:pt x="11" y="129"/>
                      <a:pt x="9" y="128"/>
                    </a:cubicBezTo>
                    <a:cubicBezTo>
                      <a:pt x="5" y="126"/>
                      <a:pt x="1" y="124"/>
                      <a:pt x="1" y="121"/>
                    </a:cubicBezTo>
                    <a:cubicBezTo>
                      <a:pt x="1" y="117"/>
                      <a:pt x="3" y="116"/>
                      <a:pt x="4" y="115"/>
                    </a:cubicBezTo>
                    <a:cubicBezTo>
                      <a:pt x="5" y="115"/>
                      <a:pt x="5" y="114"/>
                      <a:pt x="5" y="114"/>
                    </a:cubicBezTo>
                    <a:cubicBezTo>
                      <a:pt x="5" y="111"/>
                      <a:pt x="7" y="106"/>
                      <a:pt x="9" y="104"/>
                    </a:cubicBezTo>
                    <a:cubicBezTo>
                      <a:pt x="10" y="103"/>
                      <a:pt x="11" y="103"/>
                      <a:pt x="11" y="103"/>
                    </a:cubicBezTo>
                    <a:cubicBezTo>
                      <a:pt x="12" y="102"/>
                      <a:pt x="12" y="102"/>
                      <a:pt x="12" y="100"/>
                    </a:cubicBezTo>
                    <a:cubicBezTo>
                      <a:pt x="12" y="99"/>
                      <a:pt x="10" y="97"/>
                      <a:pt x="7" y="97"/>
                    </a:cubicBezTo>
                    <a:cubicBezTo>
                      <a:pt x="4" y="97"/>
                      <a:pt x="0" y="93"/>
                      <a:pt x="0" y="88"/>
                    </a:cubicBezTo>
                    <a:cubicBezTo>
                      <a:pt x="0" y="85"/>
                      <a:pt x="3" y="83"/>
                      <a:pt x="5" y="81"/>
                    </a:cubicBezTo>
                    <a:cubicBezTo>
                      <a:pt x="8" y="79"/>
                      <a:pt x="11" y="76"/>
                      <a:pt x="11" y="73"/>
                    </a:cubicBezTo>
                    <a:cubicBezTo>
                      <a:pt x="11" y="71"/>
                      <a:pt x="10" y="69"/>
                      <a:pt x="8" y="67"/>
                    </a:cubicBezTo>
                    <a:cubicBezTo>
                      <a:pt x="6" y="65"/>
                      <a:pt x="3" y="63"/>
                      <a:pt x="3" y="58"/>
                    </a:cubicBezTo>
                    <a:cubicBezTo>
                      <a:pt x="3" y="53"/>
                      <a:pt x="3" y="50"/>
                      <a:pt x="3" y="50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4" y="49"/>
                      <a:pt x="4" y="49"/>
                      <a:pt x="4" y="49"/>
                    </a:cubicBezTo>
                    <a:cubicBezTo>
                      <a:pt x="7" y="49"/>
                      <a:pt x="8" y="49"/>
                      <a:pt x="9" y="50"/>
                    </a:cubicBezTo>
                    <a:cubicBezTo>
                      <a:pt x="10" y="50"/>
                      <a:pt x="11" y="50"/>
                      <a:pt x="12" y="50"/>
                    </a:cubicBezTo>
                    <a:cubicBezTo>
                      <a:pt x="13" y="50"/>
                      <a:pt x="15" y="49"/>
                      <a:pt x="16" y="49"/>
                    </a:cubicBezTo>
                    <a:cubicBezTo>
                      <a:pt x="18" y="48"/>
                      <a:pt x="20" y="47"/>
                      <a:pt x="22" y="47"/>
                    </a:cubicBezTo>
                    <a:cubicBezTo>
                      <a:pt x="23" y="47"/>
                      <a:pt x="25" y="45"/>
                      <a:pt x="27" y="44"/>
                    </a:cubicBezTo>
                    <a:cubicBezTo>
                      <a:pt x="29" y="42"/>
                      <a:pt x="31" y="41"/>
                      <a:pt x="33" y="41"/>
                    </a:cubicBezTo>
                    <a:cubicBezTo>
                      <a:pt x="35" y="41"/>
                      <a:pt x="37" y="39"/>
                      <a:pt x="40" y="38"/>
                    </a:cubicBezTo>
                    <a:cubicBezTo>
                      <a:pt x="42" y="37"/>
                      <a:pt x="44" y="36"/>
                      <a:pt x="45" y="36"/>
                    </a:cubicBezTo>
                    <a:cubicBezTo>
                      <a:pt x="46" y="36"/>
                      <a:pt x="48" y="36"/>
                      <a:pt x="49" y="35"/>
                    </a:cubicBezTo>
                    <a:cubicBezTo>
                      <a:pt x="50" y="35"/>
                      <a:pt x="52" y="34"/>
                      <a:pt x="54" y="34"/>
                    </a:cubicBezTo>
                    <a:cubicBezTo>
                      <a:pt x="57" y="34"/>
                      <a:pt x="58" y="33"/>
                      <a:pt x="59" y="32"/>
                    </a:cubicBezTo>
                    <a:cubicBezTo>
                      <a:pt x="60" y="31"/>
                      <a:pt x="62" y="29"/>
                      <a:pt x="64" y="29"/>
                    </a:cubicBezTo>
                    <a:cubicBezTo>
                      <a:pt x="66" y="29"/>
                      <a:pt x="67" y="31"/>
                      <a:pt x="67" y="32"/>
                    </a:cubicBezTo>
                    <a:cubicBezTo>
                      <a:pt x="68" y="33"/>
                      <a:pt x="68" y="33"/>
                      <a:pt x="68" y="33"/>
                    </a:cubicBezTo>
                    <a:cubicBezTo>
                      <a:pt x="69" y="33"/>
                      <a:pt x="69" y="33"/>
                      <a:pt x="69" y="32"/>
                    </a:cubicBezTo>
                    <a:cubicBezTo>
                      <a:pt x="70" y="32"/>
                      <a:pt x="70" y="30"/>
                      <a:pt x="72" y="30"/>
                    </a:cubicBezTo>
                    <a:cubicBezTo>
                      <a:pt x="73" y="30"/>
                      <a:pt x="74" y="31"/>
                      <a:pt x="75" y="32"/>
                    </a:cubicBezTo>
                    <a:cubicBezTo>
                      <a:pt x="75" y="32"/>
                      <a:pt x="76" y="33"/>
                      <a:pt x="77" y="33"/>
                    </a:cubicBezTo>
                    <a:cubicBezTo>
                      <a:pt x="77" y="32"/>
                      <a:pt x="78" y="30"/>
                      <a:pt x="79" y="29"/>
                    </a:cubicBezTo>
                    <a:cubicBezTo>
                      <a:pt x="82" y="25"/>
                      <a:pt x="84" y="20"/>
                      <a:pt x="89" y="20"/>
                    </a:cubicBezTo>
                    <a:cubicBezTo>
                      <a:pt x="91" y="20"/>
                      <a:pt x="95" y="19"/>
                      <a:pt x="98" y="18"/>
                    </a:cubicBezTo>
                    <a:cubicBezTo>
                      <a:pt x="101" y="17"/>
                      <a:pt x="104" y="17"/>
                      <a:pt x="107" y="17"/>
                    </a:cubicBezTo>
                    <a:cubicBezTo>
                      <a:pt x="109" y="17"/>
                      <a:pt x="111" y="16"/>
                      <a:pt x="112" y="16"/>
                    </a:cubicBezTo>
                    <a:cubicBezTo>
                      <a:pt x="113" y="15"/>
                      <a:pt x="114" y="15"/>
                      <a:pt x="115" y="15"/>
                    </a:cubicBezTo>
                    <a:cubicBezTo>
                      <a:pt x="117" y="15"/>
                      <a:pt x="118" y="16"/>
                      <a:pt x="119" y="17"/>
                    </a:cubicBezTo>
                    <a:cubicBezTo>
                      <a:pt x="120" y="18"/>
                      <a:pt x="120" y="19"/>
                      <a:pt x="122" y="19"/>
                    </a:cubicBezTo>
                    <a:cubicBezTo>
                      <a:pt x="124" y="19"/>
                      <a:pt x="125" y="18"/>
                      <a:pt x="126" y="17"/>
                    </a:cubicBezTo>
                    <a:cubicBezTo>
                      <a:pt x="127" y="16"/>
                      <a:pt x="127" y="15"/>
                      <a:pt x="129" y="15"/>
                    </a:cubicBezTo>
                    <a:cubicBezTo>
                      <a:pt x="129" y="15"/>
                      <a:pt x="130" y="15"/>
                      <a:pt x="130" y="15"/>
                    </a:cubicBezTo>
                    <a:cubicBezTo>
                      <a:pt x="130" y="14"/>
                      <a:pt x="130" y="14"/>
                      <a:pt x="130" y="14"/>
                    </a:cubicBezTo>
                    <a:cubicBezTo>
                      <a:pt x="131" y="14"/>
                      <a:pt x="131" y="14"/>
                      <a:pt x="131" y="14"/>
                    </a:cubicBezTo>
                    <a:cubicBezTo>
                      <a:pt x="131" y="14"/>
                      <a:pt x="132" y="14"/>
                      <a:pt x="133" y="14"/>
                    </a:cubicBezTo>
                    <a:cubicBezTo>
                      <a:pt x="136" y="14"/>
                      <a:pt x="137" y="14"/>
                      <a:pt x="137" y="13"/>
                    </a:cubicBezTo>
                    <a:cubicBezTo>
                      <a:pt x="137" y="9"/>
                      <a:pt x="141" y="9"/>
                      <a:pt x="145" y="9"/>
                    </a:cubicBezTo>
                    <a:cubicBezTo>
                      <a:pt x="146" y="9"/>
                      <a:pt x="147" y="8"/>
                      <a:pt x="149" y="6"/>
                    </a:cubicBezTo>
                    <a:cubicBezTo>
                      <a:pt x="151" y="5"/>
                      <a:pt x="154" y="2"/>
                      <a:pt x="157" y="2"/>
                    </a:cubicBezTo>
                    <a:cubicBezTo>
                      <a:pt x="160" y="2"/>
                      <a:pt x="163" y="4"/>
                      <a:pt x="164" y="6"/>
                    </a:cubicBezTo>
                    <a:cubicBezTo>
                      <a:pt x="165" y="7"/>
                      <a:pt x="166" y="8"/>
                      <a:pt x="167" y="8"/>
                    </a:cubicBezTo>
                    <a:cubicBezTo>
                      <a:pt x="169" y="8"/>
                      <a:pt x="170" y="10"/>
                      <a:pt x="171" y="11"/>
                    </a:cubicBezTo>
                    <a:cubicBezTo>
                      <a:pt x="172" y="13"/>
                      <a:pt x="173" y="14"/>
                      <a:pt x="174" y="14"/>
                    </a:cubicBezTo>
                    <a:cubicBezTo>
                      <a:pt x="177" y="14"/>
                      <a:pt x="181" y="12"/>
                      <a:pt x="181" y="9"/>
                    </a:cubicBezTo>
                    <a:cubicBezTo>
                      <a:pt x="181" y="4"/>
                      <a:pt x="187" y="1"/>
                      <a:pt x="187" y="0"/>
                    </a:cubicBezTo>
                    <a:cubicBezTo>
                      <a:pt x="188" y="0"/>
                      <a:pt x="188" y="0"/>
                      <a:pt x="188" y="0"/>
                    </a:cubicBezTo>
                    <a:cubicBezTo>
                      <a:pt x="188" y="0"/>
                      <a:pt x="188" y="0"/>
                      <a:pt x="188" y="0"/>
                    </a:cubicBezTo>
                    <a:cubicBezTo>
                      <a:pt x="188" y="0"/>
                      <a:pt x="189" y="0"/>
                      <a:pt x="190" y="0"/>
                    </a:cubicBezTo>
                    <a:cubicBezTo>
                      <a:pt x="192" y="0"/>
                      <a:pt x="195" y="1"/>
                      <a:pt x="198" y="3"/>
                    </a:cubicBezTo>
                    <a:cubicBezTo>
                      <a:pt x="202" y="6"/>
                      <a:pt x="206" y="9"/>
                      <a:pt x="217" y="9"/>
                    </a:cubicBezTo>
                    <a:cubicBezTo>
                      <a:pt x="223" y="9"/>
                      <a:pt x="228" y="8"/>
                      <a:pt x="231" y="7"/>
                    </a:cubicBezTo>
                    <a:cubicBezTo>
                      <a:pt x="234" y="6"/>
                      <a:pt x="236" y="6"/>
                      <a:pt x="238" y="6"/>
                    </a:cubicBezTo>
                    <a:cubicBezTo>
                      <a:pt x="240" y="6"/>
                      <a:pt x="242" y="8"/>
                      <a:pt x="244" y="10"/>
                    </a:cubicBezTo>
                    <a:cubicBezTo>
                      <a:pt x="247" y="13"/>
                      <a:pt x="249" y="16"/>
                      <a:pt x="253" y="16"/>
                    </a:cubicBezTo>
                    <a:cubicBezTo>
                      <a:pt x="257" y="16"/>
                      <a:pt x="259" y="17"/>
                      <a:pt x="259" y="19"/>
                    </a:cubicBezTo>
                    <a:cubicBezTo>
                      <a:pt x="259" y="19"/>
                      <a:pt x="259" y="20"/>
                      <a:pt x="259" y="20"/>
                    </a:cubicBezTo>
                    <a:cubicBezTo>
                      <a:pt x="259" y="22"/>
                      <a:pt x="259" y="25"/>
                      <a:pt x="258" y="29"/>
                    </a:cubicBezTo>
                    <a:cubicBezTo>
                      <a:pt x="257" y="30"/>
                      <a:pt x="257" y="31"/>
                      <a:pt x="256" y="31"/>
                    </a:cubicBezTo>
                    <a:cubicBezTo>
                      <a:pt x="255" y="34"/>
                      <a:pt x="254" y="36"/>
                      <a:pt x="254" y="38"/>
                    </a:cubicBezTo>
                    <a:cubicBezTo>
                      <a:pt x="254" y="39"/>
                      <a:pt x="253" y="41"/>
                      <a:pt x="253" y="42"/>
                    </a:cubicBezTo>
                    <a:cubicBezTo>
                      <a:pt x="252" y="44"/>
                      <a:pt x="251" y="46"/>
                      <a:pt x="251" y="49"/>
                    </a:cubicBezTo>
                    <a:cubicBezTo>
                      <a:pt x="251" y="52"/>
                      <a:pt x="252" y="56"/>
                      <a:pt x="252" y="59"/>
                    </a:cubicBezTo>
                    <a:cubicBezTo>
                      <a:pt x="253" y="61"/>
                      <a:pt x="253" y="64"/>
                      <a:pt x="253" y="66"/>
                    </a:cubicBezTo>
                    <a:cubicBezTo>
                      <a:pt x="253" y="69"/>
                      <a:pt x="253" y="69"/>
                      <a:pt x="253" y="69"/>
                    </a:cubicBezTo>
                    <a:cubicBezTo>
                      <a:pt x="253" y="70"/>
                      <a:pt x="253" y="70"/>
                      <a:pt x="253" y="70"/>
                    </a:cubicBezTo>
                    <a:cubicBezTo>
                      <a:pt x="252" y="70"/>
                      <a:pt x="252" y="70"/>
                      <a:pt x="252" y="70"/>
                    </a:cubicBezTo>
                    <a:cubicBezTo>
                      <a:pt x="240" y="70"/>
                      <a:pt x="240" y="70"/>
                      <a:pt x="240" y="70"/>
                    </a:cubicBezTo>
                    <a:cubicBezTo>
                      <a:pt x="235" y="70"/>
                      <a:pt x="234" y="73"/>
                      <a:pt x="232" y="76"/>
                    </a:cubicBezTo>
                    <a:cubicBezTo>
                      <a:pt x="232" y="76"/>
                      <a:pt x="232" y="76"/>
                      <a:pt x="232" y="76"/>
                    </a:cubicBezTo>
                    <a:cubicBezTo>
                      <a:pt x="231" y="79"/>
                      <a:pt x="230" y="81"/>
                      <a:pt x="227" y="81"/>
                    </a:cubicBezTo>
                    <a:cubicBezTo>
                      <a:pt x="226" y="81"/>
                      <a:pt x="225" y="79"/>
                      <a:pt x="224" y="78"/>
                    </a:cubicBezTo>
                    <a:cubicBezTo>
                      <a:pt x="224" y="76"/>
                      <a:pt x="223" y="75"/>
                      <a:pt x="222" y="75"/>
                    </a:cubicBezTo>
                    <a:cubicBezTo>
                      <a:pt x="219" y="75"/>
                      <a:pt x="210" y="82"/>
                      <a:pt x="210" y="92"/>
                    </a:cubicBezTo>
                    <a:cubicBezTo>
                      <a:pt x="210" y="98"/>
                      <a:pt x="211" y="99"/>
                      <a:pt x="216" y="99"/>
                    </a:cubicBezTo>
                    <a:cubicBezTo>
                      <a:pt x="217" y="99"/>
                      <a:pt x="218" y="99"/>
                      <a:pt x="220" y="99"/>
                    </a:cubicBezTo>
                    <a:cubicBezTo>
                      <a:pt x="221" y="99"/>
                      <a:pt x="222" y="99"/>
                      <a:pt x="223" y="99"/>
                    </a:cubicBezTo>
                    <a:cubicBezTo>
                      <a:pt x="226" y="99"/>
                      <a:pt x="228" y="100"/>
                      <a:pt x="230" y="102"/>
                    </a:cubicBezTo>
                    <a:cubicBezTo>
                      <a:pt x="235" y="106"/>
                      <a:pt x="238" y="108"/>
                      <a:pt x="241" y="108"/>
                    </a:cubicBezTo>
                    <a:cubicBezTo>
                      <a:pt x="241" y="108"/>
                      <a:pt x="242" y="108"/>
                      <a:pt x="243" y="108"/>
                    </a:cubicBezTo>
                    <a:cubicBezTo>
                      <a:pt x="243" y="108"/>
                      <a:pt x="244" y="108"/>
                      <a:pt x="245" y="108"/>
                    </a:cubicBezTo>
                    <a:cubicBezTo>
                      <a:pt x="248" y="108"/>
                      <a:pt x="250" y="109"/>
                      <a:pt x="250" y="113"/>
                    </a:cubicBezTo>
                    <a:cubicBezTo>
                      <a:pt x="250" y="113"/>
                      <a:pt x="250" y="113"/>
                      <a:pt x="250" y="113"/>
                    </a:cubicBezTo>
                    <a:cubicBezTo>
                      <a:pt x="250" y="118"/>
                      <a:pt x="250" y="125"/>
                      <a:pt x="258" y="128"/>
                    </a:cubicBezTo>
                    <a:cubicBezTo>
                      <a:pt x="262" y="130"/>
                      <a:pt x="262" y="134"/>
                      <a:pt x="261" y="139"/>
                    </a:cubicBezTo>
                    <a:cubicBezTo>
                      <a:pt x="261" y="140"/>
                      <a:pt x="261" y="142"/>
                      <a:pt x="261" y="144"/>
                    </a:cubicBezTo>
                    <a:cubicBezTo>
                      <a:pt x="261" y="146"/>
                      <a:pt x="261" y="147"/>
                      <a:pt x="261" y="149"/>
                    </a:cubicBezTo>
                    <a:cubicBezTo>
                      <a:pt x="261" y="149"/>
                      <a:pt x="261" y="149"/>
                      <a:pt x="261" y="149"/>
                    </a:cubicBezTo>
                    <a:cubicBezTo>
                      <a:pt x="261" y="150"/>
                      <a:pt x="261" y="150"/>
                      <a:pt x="261" y="150"/>
                    </a:cubicBezTo>
                    <a:cubicBezTo>
                      <a:pt x="260" y="150"/>
                      <a:pt x="260" y="150"/>
                      <a:pt x="260" y="150"/>
                    </a:cubicBezTo>
                    <a:cubicBezTo>
                      <a:pt x="260" y="150"/>
                      <a:pt x="259" y="150"/>
                      <a:pt x="257" y="150"/>
                    </a:cubicBezTo>
                    <a:cubicBezTo>
                      <a:pt x="256" y="150"/>
                      <a:pt x="254" y="150"/>
                      <a:pt x="253" y="151"/>
                    </a:cubicBezTo>
                    <a:cubicBezTo>
                      <a:pt x="253" y="151"/>
                      <a:pt x="253" y="151"/>
                      <a:pt x="252" y="151"/>
                    </a:cubicBezTo>
                    <a:cubicBezTo>
                      <a:pt x="249" y="153"/>
                      <a:pt x="247" y="154"/>
                      <a:pt x="244" y="154"/>
                    </a:cubicBezTo>
                    <a:cubicBezTo>
                      <a:pt x="240" y="154"/>
                      <a:pt x="238" y="152"/>
                      <a:pt x="235" y="149"/>
                    </a:cubicBezTo>
                    <a:cubicBezTo>
                      <a:pt x="233" y="148"/>
                      <a:pt x="231" y="146"/>
                      <a:pt x="229" y="146"/>
                    </a:cubicBezTo>
                    <a:cubicBezTo>
                      <a:pt x="227" y="146"/>
                      <a:pt x="225" y="145"/>
                      <a:pt x="224" y="145"/>
                    </a:cubicBezTo>
                    <a:cubicBezTo>
                      <a:pt x="222" y="144"/>
                      <a:pt x="220" y="143"/>
                      <a:pt x="218" y="143"/>
                    </a:cubicBezTo>
                    <a:cubicBezTo>
                      <a:pt x="217" y="143"/>
                      <a:pt x="215" y="145"/>
                      <a:pt x="214" y="147"/>
                    </a:cubicBezTo>
                    <a:cubicBezTo>
                      <a:pt x="212" y="150"/>
                      <a:pt x="210" y="153"/>
                      <a:pt x="206" y="153"/>
                    </a:cubicBezTo>
                    <a:cubicBezTo>
                      <a:pt x="195" y="153"/>
                      <a:pt x="195" y="153"/>
                      <a:pt x="195" y="153"/>
                    </a:cubicBezTo>
                    <a:cubicBezTo>
                      <a:pt x="194" y="153"/>
                      <a:pt x="193" y="154"/>
                      <a:pt x="192" y="155"/>
                    </a:cubicBezTo>
                    <a:cubicBezTo>
                      <a:pt x="191" y="156"/>
                      <a:pt x="189" y="157"/>
                      <a:pt x="187" y="157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64" name="Freeform 39"/>
              <p:cNvSpPr>
                <a:spLocks/>
              </p:cNvSpPr>
              <p:nvPr/>
            </p:nvSpPr>
            <p:spPr bwMode="auto">
              <a:xfrm>
                <a:off x="1613" y="3406"/>
                <a:ext cx="623" cy="353"/>
              </a:xfrm>
              <a:custGeom>
                <a:avLst/>
                <a:gdLst>
                  <a:gd name="T0" fmla="*/ 192 w 263"/>
                  <a:gd name="T1" fmla="*/ 25 h 149"/>
                  <a:gd name="T2" fmla="*/ 219 w 263"/>
                  <a:gd name="T3" fmla="*/ 30 h 149"/>
                  <a:gd name="T4" fmla="*/ 237 w 263"/>
                  <a:gd name="T5" fmla="*/ 34 h 149"/>
                  <a:gd name="T6" fmla="*/ 246 w 263"/>
                  <a:gd name="T7" fmla="*/ 31 h 149"/>
                  <a:gd name="T8" fmla="*/ 254 w 263"/>
                  <a:gd name="T9" fmla="*/ 34 h 149"/>
                  <a:gd name="T10" fmla="*/ 256 w 263"/>
                  <a:gd name="T11" fmla="*/ 57 h 149"/>
                  <a:gd name="T12" fmla="*/ 263 w 263"/>
                  <a:gd name="T13" fmla="*/ 62 h 149"/>
                  <a:gd name="T14" fmla="*/ 249 w 263"/>
                  <a:gd name="T15" fmla="*/ 78 h 149"/>
                  <a:gd name="T16" fmla="*/ 233 w 263"/>
                  <a:gd name="T17" fmla="*/ 80 h 149"/>
                  <a:gd name="T18" fmla="*/ 235 w 263"/>
                  <a:gd name="T19" fmla="*/ 70 h 149"/>
                  <a:gd name="T20" fmla="*/ 227 w 263"/>
                  <a:gd name="T21" fmla="*/ 67 h 149"/>
                  <a:gd name="T22" fmla="*/ 226 w 263"/>
                  <a:gd name="T23" fmla="*/ 73 h 149"/>
                  <a:gd name="T24" fmla="*/ 209 w 263"/>
                  <a:gd name="T25" fmla="*/ 81 h 149"/>
                  <a:gd name="T26" fmla="*/ 180 w 263"/>
                  <a:gd name="T27" fmla="*/ 80 h 149"/>
                  <a:gd name="T28" fmla="*/ 165 w 263"/>
                  <a:gd name="T29" fmla="*/ 82 h 149"/>
                  <a:gd name="T30" fmla="*/ 140 w 263"/>
                  <a:gd name="T31" fmla="*/ 92 h 149"/>
                  <a:gd name="T32" fmla="*/ 121 w 263"/>
                  <a:gd name="T33" fmla="*/ 93 h 149"/>
                  <a:gd name="T34" fmla="*/ 120 w 263"/>
                  <a:gd name="T35" fmla="*/ 103 h 149"/>
                  <a:gd name="T36" fmla="*/ 133 w 263"/>
                  <a:gd name="T37" fmla="*/ 109 h 149"/>
                  <a:gd name="T38" fmla="*/ 121 w 263"/>
                  <a:gd name="T39" fmla="*/ 129 h 149"/>
                  <a:gd name="T40" fmla="*/ 93 w 263"/>
                  <a:gd name="T41" fmla="*/ 143 h 149"/>
                  <a:gd name="T42" fmla="*/ 78 w 263"/>
                  <a:gd name="T43" fmla="*/ 144 h 149"/>
                  <a:gd name="T44" fmla="*/ 69 w 263"/>
                  <a:gd name="T45" fmla="*/ 148 h 149"/>
                  <a:gd name="T46" fmla="*/ 62 w 263"/>
                  <a:gd name="T47" fmla="*/ 134 h 149"/>
                  <a:gd name="T48" fmla="*/ 46 w 263"/>
                  <a:gd name="T49" fmla="*/ 126 h 149"/>
                  <a:gd name="T50" fmla="*/ 28 w 263"/>
                  <a:gd name="T51" fmla="*/ 102 h 149"/>
                  <a:gd name="T52" fmla="*/ 10 w 263"/>
                  <a:gd name="T53" fmla="*/ 78 h 149"/>
                  <a:gd name="T54" fmla="*/ 6 w 263"/>
                  <a:gd name="T55" fmla="*/ 60 h 149"/>
                  <a:gd name="T56" fmla="*/ 33 w 263"/>
                  <a:gd name="T57" fmla="*/ 48 h 149"/>
                  <a:gd name="T58" fmla="*/ 76 w 263"/>
                  <a:gd name="T59" fmla="*/ 49 h 149"/>
                  <a:gd name="T60" fmla="*/ 77 w 263"/>
                  <a:gd name="T61" fmla="*/ 19 h 149"/>
                  <a:gd name="T62" fmla="*/ 125 w 263"/>
                  <a:gd name="T63" fmla="*/ 0 h 149"/>
                  <a:gd name="T64" fmla="*/ 169 w 263"/>
                  <a:gd name="T65" fmla="*/ 6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63" h="149">
                    <a:moveTo>
                      <a:pt x="180" y="8"/>
                    </a:moveTo>
                    <a:cubicBezTo>
                      <a:pt x="186" y="11"/>
                      <a:pt x="189" y="21"/>
                      <a:pt x="192" y="25"/>
                    </a:cubicBezTo>
                    <a:cubicBezTo>
                      <a:pt x="195" y="29"/>
                      <a:pt x="201" y="37"/>
                      <a:pt x="207" y="37"/>
                    </a:cubicBezTo>
                    <a:cubicBezTo>
                      <a:pt x="213" y="37"/>
                      <a:pt x="213" y="30"/>
                      <a:pt x="219" y="30"/>
                    </a:cubicBezTo>
                    <a:cubicBezTo>
                      <a:pt x="224" y="30"/>
                      <a:pt x="226" y="37"/>
                      <a:pt x="230" y="37"/>
                    </a:cubicBezTo>
                    <a:cubicBezTo>
                      <a:pt x="234" y="37"/>
                      <a:pt x="234" y="34"/>
                      <a:pt x="237" y="34"/>
                    </a:cubicBezTo>
                    <a:cubicBezTo>
                      <a:pt x="240" y="34"/>
                      <a:pt x="239" y="38"/>
                      <a:pt x="241" y="38"/>
                    </a:cubicBezTo>
                    <a:cubicBezTo>
                      <a:pt x="243" y="38"/>
                      <a:pt x="243" y="35"/>
                      <a:pt x="246" y="31"/>
                    </a:cubicBezTo>
                    <a:cubicBezTo>
                      <a:pt x="249" y="28"/>
                      <a:pt x="254" y="28"/>
                      <a:pt x="254" y="28"/>
                    </a:cubicBezTo>
                    <a:cubicBezTo>
                      <a:pt x="254" y="30"/>
                      <a:pt x="254" y="33"/>
                      <a:pt x="254" y="34"/>
                    </a:cubicBezTo>
                    <a:cubicBezTo>
                      <a:pt x="254" y="37"/>
                      <a:pt x="258" y="39"/>
                      <a:pt x="258" y="44"/>
                    </a:cubicBezTo>
                    <a:cubicBezTo>
                      <a:pt x="258" y="48"/>
                      <a:pt x="256" y="54"/>
                      <a:pt x="256" y="57"/>
                    </a:cubicBezTo>
                    <a:cubicBezTo>
                      <a:pt x="256" y="60"/>
                      <a:pt x="257" y="61"/>
                      <a:pt x="260" y="61"/>
                    </a:cubicBezTo>
                    <a:cubicBezTo>
                      <a:pt x="261" y="61"/>
                      <a:pt x="263" y="60"/>
                      <a:pt x="263" y="62"/>
                    </a:cubicBezTo>
                    <a:cubicBezTo>
                      <a:pt x="263" y="64"/>
                      <a:pt x="260" y="64"/>
                      <a:pt x="258" y="67"/>
                    </a:cubicBezTo>
                    <a:cubicBezTo>
                      <a:pt x="256" y="70"/>
                      <a:pt x="255" y="78"/>
                      <a:pt x="249" y="78"/>
                    </a:cubicBezTo>
                    <a:cubicBezTo>
                      <a:pt x="240" y="78"/>
                      <a:pt x="240" y="78"/>
                      <a:pt x="240" y="78"/>
                    </a:cubicBezTo>
                    <a:cubicBezTo>
                      <a:pt x="237" y="78"/>
                      <a:pt x="235" y="80"/>
                      <a:pt x="233" y="80"/>
                    </a:cubicBezTo>
                    <a:cubicBezTo>
                      <a:pt x="230" y="80"/>
                      <a:pt x="230" y="78"/>
                      <a:pt x="231" y="76"/>
                    </a:cubicBezTo>
                    <a:cubicBezTo>
                      <a:pt x="233" y="74"/>
                      <a:pt x="235" y="72"/>
                      <a:pt x="235" y="70"/>
                    </a:cubicBezTo>
                    <a:cubicBezTo>
                      <a:pt x="235" y="67"/>
                      <a:pt x="233" y="65"/>
                      <a:pt x="230" y="65"/>
                    </a:cubicBezTo>
                    <a:cubicBezTo>
                      <a:pt x="228" y="65"/>
                      <a:pt x="227" y="65"/>
                      <a:pt x="227" y="67"/>
                    </a:cubicBezTo>
                    <a:cubicBezTo>
                      <a:pt x="227" y="69"/>
                      <a:pt x="229" y="70"/>
                      <a:pt x="229" y="71"/>
                    </a:cubicBezTo>
                    <a:cubicBezTo>
                      <a:pt x="229" y="73"/>
                      <a:pt x="228" y="74"/>
                      <a:pt x="226" y="73"/>
                    </a:cubicBezTo>
                    <a:cubicBezTo>
                      <a:pt x="224" y="72"/>
                      <a:pt x="224" y="71"/>
                      <a:pt x="221" y="71"/>
                    </a:cubicBezTo>
                    <a:cubicBezTo>
                      <a:pt x="218" y="71"/>
                      <a:pt x="218" y="81"/>
                      <a:pt x="209" y="81"/>
                    </a:cubicBezTo>
                    <a:cubicBezTo>
                      <a:pt x="201" y="81"/>
                      <a:pt x="199" y="78"/>
                      <a:pt x="193" y="78"/>
                    </a:cubicBezTo>
                    <a:cubicBezTo>
                      <a:pt x="187" y="78"/>
                      <a:pt x="185" y="80"/>
                      <a:pt x="180" y="80"/>
                    </a:cubicBezTo>
                    <a:cubicBezTo>
                      <a:pt x="176" y="80"/>
                      <a:pt x="175" y="79"/>
                      <a:pt x="173" y="79"/>
                    </a:cubicBezTo>
                    <a:cubicBezTo>
                      <a:pt x="170" y="79"/>
                      <a:pt x="169" y="82"/>
                      <a:pt x="165" y="82"/>
                    </a:cubicBezTo>
                    <a:cubicBezTo>
                      <a:pt x="157" y="82"/>
                      <a:pt x="153" y="86"/>
                      <a:pt x="150" y="86"/>
                    </a:cubicBezTo>
                    <a:cubicBezTo>
                      <a:pt x="147" y="86"/>
                      <a:pt x="145" y="92"/>
                      <a:pt x="140" y="92"/>
                    </a:cubicBezTo>
                    <a:cubicBezTo>
                      <a:pt x="131" y="92"/>
                      <a:pt x="133" y="99"/>
                      <a:pt x="128" y="99"/>
                    </a:cubicBezTo>
                    <a:cubicBezTo>
                      <a:pt x="124" y="99"/>
                      <a:pt x="125" y="93"/>
                      <a:pt x="121" y="93"/>
                    </a:cubicBezTo>
                    <a:cubicBezTo>
                      <a:pt x="116" y="93"/>
                      <a:pt x="117" y="95"/>
                      <a:pt x="117" y="97"/>
                    </a:cubicBezTo>
                    <a:cubicBezTo>
                      <a:pt x="117" y="100"/>
                      <a:pt x="120" y="100"/>
                      <a:pt x="120" y="103"/>
                    </a:cubicBezTo>
                    <a:cubicBezTo>
                      <a:pt x="120" y="106"/>
                      <a:pt x="122" y="107"/>
                      <a:pt x="124" y="107"/>
                    </a:cubicBezTo>
                    <a:cubicBezTo>
                      <a:pt x="127" y="107"/>
                      <a:pt x="133" y="106"/>
                      <a:pt x="133" y="109"/>
                    </a:cubicBezTo>
                    <a:cubicBezTo>
                      <a:pt x="133" y="114"/>
                      <a:pt x="122" y="115"/>
                      <a:pt x="123" y="120"/>
                    </a:cubicBezTo>
                    <a:cubicBezTo>
                      <a:pt x="125" y="125"/>
                      <a:pt x="123" y="128"/>
                      <a:pt x="121" y="129"/>
                    </a:cubicBezTo>
                    <a:cubicBezTo>
                      <a:pt x="117" y="131"/>
                      <a:pt x="114" y="134"/>
                      <a:pt x="104" y="135"/>
                    </a:cubicBezTo>
                    <a:cubicBezTo>
                      <a:pt x="95" y="136"/>
                      <a:pt x="93" y="139"/>
                      <a:pt x="93" y="143"/>
                    </a:cubicBezTo>
                    <a:cubicBezTo>
                      <a:pt x="93" y="148"/>
                      <a:pt x="91" y="149"/>
                      <a:pt x="87" y="149"/>
                    </a:cubicBezTo>
                    <a:cubicBezTo>
                      <a:pt x="82" y="149"/>
                      <a:pt x="81" y="144"/>
                      <a:pt x="78" y="144"/>
                    </a:cubicBezTo>
                    <a:cubicBezTo>
                      <a:pt x="74" y="144"/>
                      <a:pt x="75" y="148"/>
                      <a:pt x="71" y="148"/>
                    </a:cubicBezTo>
                    <a:cubicBezTo>
                      <a:pt x="70" y="148"/>
                      <a:pt x="70" y="148"/>
                      <a:pt x="69" y="148"/>
                    </a:cubicBezTo>
                    <a:cubicBezTo>
                      <a:pt x="69" y="140"/>
                      <a:pt x="69" y="140"/>
                      <a:pt x="69" y="140"/>
                    </a:cubicBezTo>
                    <a:cubicBezTo>
                      <a:pt x="69" y="136"/>
                      <a:pt x="66" y="134"/>
                      <a:pt x="62" y="134"/>
                    </a:cubicBezTo>
                    <a:cubicBezTo>
                      <a:pt x="53" y="134"/>
                      <a:pt x="53" y="134"/>
                      <a:pt x="53" y="134"/>
                    </a:cubicBezTo>
                    <a:cubicBezTo>
                      <a:pt x="50" y="134"/>
                      <a:pt x="48" y="130"/>
                      <a:pt x="46" y="126"/>
                    </a:cubicBezTo>
                    <a:cubicBezTo>
                      <a:pt x="44" y="121"/>
                      <a:pt x="42" y="119"/>
                      <a:pt x="38" y="116"/>
                    </a:cubicBezTo>
                    <a:cubicBezTo>
                      <a:pt x="33" y="112"/>
                      <a:pt x="28" y="108"/>
                      <a:pt x="28" y="102"/>
                    </a:cubicBezTo>
                    <a:cubicBezTo>
                      <a:pt x="28" y="97"/>
                      <a:pt x="22" y="86"/>
                      <a:pt x="16" y="83"/>
                    </a:cubicBezTo>
                    <a:cubicBezTo>
                      <a:pt x="12" y="82"/>
                      <a:pt x="10" y="80"/>
                      <a:pt x="10" y="78"/>
                    </a:cubicBezTo>
                    <a:cubicBezTo>
                      <a:pt x="10" y="75"/>
                      <a:pt x="0" y="74"/>
                      <a:pt x="0" y="69"/>
                    </a:cubicBezTo>
                    <a:cubicBezTo>
                      <a:pt x="0" y="65"/>
                      <a:pt x="3" y="63"/>
                      <a:pt x="6" y="60"/>
                    </a:cubicBezTo>
                    <a:cubicBezTo>
                      <a:pt x="9" y="57"/>
                      <a:pt x="10" y="53"/>
                      <a:pt x="15" y="53"/>
                    </a:cubicBezTo>
                    <a:cubicBezTo>
                      <a:pt x="21" y="53"/>
                      <a:pt x="33" y="54"/>
                      <a:pt x="33" y="48"/>
                    </a:cubicBezTo>
                    <a:cubicBezTo>
                      <a:pt x="33" y="42"/>
                      <a:pt x="36" y="42"/>
                      <a:pt x="39" y="42"/>
                    </a:cubicBezTo>
                    <a:cubicBezTo>
                      <a:pt x="45" y="42"/>
                      <a:pt x="54" y="49"/>
                      <a:pt x="76" y="49"/>
                    </a:cubicBezTo>
                    <a:cubicBezTo>
                      <a:pt x="84" y="49"/>
                      <a:pt x="90" y="48"/>
                      <a:pt x="90" y="42"/>
                    </a:cubicBezTo>
                    <a:cubicBezTo>
                      <a:pt x="90" y="33"/>
                      <a:pt x="77" y="34"/>
                      <a:pt x="77" y="19"/>
                    </a:cubicBezTo>
                    <a:cubicBezTo>
                      <a:pt x="77" y="14"/>
                      <a:pt x="79" y="3"/>
                      <a:pt x="92" y="3"/>
                    </a:cubicBezTo>
                    <a:cubicBezTo>
                      <a:pt x="105" y="3"/>
                      <a:pt x="114" y="0"/>
                      <a:pt x="125" y="0"/>
                    </a:cubicBezTo>
                    <a:cubicBezTo>
                      <a:pt x="144" y="0"/>
                      <a:pt x="140" y="3"/>
                      <a:pt x="145" y="3"/>
                    </a:cubicBezTo>
                    <a:cubicBezTo>
                      <a:pt x="155" y="3"/>
                      <a:pt x="163" y="4"/>
                      <a:pt x="169" y="6"/>
                    </a:cubicBezTo>
                    <a:cubicBezTo>
                      <a:pt x="176" y="7"/>
                      <a:pt x="180" y="8"/>
                      <a:pt x="180" y="8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65" name="Freeform 40"/>
              <p:cNvSpPr>
                <a:spLocks/>
              </p:cNvSpPr>
              <p:nvPr/>
            </p:nvSpPr>
            <p:spPr bwMode="auto">
              <a:xfrm>
                <a:off x="396" y="3209"/>
                <a:ext cx="708" cy="746"/>
              </a:xfrm>
              <a:custGeom>
                <a:avLst/>
                <a:gdLst>
                  <a:gd name="T0" fmla="*/ 147 w 299"/>
                  <a:gd name="T1" fmla="*/ 290 h 315"/>
                  <a:gd name="T2" fmla="*/ 163 w 299"/>
                  <a:gd name="T3" fmla="*/ 267 h 315"/>
                  <a:gd name="T4" fmla="*/ 185 w 299"/>
                  <a:gd name="T5" fmla="*/ 255 h 315"/>
                  <a:gd name="T6" fmla="*/ 145 w 299"/>
                  <a:gd name="T7" fmla="*/ 271 h 315"/>
                  <a:gd name="T8" fmla="*/ 128 w 299"/>
                  <a:gd name="T9" fmla="*/ 274 h 315"/>
                  <a:gd name="T10" fmla="*/ 105 w 299"/>
                  <a:gd name="T11" fmla="*/ 283 h 315"/>
                  <a:gd name="T12" fmla="*/ 76 w 299"/>
                  <a:gd name="T13" fmla="*/ 296 h 315"/>
                  <a:gd name="T14" fmla="*/ 50 w 299"/>
                  <a:gd name="T15" fmla="*/ 285 h 315"/>
                  <a:gd name="T16" fmla="*/ 53 w 299"/>
                  <a:gd name="T17" fmla="*/ 260 h 315"/>
                  <a:gd name="T18" fmla="*/ 24 w 299"/>
                  <a:gd name="T19" fmla="*/ 276 h 315"/>
                  <a:gd name="T20" fmla="*/ 17 w 299"/>
                  <a:gd name="T21" fmla="*/ 251 h 315"/>
                  <a:gd name="T22" fmla="*/ 42 w 299"/>
                  <a:gd name="T23" fmla="*/ 237 h 315"/>
                  <a:gd name="T24" fmla="*/ 37 w 299"/>
                  <a:gd name="T25" fmla="*/ 222 h 315"/>
                  <a:gd name="T26" fmla="*/ 51 w 299"/>
                  <a:gd name="T27" fmla="*/ 206 h 315"/>
                  <a:gd name="T28" fmla="*/ 92 w 299"/>
                  <a:gd name="T29" fmla="*/ 192 h 315"/>
                  <a:gd name="T30" fmla="*/ 113 w 299"/>
                  <a:gd name="T31" fmla="*/ 182 h 315"/>
                  <a:gd name="T32" fmla="*/ 119 w 299"/>
                  <a:gd name="T33" fmla="*/ 174 h 315"/>
                  <a:gd name="T34" fmla="*/ 145 w 299"/>
                  <a:gd name="T35" fmla="*/ 162 h 315"/>
                  <a:gd name="T36" fmla="*/ 129 w 299"/>
                  <a:gd name="T37" fmla="*/ 152 h 315"/>
                  <a:gd name="T38" fmla="*/ 115 w 299"/>
                  <a:gd name="T39" fmla="*/ 167 h 315"/>
                  <a:gd name="T40" fmla="*/ 63 w 299"/>
                  <a:gd name="T41" fmla="*/ 166 h 315"/>
                  <a:gd name="T42" fmla="*/ 38 w 299"/>
                  <a:gd name="T43" fmla="*/ 159 h 315"/>
                  <a:gd name="T44" fmla="*/ 23 w 299"/>
                  <a:gd name="T45" fmla="*/ 161 h 315"/>
                  <a:gd name="T46" fmla="*/ 0 w 299"/>
                  <a:gd name="T47" fmla="*/ 161 h 315"/>
                  <a:gd name="T48" fmla="*/ 8 w 299"/>
                  <a:gd name="T49" fmla="*/ 134 h 315"/>
                  <a:gd name="T50" fmla="*/ 23 w 299"/>
                  <a:gd name="T51" fmla="*/ 139 h 315"/>
                  <a:gd name="T52" fmla="*/ 40 w 299"/>
                  <a:gd name="T53" fmla="*/ 114 h 315"/>
                  <a:gd name="T54" fmla="*/ 71 w 299"/>
                  <a:gd name="T55" fmla="*/ 106 h 315"/>
                  <a:gd name="T56" fmla="*/ 97 w 299"/>
                  <a:gd name="T57" fmla="*/ 104 h 315"/>
                  <a:gd name="T58" fmla="*/ 102 w 299"/>
                  <a:gd name="T59" fmla="*/ 93 h 315"/>
                  <a:gd name="T60" fmla="*/ 143 w 299"/>
                  <a:gd name="T61" fmla="*/ 115 h 315"/>
                  <a:gd name="T62" fmla="*/ 162 w 299"/>
                  <a:gd name="T63" fmla="*/ 114 h 315"/>
                  <a:gd name="T64" fmla="*/ 129 w 299"/>
                  <a:gd name="T65" fmla="*/ 101 h 315"/>
                  <a:gd name="T66" fmla="*/ 134 w 299"/>
                  <a:gd name="T67" fmla="*/ 66 h 315"/>
                  <a:gd name="T68" fmla="*/ 155 w 299"/>
                  <a:gd name="T69" fmla="*/ 47 h 315"/>
                  <a:gd name="T70" fmla="*/ 181 w 299"/>
                  <a:gd name="T71" fmla="*/ 31 h 315"/>
                  <a:gd name="T72" fmla="*/ 191 w 299"/>
                  <a:gd name="T73" fmla="*/ 2 h 315"/>
                  <a:gd name="T74" fmla="*/ 238 w 299"/>
                  <a:gd name="T75" fmla="*/ 2 h 315"/>
                  <a:gd name="T76" fmla="*/ 262 w 299"/>
                  <a:gd name="T77" fmla="*/ 27 h 315"/>
                  <a:gd name="T78" fmla="*/ 260 w 299"/>
                  <a:gd name="T79" fmla="*/ 59 h 315"/>
                  <a:gd name="T80" fmla="*/ 278 w 299"/>
                  <a:gd name="T81" fmla="*/ 94 h 315"/>
                  <a:gd name="T82" fmla="*/ 268 w 299"/>
                  <a:gd name="T83" fmla="*/ 126 h 315"/>
                  <a:gd name="T84" fmla="*/ 282 w 299"/>
                  <a:gd name="T85" fmla="*/ 178 h 315"/>
                  <a:gd name="T86" fmla="*/ 294 w 299"/>
                  <a:gd name="T87" fmla="*/ 204 h 315"/>
                  <a:gd name="T88" fmla="*/ 264 w 299"/>
                  <a:gd name="T89" fmla="*/ 245 h 315"/>
                  <a:gd name="T90" fmla="*/ 224 w 299"/>
                  <a:gd name="T91" fmla="*/ 273 h 315"/>
                  <a:gd name="T92" fmla="*/ 168 w 299"/>
                  <a:gd name="T93" fmla="*/ 297 h 315"/>
                  <a:gd name="T94" fmla="*/ 132 w 299"/>
                  <a:gd name="T95" fmla="*/ 296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99" h="315">
                    <a:moveTo>
                      <a:pt x="132" y="296"/>
                    </a:moveTo>
                    <a:cubicBezTo>
                      <a:pt x="133" y="295"/>
                      <a:pt x="133" y="294"/>
                      <a:pt x="133" y="293"/>
                    </a:cubicBezTo>
                    <a:cubicBezTo>
                      <a:pt x="133" y="292"/>
                      <a:pt x="134" y="291"/>
                      <a:pt x="137" y="291"/>
                    </a:cubicBezTo>
                    <a:cubicBezTo>
                      <a:pt x="140" y="291"/>
                      <a:pt x="147" y="292"/>
                      <a:pt x="147" y="290"/>
                    </a:cubicBezTo>
                    <a:cubicBezTo>
                      <a:pt x="147" y="288"/>
                      <a:pt x="143" y="289"/>
                      <a:pt x="143" y="286"/>
                    </a:cubicBezTo>
                    <a:cubicBezTo>
                      <a:pt x="143" y="282"/>
                      <a:pt x="147" y="283"/>
                      <a:pt x="150" y="279"/>
                    </a:cubicBezTo>
                    <a:cubicBezTo>
                      <a:pt x="152" y="276"/>
                      <a:pt x="153" y="274"/>
                      <a:pt x="155" y="273"/>
                    </a:cubicBezTo>
                    <a:cubicBezTo>
                      <a:pt x="157" y="271"/>
                      <a:pt x="158" y="267"/>
                      <a:pt x="163" y="267"/>
                    </a:cubicBezTo>
                    <a:cubicBezTo>
                      <a:pt x="167" y="267"/>
                      <a:pt x="173" y="266"/>
                      <a:pt x="179" y="263"/>
                    </a:cubicBezTo>
                    <a:cubicBezTo>
                      <a:pt x="185" y="260"/>
                      <a:pt x="193" y="257"/>
                      <a:pt x="193" y="255"/>
                    </a:cubicBezTo>
                    <a:cubicBezTo>
                      <a:pt x="193" y="253"/>
                      <a:pt x="191" y="255"/>
                      <a:pt x="189" y="255"/>
                    </a:cubicBezTo>
                    <a:cubicBezTo>
                      <a:pt x="187" y="255"/>
                      <a:pt x="186" y="255"/>
                      <a:pt x="185" y="255"/>
                    </a:cubicBezTo>
                    <a:cubicBezTo>
                      <a:pt x="183" y="255"/>
                      <a:pt x="183" y="255"/>
                      <a:pt x="180" y="255"/>
                    </a:cubicBezTo>
                    <a:cubicBezTo>
                      <a:pt x="178" y="255"/>
                      <a:pt x="173" y="257"/>
                      <a:pt x="166" y="259"/>
                    </a:cubicBezTo>
                    <a:cubicBezTo>
                      <a:pt x="159" y="262"/>
                      <a:pt x="159" y="264"/>
                      <a:pt x="156" y="264"/>
                    </a:cubicBezTo>
                    <a:cubicBezTo>
                      <a:pt x="151" y="264"/>
                      <a:pt x="149" y="271"/>
                      <a:pt x="145" y="271"/>
                    </a:cubicBezTo>
                    <a:cubicBezTo>
                      <a:pt x="144" y="271"/>
                      <a:pt x="145" y="270"/>
                      <a:pt x="141" y="270"/>
                    </a:cubicBezTo>
                    <a:cubicBezTo>
                      <a:pt x="138" y="270"/>
                      <a:pt x="138" y="271"/>
                      <a:pt x="138" y="274"/>
                    </a:cubicBezTo>
                    <a:cubicBezTo>
                      <a:pt x="138" y="276"/>
                      <a:pt x="134" y="277"/>
                      <a:pt x="131" y="277"/>
                    </a:cubicBezTo>
                    <a:cubicBezTo>
                      <a:pt x="129" y="277"/>
                      <a:pt x="128" y="276"/>
                      <a:pt x="128" y="274"/>
                    </a:cubicBezTo>
                    <a:cubicBezTo>
                      <a:pt x="128" y="273"/>
                      <a:pt x="128" y="272"/>
                      <a:pt x="126" y="272"/>
                    </a:cubicBezTo>
                    <a:cubicBezTo>
                      <a:pt x="124" y="272"/>
                      <a:pt x="124" y="276"/>
                      <a:pt x="121" y="276"/>
                    </a:cubicBezTo>
                    <a:cubicBezTo>
                      <a:pt x="117" y="276"/>
                      <a:pt x="117" y="278"/>
                      <a:pt x="113" y="278"/>
                    </a:cubicBezTo>
                    <a:cubicBezTo>
                      <a:pt x="110" y="278"/>
                      <a:pt x="109" y="283"/>
                      <a:pt x="105" y="283"/>
                    </a:cubicBezTo>
                    <a:cubicBezTo>
                      <a:pt x="102" y="283"/>
                      <a:pt x="104" y="287"/>
                      <a:pt x="99" y="287"/>
                    </a:cubicBezTo>
                    <a:cubicBezTo>
                      <a:pt x="91" y="287"/>
                      <a:pt x="91" y="287"/>
                      <a:pt x="91" y="287"/>
                    </a:cubicBezTo>
                    <a:cubicBezTo>
                      <a:pt x="88" y="287"/>
                      <a:pt x="90" y="290"/>
                      <a:pt x="85" y="292"/>
                    </a:cubicBezTo>
                    <a:cubicBezTo>
                      <a:pt x="80" y="294"/>
                      <a:pt x="78" y="294"/>
                      <a:pt x="76" y="296"/>
                    </a:cubicBezTo>
                    <a:cubicBezTo>
                      <a:pt x="75" y="298"/>
                      <a:pt x="75" y="300"/>
                      <a:pt x="73" y="300"/>
                    </a:cubicBezTo>
                    <a:cubicBezTo>
                      <a:pt x="71" y="300"/>
                      <a:pt x="74" y="293"/>
                      <a:pt x="69" y="293"/>
                    </a:cubicBezTo>
                    <a:cubicBezTo>
                      <a:pt x="63" y="293"/>
                      <a:pt x="61" y="286"/>
                      <a:pt x="57" y="286"/>
                    </a:cubicBezTo>
                    <a:cubicBezTo>
                      <a:pt x="52" y="286"/>
                      <a:pt x="50" y="286"/>
                      <a:pt x="50" y="285"/>
                    </a:cubicBezTo>
                    <a:cubicBezTo>
                      <a:pt x="50" y="283"/>
                      <a:pt x="53" y="283"/>
                      <a:pt x="56" y="283"/>
                    </a:cubicBezTo>
                    <a:cubicBezTo>
                      <a:pt x="59" y="283"/>
                      <a:pt x="62" y="277"/>
                      <a:pt x="62" y="272"/>
                    </a:cubicBezTo>
                    <a:cubicBezTo>
                      <a:pt x="62" y="267"/>
                      <a:pt x="58" y="266"/>
                      <a:pt x="58" y="264"/>
                    </a:cubicBezTo>
                    <a:cubicBezTo>
                      <a:pt x="58" y="261"/>
                      <a:pt x="57" y="260"/>
                      <a:pt x="53" y="260"/>
                    </a:cubicBezTo>
                    <a:cubicBezTo>
                      <a:pt x="49" y="260"/>
                      <a:pt x="41" y="267"/>
                      <a:pt x="41" y="269"/>
                    </a:cubicBezTo>
                    <a:cubicBezTo>
                      <a:pt x="41" y="271"/>
                      <a:pt x="40" y="273"/>
                      <a:pt x="37" y="273"/>
                    </a:cubicBezTo>
                    <a:cubicBezTo>
                      <a:pt x="35" y="273"/>
                      <a:pt x="30" y="281"/>
                      <a:pt x="27" y="281"/>
                    </a:cubicBezTo>
                    <a:cubicBezTo>
                      <a:pt x="24" y="281"/>
                      <a:pt x="24" y="279"/>
                      <a:pt x="24" y="276"/>
                    </a:cubicBezTo>
                    <a:cubicBezTo>
                      <a:pt x="24" y="273"/>
                      <a:pt x="26" y="271"/>
                      <a:pt x="26" y="268"/>
                    </a:cubicBezTo>
                    <a:cubicBezTo>
                      <a:pt x="26" y="264"/>
                      <a:pt x="26" y="261"/>
                      <a:pt x="21" y="261"/>
                    </a:cubicBezTo>
                    <a:cubicBezTo>
                      <a:pt x="19" y="261"/>
                      <a:pt x="15" y="260"/>
                      <a:pt x="15" y="258"/>
                    </a:cubicBezTo>
                    <a:cubicBezTo>
                      <a:pt x="15" y="255"/>
                      <a:pt x="17" y="253"/>
                      <a:pt x="17" y="251"/>
                    </a:cubicBezTo>
                    <a:cubicBezTo>
                      <a:pt x="17" y="249"/>
                      <a:pt x="15" y="249"/>
                      <a:pt x="15" y="248"/>
                    </a:cubicBezTo>
                    <a:cubicBezTo>
                      <a:pt x="15" y="246"/>
                      <a:pt x="17" y="246"/>
                      <a:pt x="20" y="246"/>
                    </a:cubicBezTo>
                    <a:cubicBezTo>
                      <a:pt x="23" y="246"/>
                      <a:pt x="30" y="242"/>
                      <a:pt x="34" y="242"/>
                    </a:cubicBezTo>
                    <a:cubicBezTo>
                      <a:pt x="38" y="242"/>
                      <a:pt x="38" y="237"/>
                      <a:pt x="42" y="237"/>
                    </a:cubicBezTo>
                    <a:cubicBezTo>
                      <a:pt x="44" y="237"/>
                      <a:pt x="43" y="239"/>
                      <a:pt x="45" y="239"/>
                    </a:cubicBezTo>
                    <a:cubicBezTo>
                      <a:pt x="47" y="239"/>
                      <a:pt x="48" y="234"/>
                      <a:pt x="46" y="233"/>
                    </a:cubicBezTo>
                    <a:cubicBezTo>
                      <a:pt x="44" y="232"/>
                      <a:pt x="42" y="231"/>
                      <a:pt x="42" y="229"/>
                    </a:cubicBezTo>
                    <a:cubicBezTo>
                      <a:pt x="42" y="227"/>
                      <a:pt x="40" y="222"/>
                      <a:pt x="37" y="222"/>
                    </a:cubicBezTo>
                    <a:cubicBezTo>
                      <a:pt x="35" y="222"/>
                      <a:pt x="34" y="222"/>
                      <a:pt x="34" y="220"/>
                    </a:cubicBezTo>
                    <a:cubicBezTo>
                      <a:pt x="34" y="218"/>
                      <a:pt x="37" y="217"/>
                      <a:pt x="41" y="217"/>
                    </a:cubicBezTo>
                    <a:cubicBezTo>
                      <a:pt x="44" y="217"/>
                      <a:pt x="44" y="214"/>
                      <a:pt x="44" y="211"/>
                    </a:cubicBezTo>
                    <a:cubicBezTo>
                      <a:pt x="44" y="208"/>
                      <a:pt x="47" y="206"/>
                      <a:pt x="51" y="206"/>
                    </a:cubicBezTo>
                    <a:cubicBezTo>
                      <a:pt x="56" y="206"/>
                      <a:pt x="57" y="206"/>
                      <a:pt x="57" y="205"/>
                    </a:cubicBezTo>
                    <a:cubicBezTo>
                      <a:pt x="57" y="204"/>
                      <a:pt x="62" y="200"/>
                      <a:pt x="65" y="200"/>
                    </a:cubicBezTo>
                    <a:cubicBezTo>
                      <a:pt x="69" y="200"/>
                      <a:pt x="73" y="195"/>
                      <a:pt x="77" y="195"/>
                    </a:cubicBezTo>
                    <a:cubicBezTo>
                      <a:pt x="81" y="195"/>
                      <a:pt x="83" y="192"/>
                      <a:pt x="92" y="192"/>
                    </a:cubicBezTo>
                    <a:cubicBezTo>
                      <a:pt x="96" y="192"/>
                      <a:pt x="107" y="190"/>
                      <a:pt x="107" y="185"/>
                    </a:cubicBezTo>
                    <a:cubicBezTo>
                      <a:pt x="107" y="179"/>
                      <a:pt x="109" y="174"/>
                      <a:pt x="111" y="174"/>
                    </a:cubicBezTo>
                    <a:cubicBezTo>
                      <a:pt x="113" y="174"/>
                      <a:pt x="112" y="178"/>
                      <a:pt x="112" y="179"/>
                    </a:cubicBezTo>
                    <a:cubicBezTo>
                      <a:pt x="112" y="181"/>
                      <a:pt x="112" y="182"/>
                      <a:pt x="113" y="182"/>
                    </a:cubicBezTo>
                    <a:cubicBezTo>
                      <a:pt x="115" y="182"/>
                      <a:pt x="114" y="180"/>
                      <a:pt x="116" y="180"/>
                    </a:cubicBezTo>
                    <a:cubicBezTo>
                      <a:pt x="117" y="180"/>
                      <a:pt x="117" y="182"/>
                      <a:pt x="119" y="182"/>
                    </a:cubicBezTo>
                    <a:cubicBezTo>
                      <a:pt x="120" y="182"/>
                      <a:pt x="120" y="180"/>
                      <a:pt x="120" y="178"/>
                    </a:cubicBezTo>
                    <a:cubicBezTo>
                      <a:pt x="120" y="176"/>
                      <a:pt x="119" y="177"/>
                      <a:pt x="119" y="174"/>
                    </a:cubicBezTo>
                    <a:cubicBezTo>
                      <a:pt x="119" y="172"/>
                      <a:pt x="124" y="172"/>
                      <a:pt x="124" y="168"/>
                    </a:cubicBezTo>
                    <a:cubicBezTo>
                      <a:pt x="124" y="163"/>
                      <a:pt x="123" y="160"/>
                      <a:pt x="125" y="160"/>
                    </a:cubicBezTo>
                    <a:cubicBezTo>
                      <a:pt x="127" y="160"/>
                      <a:pt x="127" y="166"/>
                      <a:pt x="131" y="166"/>
                    </a:cubicBezTo>
                    <a:cubicBezTo>
                      <a:pt x="136" y="166"/>
                      <a:pt x="139" y="162"/>
                      <a:pt x="145" y="162"/>
                    </a:cubicBezTo>
                    <a:cubicBezTo>
                      <a:pt x="149" y="162"/>
                      <a:pt x="151" y="164"/>
                      <a:pt x="152" y="163"/>
                    </a:cubicBezTo>
                    <a:cubicBezTo>
                      <a:pt x="153" y="162"/>
                      <a:pt x="150" y="156"/>
                      <a:pt x="146" y="156"/>
                    </a:cubicBezTo>
                    <a:cubicBezTo>
                      <a:pt x="143" y="156"/>
                      <a:pt x="143" y="158"/>
                      <a:pt x="140" y="158"/>
                    </a:cubicBezTo>
                    <a:cubicBezTo>
                      <a:pt x="138" y="158"/>
                      <a:pt x="137" y="152"/>
                      <a:pt x="129" y="152"/>
                    </a:cubicBezTo>
                    <a:cubicBezTo>
                      <a:pt x="124" y="152"/>
                      <a:pt x="123" y="154"/>
                      <a:pt x="119" y="154"/>
                    </a:cubicBezTo>
                    <a:cubicBezTo>
                      <a:pt x="115" y="154"/>
                      <a:pt x="114" y="154"/>
                      <a:pt x="114" y="156"/>
                    </a:cubicBezTo>
                    <a:cubicBezTo>
                      <a:pt x="114" y="157"/>
                      <a:pt x="117" y="162"/>
                      <a:pt x="117" y="165"/>
                    </a:cubicBezTo>
                    <a:cubicBezTo>
                      <a:pt x="117" y="166"/>
                      <a:pt x="116" y="167"/>
                      <a:pt x="115" y="167"/>
                    </a:cubicBezTo>
                    <a:cubicBezTo>
                      <a:pt x="114" y="167"/>
                      <a:pt x="112" y="165"/>
                      <a:pt x="112" y="163"/>
                    </a:cubicBezTo>
                    <a:cubicBezTo>
                      <a:pt x="112" y="161"/>
                      <a:pt x="109" y="155"/>
                      <a:pt x="104" y="155"/>
                    </a:cubicBezTo>
                    <a:cubicBezTo>
                      <a:pt x="94" y="155"/>
                      <a:pt x="81" y="164"/>
                      <a:pt x="71" y="164"/>
                    </a:cubicBezTo>
                    <a:cubicBezTo>
                      <a:pt x="66" y="164"/>
                      <a:pt x="66" y="166"/>
                      <a:pt x="63" y="166"/>
                    </a:cubicBezTo>
                    <a:cubicBezTo>
                      <a:pt x="59" y="166"/>
                      <a:pt x="59" y="159"/>
                      <a:pt x="56" y="159"/>
                    </a:cubicBezTo>
                    <a:cubicBezTo>
                      <a:pt x="53" y="159"/>
                      <a:pt x="54" y="162"/>
                      <a:pt x="51" y="162"/>
                    </a:cubicBezTo>
                    <a:cubicBezTo>
                      <a:pt x="47" y="162"/>
                      <a:pt x="47" y="156"/>
                      <a:pt x="44" y="156"/>
                    </a:cubicBezTo>
                    <a:cubicBezTo>
                      <a:pt x="40" y="156"/>
                      <a:pt x="38" y="156"/>
                      <a:pt x="38" y="159"/>
                    </a:cubicBezTo>
                    <a:cubicBezTo>
                      <a:pt x="38" y="161"/>
                      <a:pt x="44" y="161"/>
                      <a:pt x="44" y="163"/>
                    </a:cubicBezTo>
                    <a:cubicBezTo>
                      <a:pt x="44" y="166"/>
                      <a:pt x="42" y="165"/>
                      <a:pt x="39" y="165"/>
                    </a:cubicBezTo>
                    <a:cubicBezTo>
                      <a:pt x="33" y="165"/>
                      <a:pt x="28" y="159"/>
                      <a:pt x="25" y="159"/>
                    </a:cubicBezTo>
                    <a:cubicBezTo>
                      <a:pt x="22" y="159"/>
                      <a:pt x="23" y="159"/>
                      <a:pt x="23" y="161"/>
                    </a:cubicBezTo>
                    <a:cubicBezTo>
                      <a:pt x="23" y="162"/>
                      <a:pt x="25" y="162"/>
                      <a:pt x="25" y="165"/>
                    </a:cubicBezTo>
                    <a:cubicBezTo>
                      <a:pt x="25" y="166"/>
                      <a:pt x="23" y="166"/>
                      <a:pt x="20" y="166"/>
                    </a:cubicBezTo>
                    <a:cubicBezTo>
                      <a:pt x="16" y="166"/>
                      <a:pt x="13" y="169"/>
                      <a:pt x="8" y="169"/>
                    </a:cubicBezTo>
                    <a:cubicBezTo>
                      <a:pt x="3" y="169"/>
                      <a:pt x="0" y="165"/>
                      <a:pt x="0" y="161"/>
                    </a:cubicBezTo>
                    <a:cubicBezTo>
                      <a:pt x="0" y="150"/>
                      <a:pt x="0" y="150"/>
                      <a:pt x="0" y="150"/>
                    </a:cubicBezTo>
                    <a:cubicBezTo>
                      <a:pt x="0" y="147"/>
                      <a:pt x="5" y="146"/>
                      <a:pt x="5" y="143"/>
                    </a:cubicBezTo>
                    <a:cubicBezTo>
                      <a:pt x="5" y="141"/>
                      <a:pt x="1" y="142"/>
                      <a:pt x="1" y="139"/>
                    </a:cubicBezTo>
                    <a:cubicBezTo>
                      <a:pt x="1" y="136"/>
                      <a:pt x="5" y="135"/>
                      <a:pt x="8" y="134"/>
                    </a:cubicBezTo>
                    <a:cubicBezTo>
                      <a:pt x="10" y="133"/>
                      <a:pt x="10" y="131"/>
                      <a:pt x="12" y="131"/>
                    </a:cubicBezTo>
                    <a:cubicBezTo>
                      <a:pt x="14" y="131"/>
                      <a:pt x="14" y="134"/>
                      <a:pt x="14" y="136"/>
                    </a:cubicBezTo>
                    <a:cubicBezTo>
                      <a:pt x="14" y="139"/>
                      <a:pt x="18" y="142"/>
                      <a:pt x="20" y="142"/>
                    </a:cubicBezTo>
                    <a:cubicBezTo>
                      <a:pt x="23" y="142"/>
                      <a:pt x="24" y="141"/>
                      <a:pt x="23" y="139"/>
                    </a:cubicBezTo>
                    <a:cubicBezTo>
                      <a:pt x="21" y="137"/>
                      <a:pt x="21" y="135"/>
                      <a:pt x="23" y="134"/>
                    </a:cubicBezTo>
                    <a:cubicBezTo>
                      <a:pt x="25" y="133"/>
                      <a:pt x="25" y="130"/>
                      <a:pt x="24" y="128"/>
                    </a:cubicBezTo>
                    <a:cubicBezTo>
                      <a:pt x="22" y="127"/>
                      <a:pt x="23" y="120"/>
                      <a:pt x="28" y="120"/>
                    </a:cubicBezTo>
                    <a:cubicBezTo>
                      <a:pt x="36" y="120"/>
                      <a:pt x="40" y="117"/>
                      <a:pt x="40" y="114"/>
                    </a:cubicBezTo>
                    <a:cubicBezTo>
                      <a:pt x="40" y="111"/>
                      <a:pt x="47" y="105"/>
                      <a:pt x="54" y="105"/>
                    </a:cubicBezTo>
                    <a:cubicBezTo>
                      <a:pt x="58" y="105"/>
                      <a:pt x="59" y="103"/>
                      <a:pt x="62" y="103"/>
                    </a:cubicBezTo>
                    <a:cubicBezTo>
                      <a:pt x="65" y="103"/>
                      <a:pt x="66" y="101"/>
                      <a:pt x="69" y="101"/>
                    </a:cubicBezTo>
                    <a:cubicBezTo>
                      <a:pt x="71" y="101"/>
                      <a:pt x="71" y="104"/>
                      <a:pt x="71" y="106"/>
                    </a:cubicBezTo>
                    <a:cubicBezTo>
                      <a:pt x="71" y="111"/>
                      <a:pt x="68" y="115"/>
                      <a:pt x="68" y="117"/>
                    </a:cubicBezTo>
                    <a:cubicBezTo>
                      <a:pt x="68" y="120"/>
                      <a:pt x="69" y="121"/>
                      <a:pt x="71" y="121"/>
                    </a:cubicBezTo>
                    <a:cubicBezTo>
                      <a:pt x="74" y="121"/>
                      <a:pt x="76" y="118"/>
                      <a:pt x="80" y="118"/>
                    </a:cubicBezTo>
                    <a:cubicBezTo>
                      <a:pt x="88" y="118"/>
                      <a:pt x="97" y="111"/>
                      <a:pt x="97" y="104"/>
                    </a:cubicBezTo>
                    <a:cubicBezTo>
                      <a:pt x="97" y="98"/>
                      <a:pt x="93" y="98"/>
                      <a:pt x="93" y="96"/>
                    </a:cubicBezTo>
                    <a:cubicBezTo>
                      <a:pt x="93" y="93"/>
                      <a:pt x="94" y="93"/>
                      <a:pt x="95" y="93"/>
                    </a:cubicBezTo>
                    <a:cubicBezTo>
                      <a:pt x="97" y="93"/>
                      <a:pt x="97" y="95"/>
                      <a:pt x="99" y="95"/>
                    </a:cubicBezTo>
                    <a:cubicBezTo>
                      <a:pt x="101" y="95"/>
                      <a:pt x="101" y="93"/>
                      <a:pt x="102" y="93"/>
                    </a:cubicBezTo>
                    <a:cubicBezTo>
                      <a:pt x="103" y="93"/>
                      <a:pt x="102" y="96"/>
                      <a:pt x="102" y="100"/>
                    </a:cubicBezTo>
                    <a:cubicBezTo>
                      <a:pt x="102" y="104"/>
                      <a:pt x="101" y="109"/>
                      <a:pt x="101" y="111"/>
                    </a:cubicBezTo>
                    <a:cubicBezTo>
                      <a:pt x="101" y="113"/>
                      <a:pt x="111" y="123"/>
                      <a:pt x="125" y="123"/>
                    </a:cubicBezTo>
                    <a:cubicBezTo>
                      <a:pt x="142" y="123"/>
                      <a:pt x="140" y="115"/>
                      <a:pt x="143" y="115"/>
                    </a:cubicBezTo>
                    <a:cubicBezTo>
                      <a:pt x="146" y="115"/>
                      <a:pt x="144" y="120"/>
                      <a:pt x="147" y="120"/>
                    </a:cubicBezTo>
                    <a:cubicBezTo>
                      <a:pt x="151" y="120"/>
                      <a:pt x="152" y="118"/>
                      <a:pt x="155" y="118"/>
                    </a:cubicBezTo>
                    <a:cubicBezTo>
                      <a:pt x="157" y="118"/>
                      <a:pt x="157" y="119"/>
                      <a:pt x="160" y="119"/>
                    </a:cubicBezTo>
                    <a:cubicBezTo>
                      <a:pt x="162" y="119"/>
                      <a:pt x="162" y="117"/>
                      <a:pt x="162" y="114"/>
                    </a:cubicBezTo>
                    <a:cubicBezTo>
                      <a:pt x="162" y="111"/>
                      <a:pt x="158" y="109"/>
                      <a:pt x="154" y="109"/>
                    </a:cubicBezTo>
                    <a:cubicBezTo>
                      <a:pt x="150" y="109"/>
                      <a:pt x="146" y="108"/>
                      <a:pt x="142" y="108"/>
                    </a:cubicBezTo>
                    <a:cubicBezTo>
                      <a:pt x="138" y="108"/>
                      <a:pt x="138" y="109"/>
                      <a:pt x="134" y="109"/>
                    </a:cubicBezTo>
                    <a:cubicBezTo>
                      <a:pt x="132" y="109"/>
                      <a:pt x="129" y="106"/>
                      <a:pt x="129" y="101"/>
                    </a:cubicBezTo>
                    <a:cubicBezTo>
                      <a:pt x="129" y="99"/>
                      <a:pt x="132" y="99"/>
                      <a:pt x="134" y="99"/>
                    </a:cubicBezTo>
                    <a:cubicBezTo>
                      <a:pt x="137" y="99"/>
                      <a:pt x="143" y="93"/>
                      <a:pt x="143" y="88"/>
                    </a:cubicBezTo>
                    <a:cubicBezTo>
                      <a:pt x="143" y="83"/>
                      <a:pt x="142" y="75"/>
                      <a:pt x="142" y="71"/>
                    </a:cubicBezTo>
                    <a:cubicBezTo>
                      <a:pt x="142" y="68"/>
                      <a:pt x="139" y="66"/>
                      <a:pt x="134" y="66"/>
                    </a:cubicBezTo>
                    <a:cubicBezTo>
                      <a:pt x="128" y="66"/>
                      <a:pt x="118" y="64"/>
                      <a:pt x="118" y="59"/>
                    </a:cubicBezTo>
                    <a:cubicBezTo>
                      <a:pt x="118" y="54"/>
                      <a:pt x="127" y="53"/>
                      <a:pt x="131" y="53"/>
                    </a:cubicBezTo>
                    <a:cubicBezTo>
                      <a:pt x="135" y="53"/>
                      <a:pt x="135" y="54"/>
                      <a:pt x="138" y="54"/>
                    </a:cubicBezTo>
                    <a:cubicBezTo>
                      <a:pt x="144" y="54"/>
                      <a:pt x="150" y="47"/>
                      <a:pt x="155" y="47"/>
                    </a:cubicBezTo>
                    <a:cubicBezTo>
                      <a:pt x="162" y="47"/>
                      <a:pt x="164" y="35"/>
                      <a:pt x="175" y="35"/>
                    </a:cubicBezTo>
                    <a:cubicBezTo>
                      <a:pt x="181" y="35"/>
                      <a:pt x="184" y="37"/>
                      <a:pt x="186" y="37"/>
                    </a:cubicBezTo>
                    <a:cubicBezTo>
                      <a:pt x="187" y="37"/>
                      <a:pt x="188" y="34"/>
                      <a:pt x="186" y="33"/>
                    </a:cubicBezTo>
                    <a:cubicBezTo>
                      <a:pt x="184" y="32"/>
                      <a:pt x="183" y="31"/>
                      <a:pt x="181" y="31"/>
                    </a:cubicBezTo>
                    <a:cubicBezTo>
                      <a:pt x="178" y="31"/>
                      <a:pt x="178" y="31"/>
                      <a:pt x="178" y="31"/>
                    </a:cubicBezTo>
                    <a:cubicBezTo>
                      <a:pt x="178" y="21"/>
                      <a:pt x="178" y="21"/>
                      <a:pt x="178" y="21"/>
                    </a:cubicBezTo>
                    <a:cubicBezTo>
                      <a:pt x="178" y="15"/>
                      <a:pt x="179" y="16"/>
                      <a:pt x="179" y="13"/>
                    </a:cubicBezTo>
                    <a:cubicBezTo>
                      <a:pt x="179" y="10"/>
                      <a:pt x="185" y="2"/>
                      <a:pt x="191" y="2"/>
                    </a:cubicBezTo>
                    <a:cubicBezTo>
                      <a:pt x="202" y="2"/>
                      <a:pt x="203" y="4"/>
                      <a:pt x="210" y="4"/>
                    </a:cubicBezTo>
                    <a:cubicBezTo>
                      <a:pt x="216" y="4"/>
                      <a:pt x="218" y="6"/>
                      <a:pt x="222" y="6"/>
                    </a:cubicBezTo>
                    <a:cubicBezTo>
                      <a:pt x="226" y="6"/>
                      <a:pt x="226" y="0"/>
                      <a:pt x="232" y="0"/>
                    </a:cubicBezTo>
                    <a:cubicBezTo>
                      <a:pt x="237" y="0"/>
                      <a:pt x="237" y="2"/>
                      <a:pt x="238" y="2"/>
                    </a:cubicBezTo>
                    <a:cubicBezTo>
                      <a:pt x="240" y="2"/>
                      <a:pt x="241" y="0"/>
                      <a:pt x="244" y="0"/>
                    </a:cubicBezTo>
                    <a:cubicBezTo>
                      <a:pt x="248" y="0"/>
                      <a:pt x="249" y="4"/>
                      <a:pt x="254" y="4"/>
                    </a:cubicBezTo>
                    <a:cubicBezTo>
                      <a:pt x="254" y="4"/>
                      <a:pt x="254" y="7"/>
                      <a:pt x="254" y="12"/>
                    </a:cubicBezTo>
                    <a:cubicBezTo>
                      <a:pt x="254" y="20"/>
                      <a:pt x="262" y="21"/>
                      <a:pt x="262" y="27"/>
                    </a:cubicBezTo>
                    <a:cubicBezTo>
                      <a:pt x="262" y="34"/>
                      <a:pt x="251" y="37"/>
                      <a:pt x="251" y="42"/>
                    </a:cubicBezTo>
                    <a:cubicBezTo>
                      <a:pt x="251" y="47"/>
                      <a:pt x="254" y="50"/>
                      <a:pt x="257" y="50"/>
                    </a:cubicBezTo>
                    <a:cubicBezTo>
                      <a:pt x="261" y="50"/>
                      <a:pt x="263" y="52"/>
                      <a:pt x="263" y="54"/>
                    </a:cubicBezTo>
                    <a:cubicBezTo>
                      <a:pt x="263" y="57"/>
                      <a:pt x="262" y="57"/>
                      <a:pt x="260" y="59"/>
                    </a:cubicBezTo>
                    <a:cubicBezTo>
                      <a:pt x="258" y="60"/>
                      <a:pt x="256" y="65"/>
                      <a:pt x="256" y="68"/>
                    </a:cubicBezTo>
                    <a:cubicBezTo>
                      <a:pt x="256" y="70"/>
                      <a:pt x="253" y="70"/>
                      <a:pt x="253" y="75"/>
                    </a:cubicBezTo>
                    <a:cubicBezTo>
                      <a:pt x="253" y="79"/>
                      <a:pt x="262" y="81"/>
                      <a:pt x="266" y="85"/>
                    </a:cubicBezTo>
                    <a:cubicBezTo>
                      <a:pt x="270" y="89"/>
                      <a:pt x="274" y="92"/>
                      <a:pt x="278" y="94"/>
                    </a:cubicBezTo>
                    <a:cubicBezTo>
                      <a:pt x="280" y="95"/>
                      <a:pt x="281" y="97"/>
                      <a:pt x="281" y="98"/>
                    </a:cubicBezTo>
                    <a:cubicBezTo>
                      <a:pt x="281" y="105"/>
                      <a:pt x="281" y="106"/>
                      <a:pt x="281" y="108"/>
                    </a:cubicBezTo>
                    <a:cubicBezTo>
                      <a:pt x="281" y="110"/>
                      <a:pt x="277" y="110"/>
                      <a:pt x="277" y="111"/>
                    </a:cubicBezTo>
                    <a:cubicBezTo>
                      <a:pt x="277" y="113"/>
                      <a:pt x="268" y="117"/>
                      <a:pt x="268" y="126"/>
                    </a:cubicBezTo>
                    <a:cubicBezTo>
                      <a:pt x="268" y="135"/>
                      <a:pt x="272" y="135"/>
                      <a:pt x="273" y="141"/>
                    </a:cubicBezTo>
                    <a:cubicBezTo>
                      <a:pt x="274" y="147"/>
                      <a:pt x="276" y="150"/>
                      <a:pt x="276" y="155"/>
                    </a:cubicBezTo>
                    <a:cubicBezTo>
                      <a:pt x="276" y="161"/>
                      <a:pt x="276" y="165"/>
                      <a:pt x="279" y="169"/>
                    </a:cubicBezTo>
                    <a:cubicBezTo>
                      <a:pt x="281" y="174"/>
                      <a:pt x="280" y="177"/>
                      <a:pt x="282" y="178"/>
                    </a:cubicBezTo>
                    <a:cubicBezTo>
                      <a:pt x="284" y="180"/>
                      <a:pt x="285" y="180"/>
                      <a:pt x="285" y="181"/>
                    </a:cubicBezTo>
                    <a:cubicBezTo>
                      <a:pt x="285" y="183"/>
                      <a:pt x="276" y="183"/>
                      <a:pt x="276" y="188"/>
                    </a:cubicBezTo>
                    <a:cubicBezTo>
                      <a:pt x="276" y="193"/>
                      <a:pt x="278" y="200"/>
                      <a:pt x="284" y="200"/>
                    </a:cubicBezTo>
                    <a:cubicBezTo>
                      <a:pt x="289" y="200"/>
                      <a:pt x="291" y="204"/>
                      <a:pt x="294" y="204"/>
                    </a:cubicBezTo>
                    <a:cubicBezTo>
                      <a:pt x="298" y="204"/>
                      <a:pt x="299" y="206"/>
                      <a:pt x="299" y="209"/>
                    </a:cubicBezTo>
                    <a:cubicBezTo>
                      <a:pt x="299" y="212"/>
                      <a:pt x="291" y="220"/>
                      <a:pt x="278" y="220"/>
                    </a:cubicBezTo>
                    <a:cubicBezTo>
                      <a:pt x="265" y="220"/>
                      <a:pt x="260" y="228"/>
                      <a:pt x="260" y="234"/>
                    </a:cubicBezTo>
                    <a:cubicBezTo>
                      <a:pt x="260" y="239"/>
                      <a:pt x="264" y="240"/>
                      <a:pt x="264" y="245"/>
                    </a:cubicBezTo>
                    <a:cubicBezTo>
                      <a:pt x="264" y="250"/>
                      <a:pt x="257" y="256"/>
                      <a:pt x="255" y="260"/>
                    </a:cubicBezTo>
                    <a:cubicBezTo>
                      <a:pt x="252" y="264"/>
                      <a:pt x="246" y="269"/>
                      <a:pt x="241" y="269"/>
                    </a:cubicBezTo>
                    <a:cubicBezTo>
                      <a:pt x="238" y="269"/>
                      <a:pt x="238" y="267"/>
                      <a:pt x="235" y="267"/>
                    </a:cubicBezTo>
                    <a:cubicBezTo>
                      <a:pt x="231" y="267"/>
                      <a:pt x="228" y="271"/>
                      <a:pt x="224" y="273"/>
                    </a:cubicBezTo>
                    <a:cubicBezTo>
                      <a:pt x="220" y="274"/>
                      <a:pt x="216" y="282"/>
                      <a:pt x="212" y="282"/>
                    </a:cubicBezTo>
                    <a:cubicBezTo>
                      <a:pt x="191" y="282"/>
                      <a:pt x="191" y="282"/>
                      <a:pt x="191" y="282"/>
                    </a:cubicBezTo>
                    <a:cubicBezTo>
                      <a:pt x="187" y="282"/>
                      <a:pt x="183" y="283"/>
                      <a:pt x="179" y="287"/>
                    </a:cubicBezTo>
                    <a:cubicBezTo>
                      <a:pt x="175" y="291"/>
                      <a:pt x="171" y="297"/>
                      <a:pt x="168" y="297"/>
                    </a:cubicBezTo>
                    <a:cubicBezTo>
                      <a:pt x="165" y="297"/>
                      <a:pt x="161" y="301"/>
                      <a:pt x="158" y="305"/>
                    </a:cubicBezTo>
                    <a:cubicBezTo>
                      <a:pt x="156" y="309"/>
                      <a:pt x="152" y="315"/>
                      <a:pt x="146" y="315"/>
                    </a:cubicBezTo>
                    <a:cubicBezTo>
                      <a:pt x="139" y="315"/>
                      <a:pt x="138" y="311"/>
                      <a:pt x="138" y="307"/>
                    </a:cubicBezTo>
                    <a:cubicBezTo>
                      <a:pt x="137" y="299"/>
                      <a:pt x="132" y="296"/>
                      <a:pt x="132" y="296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66" name="Freeform 41"/>
              <p:cNvSpPr>
                <a:spLocks/>
              </p:cNvSpPr>
              <p:nvPr/>
            </p:nvSpPr>
            <p:spPr bwMode="auto">
              <a:xfrm>
                <a:off x="542" y="3382"/>
                <a:ext cx="1237" cy="793"/>
              </a:xfrm>
              <a:custGeom>
                <a:avLst/>
                <a:gdLst>
                  <a:gd name="T0" fmla="*/ 84 w 522"/>
                  <a:gd name="T1" fmla="*/ 313 h 335"/>
                  <a:gd name="T2" fmla="*/ 115 w 522"/>
                  <a:gd name="T3" fmla="*/ 292 h 335"/>
                  <a:gd name="T4" fmla="*/ 135 w 522"/>
                  <a:gd name="T5" fmla="*/ 276 h 335"/>
                  <a:gd name="T6" fmla="*/ 114 w 522"/>
                  <a:gd name="T7" fmla="*/ 283 h 335"/>
                  <a:gd name="T8" fmla="*/ 90 w 522"/>
                  <a:gd name="T9" fmla="*/ 295 h 335"/>
                  <a:gd name="T10" fmla="*/ 84 w 522"/>
                  <a:gd name="T11" fmla="*/ 288 h 335"/>
                  <a:gd name="T12" fmla="*/ 146 w 522"/>
                  <a:gd name="T13" fmla="*/ 254 h 335"/>
                  <a:gd name="T14" fmla="*/ 158 w 522"/>
                  <a:gd name="T15" fmla="*/ 237 h 335"/>
                  <a:gd name="T16" fmla="*/ 137 w 522"/>
                  <a:gd name="T17" fmla="*/ 228 h 335"/>
                  <a:gd name="T18" fmla="*/ 120 w 522"/>
                  <a:gd name="T19" fmla="*/ 250 h 335"/>
                  <a:gd name="T20" fmla="*/ 73 w 522"/>
                  <a:gd name="T21" fmla="*/ 259 h 335"/>
                  <a:gd name="T22" fmla="*/ 44 w 522"/>
                  <a:gd name="T23" fmla="*/ 272 h 335"/>
                  <a:gd name="T24" fmla="*/ 18 w 522"/>
                  <a:gd name="T25" fmla="*/ 276 h 335"/>
                  <a:gd name="T26" fmla="*/ 1 w 522"/>
                  <a:gd name="T27" fmla="*/ 278 h 335"/>
                  <a:gd name="T28" fmla="*/ 23 w 522"/>
                  <a:gd name="T29" fmla="*/ 262 h 335"/>
                  <a:gd name="T30" fmla="*/ 45 w 522"/>
                  <a:gd name="T31" fmla="*/ 239 h 335"/>
                  <a:gd name="T32" fmla="*/ 64 w 522"/>
                  <a:gd name="T33" fmla="*/ 224 h 335"/>
                  <a:gd name="T34" fmla="*/ 70 w 522"/>
                  <a:gd name="T35" fmla="*/ 222 h 335"/>
                  <a:gd name="T36" fmla="*/ 117 w 522"/>
                  <a:gd name="T37" fmla="*/ 213 h 335"/>
                  <a:gd name="T38" fmla="*/ 177 w 522"/>
                  <a:gd name="T39" fmla="*/ 194 h 335"/>
                  <a:gd name="T40" fmla="*/ 216 w 522"/>
                  <a:gd name="T41" fmla="*/ 146 h 335"/>
                  <a:gd name="T42" fmla="*/ 222 w 522"/>
                  <a:gd name="T43" fmla="*/ 108 h 335"/>
                  <a:gd name="T44" fmla="*/ 210 w 522"/>
                  <a:gd name="T45" fmla="*/ 68 h 335"/>
                  <a:gd name="T46" fmla="*/ 218 w 522"/>
                  <a:gd name="T47" fmla="*/ 33 h 335"/>
                  <a:gd name="T48" fmla="*/ 256 w 522"/>
                  <a:gd name="T49" fmla="*/ 20 h 335"/>
                  <a:gd name="T50" fmla="*/ 311 w 522"/>
                  <a:gd name="T51" fmla="*/ 1 h 335"/>
                  <a:gd name="T52" fmla="*/ 375 w 522"/>
                  <a:gd name="T53" fmla="*/ 36 h 335"/>
                  <a:gd name="T54" fmla="*/ 417 w 522"/>
                  <a:gd name="T55" fmla="*/ 25 h 335"/>
                  <a:gd name="T56" fmla="*/ 449 w 522"/>
                  <a:gd name="T57" fmla="*/ 29 h 335"/>
                  <a:gd name="T58" fmla="*/ 467 w 522"/>
                  <a:gd name="T59" fmla="*/ 63 h 335"/>
                  <a:gd name="T60" fmla="*/ 468 w 522"/>
                  <a:gd name="T61" fmla="*/ 92 h 335"/>
                  <a:gd name="T62" fmla="*/ 522 w 522"/>
                  <a:gd name="T63" fmla="*/ 150 h 335"/>
                  <a:gd name="T64" fmla="*/ 506 w 522"/>
                  <a:gd name="T65" fmla="*/ 171 h 335"/>
                  <a:gd name="T66" fmla="*/ 480 w 522"/>
                  <a:gd name="T67" fmla="*/ 197 h 335"/>
                  <a:gd name="T68" fmla="*/ 453 w 522"/>
                  <a:gd name="T69" fmla="*/ 210 h 335"/>
                  <a:gd name="T70" fmla="*/ 429 w 522"/>
                  <a:gd name="T71" fmla="*/ 198 h 335"/>
                  <a:gd name="T72" fmla="*/ 436 w 522"/>
                  <a:gd name="T73" fmla="*/ 191 h 335"/>
                  <a:gd name="T74" fmla="*/ 441 w 522"/>
                  <a:gd name="T75" fmla="*/ 182 h 335"/>
                  <a:gd name="T76" fmla="*/ 397 w 522"/>
                  <a:gd name="T77" fmla="*/ 181 h 335"/>
                  <a:gd name="T78" fmla="*/ 418 w 522"/>
                  <a:gd name="T79" fmla="*/ 200 h 335"/>
                  <a:gd name="T80" fmla="*/ 417 w 522"/>
                  <a:gd name="T81" fmla="*/ 227 h 335"/>
                  <a:gd name="T82" fmla="*/ 392 w 522"/>
                  <a:gd name="T83" fmla="*/ 246 h 335"/>
                  <a:gd name="T84" fmla="*/ 376 w 522"/>
                  <a:gd name="T85" fmla="*/ 255 h 335"/>
                  <a:gd name="T86" fmla="*/ 370 w 522"/>
                  <a:gd name="T87" fmla="*/ 250 h 335"/>
                  <a:gd name="T88" fmla="*/ 364 w 522"/>
                  <a:gd name="T89" fmla="*/ 280 h 335"/>
                  <a:gd name="T90" fmla="*/ 333 w 522"/>
                  <a:gd name="T91" fmla="*/ 279 h 335"/>
                  <a:gd name="T92" fmla="*/ 321 w 522"/>
                  <a:gd name="T93" fmla="*/ 291 h 335"/>
                  <a:gd name="T94" fmla="*/ 312 w 522"/>
                  <a:gd name="T95" fmla="*/ 287 h 335"/>
                  <a:gd name="T96" fmla="*/ 288 w 522"/>
                  <a:gd name="T97" fmla="*/ 292 h 335"/>
                  <a:gd name="T98" fmla="*/ 269 w 522"/>
                  <a:gd name="T99" fmla="*/ 300 h 335"/>
                  <a:gd name="T100" fmla="*/ 233 w 522"/>
                  <a:gd name="T101" fmla="*/ 291 h 335"/>
                  <a:gd name="T102" fmla="*/ 219 w 522"/>
                  <a:gd name="T103" fmla="*/ 308 h 335"/>
                  <a:gd name="T104" fmla="*/ 213 w 522"/>
                  <a:gd name="T105" fmla="*/ 319 h 335"/>
                  <a:gd name="T106" fmla="*/ 189 w 522"/>
                  <a:gd name="T107" fmla="*/ 323 h 335"/>
                  <a:gd name="T108" fmla="*/ 173 w 522"/>
                  <a:gd name="T109" fmla="*/ 321 h 335"/>
                  <a:gd name="T110" fmla="*/ 165 w 522"/>
                  <a:gd name="T111" fmla="*/ 299 h 335"/>
                  <a:gd name="T112" fmla="*/ 160 w 522"/>
                  <a:gd name="T113" fmla="*/ 304 h 335"/>
                  <a:gd name="T114" fmla="*/ 138 w 522"/>
                  <a:gd name="T115" fmla="*/ 307 h 335"/>
                  <a:gd name="T116" fmla="*/ 131 w 522"/>
                  <a:gd name="T117" fmla="*/ 319 h 335"/>
                  <a:gd name="T118" fmla="*/ 118 w 522"/>
                  <a:gd name="T119" fmla="*/ 316 h 335"/>
                  <a:gd name="T120" fmla="*/ 102 w 522"/>
                  <a:gd name="T121" fmla="*/ 325 h 335"/>
                  <a:gd name="T122" fmla="*/ 84 w 522"/>
                  <a:gd name="T123" fmla="*/ 332 h 3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22" h="335">
                    <a:moveTo>
                      <a:pt x="81" y="335"/>
                    </a:moveTo>
                    <a:cubicBezTo>
                      <a:pt x="77" y="335"/>
                      <a:pt x="76" y="334"/>
                      <a:pt x="76" y="330"/>
                    </a:cubicBezTo>
                    <a:cubicBezTo>
                      <a:pt x="76" y="327"/>
                      <a:pt x="76" y="325"/>
                      <a:pt x="75" y="325"/>
                    </a:cubicBezTo>
                    <a:cubicBezTo>
                      <a:pt x="73" y="325"/>
                      <a:pt x="71" y="324"/>
                      <a:pt x="71" y="321"/>
                    </a:cubicBezTo>
                    <a:cubicBezTo>
                      <a:pt x="71" y="319"/>
                      <a:pt x="74" y="317"/>
                      <a:pt x="77" y="317"/>
                    </a:cubicBezTo>
                    <a:cubicBezTo>
                      <a:pt x="78" y="317"/>
                      <a:pt x="79" y="316"/>
                      <a:pt x="80" y="315"/>
                    </a:cubicBezTo>
                    <a:cubicBezTo>
                      <a:pt x="81" y="314"/>
                      <a:pt x="82" y="313"/>
                      <a:pt x="84" y="313"/>
                    </a:cubicBezTo>
                    <a:cubicBezTo>
                      <a:pt x="85" y="313"/>
                      <a:pt x="86" y="313"/>
                      <a:pt x="86" y="311"/>
                    </a:cubicBezTo>
                    <a:cubicBezTo>
                      <a:pt x="86" y="309"/>
                      <a:pt x="87" y="307"/>
                      <a:pt x="91" y="307"/>
                    </a:cubicBezTo>
                    <a:cubicBezTo>
                      <a:pt x="92" y="307"/>
                      <a:pt x="93" y="307"/>
                      <a:pt x="93" y="306"/>
                    </a:cubicBezTo>
                    <a:cubicBezTo>
                      <a:pt x="94" y="305"/>
                      <a:pt x="95" y="303"/>
                      <a:pt x="97" y="303"/>
                    </a:cubicBezTo>
                    <a:cubicBezTo>
                      <a:pt x="99" y="303"/>
                      <a:pt x="104" y="300"/>
                      <a:pt x="107" y="299"/>
                    </a:cubicBezTo>
                    <a:cubicBezTo>
                      <a:pt x="110" y="297"/>
                      <a:pt x="111" y="296"/>
                      <a:pt x="112" y="296"/>
                    </a:cubicBezTo>
                    <a:cubicBezTo>
                      <a:pt x="113" y="296"/>
                      <a:pt x="115" y="294"/>
                      <a:pt x="115" y="292"/>
                    </a:cubicBezTo>
                    <a:cubicBezTo>
                      <a:pt x="115" y="290"/>
                      <a:pt x="117" y="290"/>
                      <a:pt x="118" y="289"/>
                    </a:cubicBezTo>
                    <a:cubicBezTo>
                      <a:pt x="120" y="289"/>
                      <a:pt x="120" y="288"/>
                      <a:pt x="120" y="288"/>
                    </a:cubicBezTo>
                    <a:cubicBezTo>
                      <a:pt x="120" y="284"/>
                      <a:pt x="123" y="284"/>
                      <a:pt x="124" y="284"/>
                    </a:cubicBezTo>
                    <a:cubicBezTo>
                      <a:pt x="124" y="284"/>
                      <a:pt x="124" y="284"/>
                      <a:pt x="124" y="284"/>
                    </a:cubicBezTo>
                    <a:cubicBezTo>
                      <a:pt x="124" y="284"/>
                      <a:pt x="124" y="284"/>
                      <a:pt x="124" y="284"/>
                    </a:cubicBezTo>
                    <a:cubicBezTo>
                      <a:pt x="125" y="284"/>
                      <a:pt x="127" y="283"/>
                      <a:pt x="127" y="281"/>
                    </a:cubicBezTo>
                    <a:cubicBezTo>
                      <a:pt x="128" y="278"/>
                      <a:pt x="131" y="276"/>
                      <a:pt x="135" y="276"/>
                    </a:cubicBezTo>
                    <a:cubicBezTo>
                      <a:pt x="135" y="276"/>
                      <a:pt x="136" y="275"/>
                      <a:pt x="136" y="275"/>
                    </a:cubicBezTo>
                    <a:cubicBezTo>
                      <a:pt x="136" y="275"/>
                      <a:pt x="136" y="275"/>
                      <a:pt x="136" y="275"/>
                    </a:cubicBezTo>
                    <a:cubicBezTo>
                      <a:pt x="136" y="275"/>
                      <a:pt x="135" y="274"/>
                      <a:pt x="135" y="274"/>
                    </a:cubicBezTo>
                    <a:cubicBezTo>
                      <a:pt x="131" y="274"/>
                      <a:pt x="128" y="276"/>
                      <a:pt x="126" y="278"/>
                    </a:cubicBezTo>
                    <a:cubicBezTo>
                      <a:pt x="124" y="280"/>
                      <a:pt x="122" y="281"/>
                      <a:pt x="120" y="281"/>
                    </a:cubicBezTo>
                    <a:cubicBezTo>
                      <a:pt x="118" y="281"/>
                      <a:pt x="118" y="282"/>
                      <a:pt x="117" y="282"/>
                    </a:cubicBezTo>
                    <a:cubicBezTo>
                      <a:pt x="116" y="283"/>
                      <a:pt x="115" y="283"/>
                      <a:pt x="114" y="283"/>
                    </a:cubicBezTo>
                    <a:cubicBezTo>
                      <a:pt x="114" y="283"/>
                      <a:pt x="112" y="284"/>
                      <a:pt x="111" y="285"/>
                    </a:cubicBezTo>
                    <a:cubicBezTo>
                      <a:pt x="109" y="286"/>
                      <a:pt x="107" y="287"/>
                      <a:pt x="106" y="287"/>
                    </a:cubicBezTo>
                    <a:cubicBezTo>
                      <a:pt x="105" y="287"/>
                      <a:pt x="104" y="288"/>
                      <a:pt x="104" y="289"/>
                    </a:cubicBezTo>
                    <a:cubicBezTo>
                      <a:pt x="102" y="289"/>
                      <a:pt x="101" y="290"/>
                      <a:pt x="99" y="290"/>
                    </a:cubicBezTo>
                    <a:cubicBezTo>
                      <a:pt x="98" y="290"/>
                      <a:pt x="98" y="291"/>
                      <a:pt x="97" y="291"/>
                    </a:cubicBezTo>
                    <a:cubicBezTo>
                      <a:pt x="96" y="292"/>
                      <a:pt x="95" y="293"/>
                      <a:pt x="93" y="293"/>
                    </a:cubicBezTo>
                    <a:cubicBezTo>
                      <a:pt x="92" y="293"/>
                      <a:pt x="91" y="294"/>
                      <a:pt x="90" y="295"/>
                    </a:cubicBezTo>
                    <a:cubicBezTo>
                      <a:pt x="89" y="295"/>
                      <a:pt x="89" y="296"/>
                      <a:pt x="88" y="296"/>
                    </a:cubicBezTo>
                    <a:cubicBezTo>
                      <a:pt x="86" y="298"/>
                      <a:pt x="84" y="299"/>
                      <a:pt x="82" y="299"/>
                    </a:cubicBezTo>
                    <a:cubicBezTo>
                      <a:pt x="81" y="299"/>
                      <a:pt x="80" y="299"/>
                      <a:pt x="79" y="299"/>
                    </a:cubicBezTo>
                    <a:cubicBezTo>
                      <a:pt x="78" y="300"/>
                      <a:pt x="77" y="300"/>
                      <a:pt x="76" y="300"/>
                    </a:cubicBezTo>
                    <a:cubicBezTo>
                      <a:pt x="72" y="300"/>
                      <a:pt x="71" y="298"/>
                      <a:pt x="71" y="297"/>
                    </a:cubicBezTo>
                    <a:cubicBezTo>
                      <a:pt x="71" y="295"/>
                      <a:pt x="74" y="294"/>
                      <a:pt x="77" y="293"/>
                    </a:cubicBezTo>
                    <a:cubicBezTo>
                      <a:pt x="80" y="292"/>
                      <a:pt x="84" y="289"/>
                      <a:pt x="84" y="288"/>
                    </a:cubicBezTo>
                    <a:cubicBezTo>
                      <a:pt x="84" y="286"/>
                      <a:pt x="87" y="283"/>
                      <a:pt x="89" y="281"/>
                    </a:cubicBezTo>
                    <a:cubicBezTo>
                      <a:pt x="90" y="280"/>
                      <a:pt x="95" y="277"/>
                      <a:pt x="97" y="277"/>
                    </a:cubicBezTo>
                    <a:cubicBezTo>
                      <a:pt x="99" y="277"/>
                      <a:pt x="106" y="273"/>
                      <a:pt x="106" y="272"/>
                    </a:cubicBezTo>
                    <a:cubicBezTo>
                      <a:pt x="106" y="269"/>
                      <a:pt x="116" y="266"/>
                      <a:pt x="118" y="266"/>
                    </a:cubicBezTo>
                    <a:cubicBezTo>
                      <a:pt x="121" y="266"/>
                      <a:pt x="125" y="264"/>
                      <a:pt x="125" y="263"/>
                    </a:cubicBezTo>
                    <a:cubicBezTo>
                      <a:pt x="125" y="260"/>
                      <a:pt x="136" y="256"/>
                      <a:pt x="142" y="256"/>
                    </a:cubicBezTo>
                    <a:cubicBezTo>
                      <a:pt x="143" y="256"/>
                      <a:pt x="145" y="255"/>
                      <a:pt x="146" y="254"/>
                    </a:cubicBezTo>
                    <a:cubicBezTo>
                      <a:pt x="149" y="253"/>
                      <a:pt x="151" y="252"/>
                      <a:pt x="154" y="251"/>
                    </a:cubicBezTo>
                    <a:cubicBezTo>
                      <a:pt x="158" y="251"/>
                      <a:pt x="158" y="250"/>
                      <a:pt x="158" y="247"/>
                    </a:cubicBezTo>
                    <a:cubicBezTo>
                      <a:pt x="158" y="246"/>
                      <a:pt x="158" y="244"/>
                      <a:pt x="159" y="243"/>
                    </a:cubicBezTo>
                    <a:cubicBezTo>
                      <a:pt x="160" y="242"/>
                      <a:pt x="160" y="241"/>
                      <a:pt x="160" y="239"/>
                    </a:cubicBezTo>
                    <a:cubicBezTo>
                      <a:pt x="160" y="236"/>
                      <a:pt x="159" y="236"/>
                      <a:pt x="159" y="236"/>
                    </a:cubicBezTo>
                    <a:cubicBezTo>
                      <a:pt x="158" y="236"/>
                      <a:pt x="158" y="236"/>
                      <a:pt x="158" y="236"/>
                    </a:cubicBezTo>
                    <a:cubicBezTo>
                      <a:pt x="158" y="236"/>
                      <a:pt x="158" y="236"/>
                      <a:pt x="158" y="237"/>
                    </a:cubicBezTo>
                    <a:cubicBezTo>
                      <a:pt x="158" y="238"/>
                      <a:pt x="157" y="240"/>
                      <a:pt x="154" y="240"/>
                    </a:cubicBezTo>
                    <a:cubicBezTo>
                      <a:pt x="150" y="240"/>
                      <a:pt x="147" y="240"/>
                      <a:pt x="147" y="237"/>
                    </a:cubicBezTo>
                    <a:cubicBezTo>
                      <a:pt x="147" y="237"/>
                      <a:pt x="146" y="236"/>
                      <a:pt x="146" y="236"/>
                    </a:cubicBezTo>
                    <a:cubicBezTo>
                      <a:pt x="145" y="236"/>
                      <a:pt x="143" y="235"/>
                      <a:pt x="143" y="232"/>
                    </a:cubicBezTo>
                    <a:cubicBezTo>
                      <a:pt x="143" y="229"/>
                      <a:pt x="140" y="224"/>
                      <a:pt x="138" y="224"/>
                    </a:cubicBezTo>
                    <a:cubicBezTo>
                      <a:pt x="138" y="224"/>
                      <a:pt x="137" y="225"/>
                      <a:pt x="137" y="225"/>
                    </a:cubicBezTo>
                    <a:cubicBezTo>
                      <a:pt x="137" y="225"/>
                      <a:pt x="137" y="227"/>
                      <a:pt x="137" y="228"/>
                    </a:cubicBezTo>
                    <a:cubicBezTo>
                      <a:pt x="137" y="229"/>
                      <a:pt x="137" y="229"/>
                      <a:pt x="137" y="229"/>
                    </a:cubicBezTo>
                    <a:cubicBezTo>
                      <a:pt x="137" y="230"/>
                      <a:pt x="137" y="231"/>
                      <a:pt x="138" y="232"/>
                    </a:cubicBezTo>
                    <a:cubicBezTo>
                      <a:pt x="138" y="233"/>
                      <a:pt x="138" y="234"/>
                      <a:pt x="138" y="235"/>
                    </a:cubicBezTo>
                    <a:cubicBezTo>
                      <a:pt x="138" y="237"/>
                      <a:pt x="137" y="241"/>
                      <a:pt x="133" y="241"/>
                    </a:cubicBezTo>
                    <a:cubicBezTo>
                      <a:pt x="130" y="241"/>
                      <a:pt x="129" y="243"/>
                      <a:pt x="129" y="244"/>
                    </a:cubicBezTo>
                    <a:cubicBezTo>
                      <a:pt x="129" y="246"/>
                      <a:pt x="127" y="248"/>
                      <a:pt x="124" y="248"/>
                    </a:cubicBezTo>
                    <a:cubicBezTo>
                      <a:pt x="123" y="248"/>
                      <a:pt x="121" y="249"/>
                      <a:pt x="120" y="250"/>
                    </a:cubicBezTo>
                    <a:cubicBezTo>
                      <a:pt x="117" y="252"/>
                      <a:pt x="114" y="254"/>
                      <a:pt x="110" y="254"/>
                    </a:cubicBezTo>
                    <a:cubicBezTo>
                      <a:pt x="101" y="254"/>
                      <a:pt x="100" y="255"/>
                      <a:pt x="99" y="255"/>
                    </a:cubicBezTo>
                    <a:cubicBezTo>
                      <a:pt x="98" y="256"/>
                      <a:pt x="98" y="256"/>
                      <a:pt x="96" y="256"/>
                    </a:cubicBezTo>
                    <a:cubicBezTo>
                      <a:pt x="94" y="256"/>
                      <a:pt x="91" y="257"/>
                      <a:pt x="89" y="258"/>
                    </a:cubicBezTo>
                    <a:cubicBezTo>
                      <a:pt x="86" y="259"/>
                      <a:pt x="83" y="260"/>
                      <a:pt x="79" y="260"/>
                    </a:cubicBezTo>
                    <a:cubicBezTo>
                      <a:pt x="77" y="260"/>
                      <a:pt x="76" y="259"/>
                      <a:pt x="75" y="259"/>
                    </a:cubicBezTo>
                    <a:cubicBezTo>
                      <a:pt x="75" y="259"/>
                      <a:pt x="74" y="259"/>
                      <a:pt x="73" y="259"/>
                    </a:cubicBezTo>
                    <a:cubicBezTo>
                      <a:pt x="73" y="259"/>
                      <a:pt x="72" y="259"/>
                      <a:pt x="72" y="259"/>
                    </a:cubicBezTo>
                    <a:cubicBezTo>
                      <a:pt x="70" y="260"/>
                      <a:pt x="69" y="261"/>
                      <a:pt x="65" y="261"/>
                    </a:cubicBezTo>
                    <a:cubicBezTo>
                      <a:pt x="61" y="261"/>
                      <a:pt x="58" y="262"/>
                      <a:pt x="57" y="263"/>
                    </a:cubicBezTo>
                    <a:cubicBezTo>
                      <a:pt x="56" y="264"/>
                      <a:pt x="56" y="264"/>
                      <a:pt x="55" y="264"/>
                    </a:cubicBezTo>
                    <a:cubicBezTo>
                      <a:pt x="54" y="265"/>
                      <a:pt x="54" y="265"/>
                      <a:pt x="54" y="266"/>
                    </a:cubicBezTo>
                    <a:cubicBezTo>
                      <a:pt x="54" y="271"/>
                      <a:pt x="51" y="274"/>
                      <a:pt x="48" y="274"/>
                    </a:cubicBezTo>
                    <a:cubicBezTo>
                      <a:pt x="45" y="274"/>
                      <a:pt x="45" y="273"/>
                      <a:pt x="44" y="272"/>
                    </a:cubicBezTo>
                    <a:cubicBezTo>
                      <a:pt x="43" y="272"/>
                      <a:pt x="43" y="272"/>
                      <a:pt x="42" y="272"/>
                    </a:cubicBezTo>
                    <a:cubicBezTo>
                      <a:pt x="42" y="272"/>
                      <a:pt x="41" y="273"/>
                      <a:pt x="41" y="274"/>
                    </a:cubicBezTo>
                    <a:cubicBezTo>
                      <a:pt x="40" y="275"/>
                      <a:pt x="39" y="278"/>
                      <a:pt x="36" y="278"/>
                    </a:cubicBezTo>
                    <a:cubicBezTo>
                      <a:pt x="35" y="278"/>
                      <a:pt x="34" y="278"/>
                      <a:pt x="33" y="279"/>
                    </a:cubicBezTo>
                    <a:cubicBezTo>
                      <a:pt x="32" y="279"/>
                      <a:pt x="31" y="280"/>
                      <a:pt x="29" y="280"/>
                    </a:cubicBezTo>
                    <a:cubicBezTo>
                      <a:pt x="26" y="280"/>
                      <a:pt x="24" y="279"/>
                      <a:pt x="23" y="278"/>
                    </a:cubicBezTo>
                    <a:cubicBezTo>
                      <a:pt x="21" y="277"/>
                      <a:pt x="20" y="276"/>
                      <a:pt x="18" y="276"/>
                    </a:cubicBezTo>
                    <a:cubicBezTo>
                      <a:pt x="17" y="276"/>
                      <a:pt x="16" y="277"/>
                      <a:pt x="15" y="277"/>
                    </a:cubicBezTo>
                    <a:cubicBezTo>
                      <a:pt x="15" y="278"/>
                      <a:pt x="14" y="279"/>
                      <a:pt x="12" y="279"/>
                    </a:cubicBezTo>
                    <a:cubicBezTo>
                      <a:pt x="9" y="279"/>
                      <a:pt x="8" y="279"/>
                      <a:pt x="6" y="281"/>
                    </a:cubicBezTo>
                    <a:cubicBezTo>
                      <a:pt x="5" y="283"/>
                      <a:pt x="3" y="284"/>
                      <a:pt x="2" y="284"/>
                    </a:cubicBezTo>
                    <a:cubicBezTo>
                      <a:pt x="2" y="284"/>
                      <a:pt x="1" y="283"/>
                      <a:pt x="1" y="283"/>
                    </a:cubicBezTo>
                    <a:cubicBezTo>
                      <a:pt x="0" y="283"/>
                      <a:pt x="0" y="282"/>
                      <a:pt x="0" y="282"/>
                    </a:cubicBezTo>
                    <a:cubicBezTo>
                      <a:pt x="0" y="281"/>
                      <a:pt x="0" y="280"/>
                      <a:pt x="1" y="278"/>
                    </a:cubicBezTo>
                    <a:cubicBezTo>
                      <a:pt x="2" y="278"/>
                      <a:pt x="2" y="277"/>
                      <a:pt x="2" y="277"/>
                    </a:cubicBezTo>
                    <a:cubicBezTo>
                      <a:pt x="3" y="276"/>
                      <a:pt x="3" y="276"/>
                      <a:pt x="3" y="275"/>
                    </a:cubicBezTo>
                    <a:cubicBezTo>
                      <a:pt x="3" y="274"/>
                      <a:pt x="3" y="274"/>
                      <a:pt x="3" y="273"/>
                    </a:cubicBezTo>
                    <a:cubicBezTo>
                      <a:pt x="3" y="270"/>
                      <a:pt x="6" y="270"/>
                      <a:pt x="7" y="270"/>
                    </a:cubicBezTo>
                    <a:cubicBezTo>
                      <a:pt x="9" y="270"/>
                      <a:pt x="11" y="269"/>
                      <a:pt x="13" y="268"/>
                    </a:cubicBezTo>
                    <a:cubicBezTo>
                      <a:pt x="15" y="267"/>
                      <a:pt x="17" y="267"/>
                      <a:pt x="18" y="267"/>
                    </a:cubicBezTo>
                    <a:cubicBezTo>
                      <a:pt x="21" y="267"/>
                      <a:pt x="23" y="265"/>
                      <a:pt x="23" y="262"/>
                    </a:cubicBezTo>
                    <a:cubicBezTo>
                      <a:pt x="23" y="260"/>
                      <a:pt x="21" y="257"/>
                      <a:pt x="19" y="257"/>
                    </a:cubicBezTo>
                    <a:cubicBezTo>
                      <a:pt x="16" y="257"/>
                      <a:pt x="14" y="256"/>
                      <a:pt x="14" y="254"/>
                    </a:cubicBezTo>
                    <a:cubicBezTo>
                      <a:pt x="14" y="252"/>
                      <a:pt x="16" y="250"/>
                      <a:pt x="20" y="250"/>
                    </a:cubicBezTo>
                    <a:cubicBezTo>
                      <a:pt x="31" y="250"/>
                      <a:pt x="31" y="250"/>
                      <a:pt x="31" y="250"/>
                    </a:cubicBezTo>
                    <a:cubicBezTo>
                      <a:pt x="32" y="250"/>
                      <a:pt x="33" y="249"/>
                      <a:pt x="35" y="249"/>
                    </a:cubicBezTo>
                    <a:cubicBezTo>
                      <a:pt x="36" y="248"/>
                      <a:pt x="37" y="247"/>
                      <a:pt x="39" y="247"/>
                    </a:cubicBezTo>
                    <a:cubicBezTo>
                      <a:pt x="42" y="247"/>
                      <a:pt x="45" y="241"/>
                      <a:pt x="45" y="239"/>
                    </a:cubicBezTo>
                    <a:cubicBezTo>
                      <a:pt x="45" y="238"/>
                      <a:pt x="45" y="238"/>
                      <a:pt x="43" y="238"/>
                    </a:cubicBezTo>
                    <a:cubicBezTo>
                      <a:pt x="41" y="238"/>
                      <a:pt x="38" y="238"/>
                      <a:pt x="38" y="234"/>
                    </a:cubicBezTo>
                    <a:cubicBezTo>
                      <a:pt x="38" y="232"/>
                      <a:pt x="44" y="227"/>
                      <a:pt x="49" y="227"/>
                    </a:cubicBezTo>
                    <a:cubicBezTo>
                      <a:pt x="50" y="227"/>
                      <a:pt x="52" y="225"/>
                      <a:pt x="54" y="224"/>
                    </a:cubicBezTo>
                    <a:cubicBezTo>
                      <a:pt x="55" y="221"/>
                      <a:pt x="57" y="219"/>
                      <a:pt x="60" y="219"/>
                    </a:cubicBezTo>
                    <a:cubicBezTo>
                      <a:pt x="61" y="219"/>
                      <a:pt x="62" y="220"/>
                      <a:pt x="63" y="220"/>
                    </a:cubicBezTo>
                    <a:cubicBezTo>
                      <a:pt x="64" y="221"/>
                      <a:pt x="64" y="223"/>
                      <a:pt x="64" y="224"/>
                    </a:cubicBezTo>
                    <a:cubicBezTo>
                      <a:pt x="64" y="224"/>
                      <a:pt x="64" y="224"/>
                      <a:pt x="64" y="224"/>
                    </a:cubicBezTo>
                    <a:cubicBezTo>
                      <a:pt x="64" y="225"/>
                      <a:pt x="64" y="225"/>
                      <a:pt x="64" y="226"/>
                    </a:cubicBezTo>
                    <a:cubicBezTo>
                      <a:pt x="64" y="226"/>
                      <a:pt x="64" y="225"/>
                      <a:pt x="65" y="225"/>
                    </a:cubicBezTo>
                    <a:cubicBezTo>
                      <a:pt x="65" y="224"/>
                      <a:pt x="66" y="223"/>
                      <a:pt x="68" y="223"/>
                    </a:cubicBezTo>
                    <a:cubicBezTo>
                      <a:pt x="68" y="223"/>
                      <a:pt x="69" y="223"/>
                      <a:pt x="69" y="222"/>
                    </a:cubicBezTo>
                    <a:cubicBezTo>
                      <a:pt x="70" y="222"/>
                      <a:pt x="70" y="222"/>
                      <a:pt x="70" y="222"/>
                    </a:cubicBezTo>
                    <a:cubicBezTo>
                      <a:pt x="70" y="222"/>
                      <a:pt x="70" y="222"/>
                      <a:pt x="70" y="222"/>
                    </a:cubicBezTo>
                    <a:cubicBezTo>
                      <a:pt x="71" y="222"/>
                      <a:pt x="76" y="226"/>
                      <a:pt x="77" y="234"/>
                    </a:cubicBezTo>
                    <a:cubicBezTo>
                      <a:pt x="77" y="238"/>
                      <a:pt x="78" y="241"/>
                      <a:pt x="84" y="241"/>
                    </a:cubicBezTo>
                    <a:cubicBezTo>
                      <a:pt x="89" y="241"/>
                      <a:pt x="93" y="236"/>
                      <a:pt x="95" y="232"/>
                    </a:cubicBezTo>
                    <a:cubicBezTo>
                      <a:pt x="96" y="232"/>
                      <a:pt x="96" y="232"/>
                      <a:pt x="96" y="232"/>
                    </a:cubicBezTo>
                    <a:cubicBezTo>
                      <a:pt x="97" y="230"/>
                      <a:pt x="101" y="223"/>
                      <a:pt x="106" y="223"/>
                    </a:cubicBezTo>
                    <a:cubicBezTo>
                      <a:pt x="108" y="223"/>
                      <a:pt x="110" y="220"/>
                      <a:pt x="113" y="218"/>
                    </a:cubicBezTo>
                    <a:cubicBezTo>
                      <a:pt x="114" y="216"/>
                      <a:pt x="115" y="215"/>
                      <a:pt x="117" y="213"/>
                    </a:cubicBezTo>
                    <a:cubicBezTo>
                      <a:pt x="120" y="210"/>
                      <a:pt x="124" y="208"/>
                      <a:pt x="129" y="208"/>
                    </a:cubicBezTo>
                    <a:cubicBezTo>
                      <a:pt x="150" y="208"/>
                      <a:pt x="150" y="208"/>
                      <a:pt x="150" y="208"/>
                    </a:cubicBezTo>
                    <a:cubicBezTo>
                      <a:pt x="152" y="208"/>
                      <a:pt x="154" y="206"/>
                      <a:pt x="156" y="204"/>
                    </a:cubicBezTo>
                    <a:cubicBezTo>
                      <a:pt x="158" y="202"/>
                      <a:pt x="160" y="200"/>
                      <a:pt x="162" y="199"/>
                    </a:cubicBezTo>
                    <a:cubicBezTo>
                      <a:pt x="164" y="198"/>
                      <a:pt x="165" y="197"/>
                      <a:pt x="166" y="196"/>
                    </a:cubicBezTo>
                    <a:cubicBezTo>
                      <a:pt x="168" y="195"/>
                      <a:pt x="170" y="193"/>
                      <a:pt x="173" y="193"/>
                    </a:cubicBezTo>
                    <a:cubicBezTo>
                      <a:pt x="175" y="193"/>
                      <a:pt x="176" y="194"/>
                      <a:pt x="177" y="194"/>
                    </a:cubicBezTo>
                    <a:cubicBezTo>
                      <a:pt x="177" y="195"/>
                      <a:pt x="178" y="195"/>
                      <a:pt x="179" y="195"/>
                    </a:cubicBezTo>
                    <a:cubicBezTo>
                      <a:pt x="183" y="195"/>
                      <a:pt x="190" y="190"/>
                      <a:pt x="192" y="186"/>
                    </a:cubicBezTo>
                    <a:cubicBezTo>
                      <a:pt x="193" y="185"/>
                      <a:pt x="194" y="183"/>
                      <a:pt x="195" y="181"/>
                    </a:cubicBezTo>
                    <a:cubicBezTo>
                      <a:pt x="198" y="178"/>
                      <a:pt x="201" y="175"/>
                      <a:pt x="201" y="172"/>
                    </a:cubicBezTo>
                    <a:cubicBezTo>
                      <a:pt x="201" y="170"/>
                      <a:pt x="200" y="169"/>
                      <a:pt x="199" y="167"/>
                    </a:cubicBezTo>
                    <a:cubicBezTo>
                      <a:pt x="198" y="166"/>
                      <a:pt x="197" y="164"/>
                      <a:pt x="197" y="161"/>
                    </a:cubicBezTo>
                    <a:cubicBezTo>
                      <a:pt x="197" y="154"/>
                      <a:pt x="203" y="146"/>
                      <a:pt x="216" y="146"/>
                    </a:cubicBezTo>
                    <a:cubicBezTo>
                      <a:pt x="228" y="146"/>
                      <a:pt x="236" y="138"/>
                      <a:pt x="236" y="136"/>
                    </a:cubicBezTo>
                    <a:cubicBezTo>
                      <a:pt x="236" y="133"/>
                      <a:pt x="234" y="132"/>
                      <a:pt x="232" y="132"/>
                    </a:cubicBezTo>
                    <a:cubicBezTo>
                      <a:pt x="230" y="132"/>
                      <a:pt x="229" y="131"/>
                      <a:pt x="228" y="130"/>
                    </a:cubicBezTo>
                    <a:cubicBezTo>
                      <a:pt x="226" y="129"/>
                      <a:pt x="224" y="128"/>
                      <a:pt x="222" y="128"/>
                    </a:cubicBezTo>
                    <a:cubicBezTo>
                      <a:pt x="216" y="128"/>
                      <a:pt x="213" y="122"/>
                      <a:pt x="213" y="115"/>
                    </a:cubicBezTo>
                    <a:cubicBezTo>
                      <a:pt x="213" y="111"/>
                      <a:pt x="217" y="110"/>
                      <a:pt x="220" y="109"/>
                    </a:cubicBezTo>
                    <a:cubicBezTo>
                      <a:pt x="221" y="109"/>
                      <a:pt x="222" y="108"/>
                      <a:pt x="222" y="108"/>
                    </a:cubicBezTo>
                    <a:cubicBezTo>
                      <a:pt x="222" y="108"/>
                      <a:pt x="222" y="108"/>
                      <a:pt x="221" y="107"/>
                    </a:cubicBezTo>
                    <a:cubicBezTo>
                      <a:pt x="221" y="107"/>
                      <a:pt x="220" y="107"/>
                      <a:pt x="219" y="106"/>
                    </a:cubicBezTo>
                    <a:cubicBezTo>
                      <a:pt x="218" y="105"/>
                      <a:pt x="218" y="104"/>
                      <a:pt x="217" y="102"/>
                    </a:cubicBezTo>
                    <a:cubicBezTo>
                      <a:pt x="217" y="101"/>
                      <a:pt x="217" y="99"/>
                      <a:pt x="216" y="97"/>
                    </a:cubicBezTo>
                    <a:cubicBezTo>
                      <a:pt x="213" y="92"/>
                      <a:pt x="213" y="88"/>
                      <a:pt x="213" y="82"/>
                    </a:cubicBezTo>
                    <a:cubicBezTo>
                      <a:pt x="213" y="78"/>
                      <a:pt x="212" y="76"/>
                      <a:pt x="211" y="73"/>
                    </a:cubicBezTo>
                    <a:cubicBezTo>
                      <a:pt x="211" y="72"/>
                      <a:pt x="210" y="70"/>
                      <a:pt x="210" y="68"/>
                    </a:cubicBezTo>
                    <a:cubicBezTo>
                      <a:pt x="209" y="66"/>
                      <a:pt x="209" y="65"/>
                      <a:pt x="208" y="63"/>
                    </a:cubicBezTo>
                    <a:cubicBezTo>
                      <a:pt x="206" y="61"/>
                      <a:pt x="205" y="58"/>
                      <a:pt x="205" y="53"/>
                    </a:cubicBezTo>
                    <a:cubicBezTo>
                      <a:pt x="205" y="46"/>
                      <a:pt x="209" y="42"/>
                      <a:pt x="212" y="40"/>
                    </a:cubicBezTo>
                    <a:cubicBezTo>
                      <a:pt x="213" y="39"/>
                      <a:pt x="213" y="38"/>
                      <a:pt x="214" y="38"/>
                    </a:cubicBezTo>
                    <a:cubicBezTo>
                      <a:pt x="214" y="37"/>
                      <a:pt x="215" y="36"/>
                      <a:pt x="216" y="36"/>
                    </a:cubicBezTo>
                    <a:cubicBezTo>
                      <a:pt x="217" y="36"/>
                      <a:pt x="217" y="35"/>
                      <a:pt x="218" y="35"/>
                    </a:cubicBezTo>
                    <a:cubicBezTo>
                      <a:pt x="218" y="35"/>
                      <a:pt x="218" y="34"/>
                      <a:pt x="218" y="33"/>
                    </a:cubicBezTo>
                    <a:cubicBezTo>
                      <a:pt x="218" y="32"/>
                      <a:pt x="217" y="30"/>
                      <a:pt x="217" y="25"/>
                    </a:cubicBezTo>
                    <a:cubicBezTo>
                      <a:pt x="220" y="25"/>
                      <a:pt x="220" y="25"/>
                      <a:pt x="220" y="25"/>
                    </a:cubicBezTo>
                    <a:cubicBezTo>
                      <a:pt x="220" y="25"/>
                      <a:pt x="220" y="25"/>
                      <a:pt x="220" y="25"/>
                    </a:cubicBezTo>
                    <a:cubicBezTo>
                      <a:pt x="224" y="25"/>
                      <a:pt x="227" y="23"/>
                      <a:pt x="230" y="21"/>
                    </a:cubicBezTo>
                    <a:cubicBezTo>
                      <a:pt x="233" y="19"/>
                      <a:pt x="237" y="16"/>
                      <a:pt x="241" y="16"/>
                    </a:cubicBezTo>
                    <a:cubicBezTo>
                      <a:pt x="245" y="16"/>
                      <a:pt x="248" y="17"/>
                      <a:pt x="250" y="18"/>
                    </a:cubicBezTo>
                    <a:cubicBezTo>
                      <a:pt x="252" y="19"/>
                      <a:pt x="254" y="20"/>
                      <a:pt x="256" y="20"/>
                    </a:cubicBezTo>
                    <a:cubicBezTo>
                      <a:pt x="259" y="20"/>
                      <a:pt x="260" y="21"/>
                      <a:pt x="261" y="23"/>
                    </a:cubicBezTo>
                    <a:cubicBezTo>
                      <a:pt x="262" y="24"/>
                      <a:pt x="264" y="26"/>
                      <a:pt x="268" y="26"/>
                    </a:cubicBezTo>
                    <a:cubicBezTo>
                      <a:pt x="276" y="26"/>
                      <a:pt x="287" y="16"/>
                      <a:pt x="287" y="14"/>
                    </a:cubicBezTo>
                    <a:cubicBezTo>
                      <a:pt x="287" y="10"/>
                      <a:pt x="296" y="4"/>
                      <a:pt x="299" y="4"/>
                    </a:cubicBezTo>
                    <a:cubicBezTo>
                      <a:pt x="300" y="4"/>
                      <a:pt x="301" y="4"/>
                      <a:pt x="302" y="2"/>
                    </a:cubicBezTo>
                    <a:cubicBezTo>
                      <a:pt x="303" y="1"/>
                      <a:pt x="304" y="0"/>
                      <a:pt x="306" y="0"/>
                    </a:cubicBezTo>
                    <a:cubicBezTo>
                      <a:pt x="308" y="0"/>
                      <a:pt x="310" y="0"/>
                      <a:pt x="311" y="1"/>
                    </a:cubicBezTo>
                    <a:cubicBezTo>
                      <a:pt x="313" y="1"/>
                      <a:pt x="314" y="2"/>
                      <a:pt x="316" y="2"/>
                    </a:cubicBezTo>
                    <a:cubicBezTo>
                      <a:pt x="333" y="2"/>
                      <a:pt x="333" y="2"/>
                      <a:pt x="333" y="2"/>
                    </a:cubicBezTo>
                    <a:cubicBezTo>
                      <a:pt x="335" y="2"/>
                      <a:pt x="337" y="3"/>
                      <a:pt x="338" y="5"/>
                    </a:cubicBezTo>
                    <a:cubicBezTo>
                      <a:pt x="339" y="7"/>
                      <a:pt x="340" y="9"/>
                      <a:pt x="344" y="10"/>
                    </a:cubicBezTo>
                    <a:cubicBezTo>
                      <a:pt x="349" y="12"/>
                      <a:pt x="351" y="15"/>
                      <a:pt x="353" y="19"/>
                    </a:cubicBezTo>
                    <a:cubicBezTo>
                      <a:pt x="355" y="21"/>
                      <a:pt x="356" y="23"/>
                      <a:pt x="358" y="26"/>
                    </a:cubicBezTo>
                    <a:cubicBezTo>
                      <a:pt x="364" y="34"/>
                      <a:pt x="371" y="36"/>
                      <a:pt x="375" y="36"/>
                    </a:cubicBezTo>
                    <a:cubicBezTo>
                      <a:pt x="376" y="36"/>
                      <a:pt x="377" y="35"/>
                      <a:pt x="379" y="34"/>
                    </a:cubicBezTo>
                    <a:cubicBezTo>
                      <a:pt x="380" y="33"/>
                      <a:pt x="381" y="32"/>
                      <a:pt x="383" y="32"/>
                    </a:cubicBezTo>
                    <a:cubicBezTo>
                      <a:pt x="394" y="32"/>
                      <a:pt x="394" y="32"/>
                      <a:pt x="394" y="32"/>
                    </a:cubicBezTo>
                    <a:cubicBezTo>
                      <a:pt x="397" y="32"/>
                      <a:pt x="399" y="30"/>
                      <a:pt x="400" y="27"/>
                    </a:cubicBezTo>
                    <a:cubicBezTo>
                      <a:pt x="402" y="25"/>
                      <a:pt x="404" y="22"/>
                      <a:pt x="406" y="22"/>
                    </a:cubicBezTo>
                    <a:cubicBezTo>
                      <a:pt x="409" y="22"/>
                      <a:pt x="411" y="23"/>
                      <a:pt x="412" y="24"/>
                    </a:cubicBezTo>
                    <a:cubicBezTo>
                      <a:pt x="414" y="24"/>
                      <a:pt x="415" y="25"/>
                      <a:pt x="417" y="25"/>
                    </a:cubicBezTo>
                    <a:cubicBezTo>
                      <a:pt x="420" y="25"/>
                      <a:pt x="422" y="27"/>
                      <a:pt x="424" y="29"/>
                    </a:cubicBezTo>
                    <a:cubicBezTo>
                      <a:pt x="427" y="31"/>
                      <a:pt x="429" y="33"/>
                      <a:pt x="431" y="33"/>
                    </a:cubicBezTo>
                    <a:cubicBezTo>
                      <a:pt x="435" y="33"/>
                      <a:pt x="436" y="32"/>
                      <a:pt x="439" y="30"/>
                    </a:cubicBezTo>
                    <a:cubicBezTo>
                      <a:pt x="440" y="30"/>
                      <a:pt x="440" y="30"/>
                      <a:pt x="441" y="30"/>
                    </a:cubicBezTo>
                    <a:cubicBezTo>
                      <a:pt x="442" y="29"/>
                      <a:pt x="443" y="29"/>
                      <a:pt x="445" y="29"/>
                    </a:cubicBezTo>
                    <a:cubicBezTo>
                      <a:pt x="447" y="29"/>
                      <a:pt x="448" y="29"/>
                      <a:pt x="448" y="29"/>
                    </a:cubicBezTo>
                    <a:cubicBezTo>
                      <a:pt x="449" y="29"/>
                      <a:pt x="449" y="29"/>
                      <a:pt x="449" y="29"/>
                    </a:cubicBezTo>
                    <a:cubicBezTo>
                      <a:pt x="449" y="30"/>
                      <a:pt x="449" y="30"/>
                      <a:pt x="449" y="30"/>
                    </a:cubicBezTo>
                    <a:cubicBezTo>
                      <a:pt x="449" y="36"/>
                      <a:pt x="448" y="43"/>
                      <a:pt x="453" y="46"/>
                    </a:cubicBezTo>
                    <a:cubicBezTo>
                      <a:pt x="454" y="46"/>
                      <a:pt x="455" y="47"/>
                      <a:pt x="455" y="47"/>
                    </a:cubicBezTo>
                    <a:cubicBezTo>
                      <a:pt x="460" y="50"/>
                      <a:pt x="462" y="51"/>
                      <a:pt x="462" y="54"/>
                    </a:cubicBezTo>
                    <a:cubicBezTo>
                      <a:pt x="462" y="55"/>
                      <a:pt x="462" y="56"/>
                      <a:pt x="461" y="57"/>
                    </a:cubicBezTo>
                    <a:cubicBezTo>
                      <a:pt x="461" y="57"/>
                      <a:pt x="461" y="57"/>
                      <a:pt x="461" y="59"/>
                    </a:cubicBezTo>
                    <a:cubicBezTo>
                      <a:pt x="461" y="60"/>
                      <a:pt x="463" y="63"/>
                      <a:pt x="467" y="63"/>
                    </a:cubicBezTo>
                    <a:cubicBezTo>
                      <a:pt x="463" y="63"/>
                      <a:pt x="462" y="66"/>
                      <a:pt x="461" y="68"/>
                    </a:cubicBezTo>
                    <a:cubicBezTo>
                      <a:pt x="460" y="69"/>
                      <a:pt x="460" y="70"/>
                      <a:pt x="459" y="71"/>
                    </a:cubicBezTo>
                    <a:cubicBezTo>
                      <a:pt x="458" y="72"/>
                      <a:pt x="457" y="72"/>
                      <a:pt x="457" y="73"/>
                    </a:cubicBezTo>
                    <a:cubicBezTo>
                      <a:pt x="455" y="75"/>
                      <a:pt x="453" y="77"/>
                      <a:pt x="453" y="79"/>
                    </a:cubicBezTo>
                    <a:cubicBezTo>
                      <a:pt x="453" y="81"/>
                      <a:pt x="456" y="82"/>
                      <a:pt x="458" y="83"/>
                    </a:cubicBezTo>
                    <a:cubicBezTo>
                      <a:pt x="461" y="85"/>
                      <a:pt x="463" y="86"/>
                      <a:pt x="463" y="88"/>
                    </a:cubicBezTo>
                    <a:cubicBezTo>
                      <a:pt x="463" y="90"/>
                      <a:pt x="464" y="91"/>
                      <a:pt x="468" y="92"/>
                    </a:cubicBezTo>
                    <a:cubicBezTo>
                      <a:pt x="475" y="95"/>
                      <a:pt x="481" y="107"/>
                      <a:pt x="481" y="112"/>
                    </a:cubicBezTo>
                    <a:cubicBezTo>
                      <a:pt x="481" y="117"/>
                      <a:pt x="486" y="121"/>
                      <a:pt x="491" y="125"/>
                    </a:cubicBezTo>
                    <a:cubicBezTo>
                      <a:pt x="495" y="129"/>
                      <a:pt x="497" y="130"/>
                      <a:pt x="499" y="135"/>
                    </a:cubicBezTo>
                    <a:cubicBezTo>
                      <a:pt x="499" y="135"/>
                      <a:pt x="499" y="136"/>
                      <a:pt x="500" y="136"/>
                    </a:cubicBezTo>
                    <a:cubicBezTo>
                      <a:pt x="502" y="140"/>
                      <a:pt x="503" y="143"/>
                      <a:pt x="505" y="143"/>
                    </a:cubicBezTo>
                    <a:cubicBezTo>
                      <a:pt x="514" y="143"/>
                      <a:pt x="514" y="143"/>
                      <a:pt x="514" y="143"/>
                    </a:cubicBezTo>
                    <a:cubicBezTo>
                      <a:pt x="519" y="143"/>
                      <a:pt x="522" y="146"/>
                      <a:pt x="522" y="150"/>
                    </a:cubicBezTo>
                    <a:cubicBezTo>
                      <a:pt x="522" y="158"/>
                      <a:pt x="522" y="158"/>
                      <a:pt x="522" y="158"/>
                    </a:cubicBezTo>
                    <a:cubicBezTo>
                      <a:pt x="522" y="158"/>
                      <a:pt x="522" y="158"/>
                      <a:pt x="522" y="158"/>
                    </a:cubicBezTo>
                    <a:cubicBezTo>
                      <a:pt x="521" y="159"/>
                      <a:pt x="521" y="159"/>
                      <a:pt x="521" y="159"/>
                    </a:cubicBezTo>
                    <a:cubicBezTo>
                      <a:pt x="519" y="158"/>
                      <a:pt x="519" y="157"/>
                      <a:pt x="518" y="157"/>
                    </a:cubicBezTo>
                    <a:cubicBezTo>
                      <a:pt x="518" y="156"/>
                      <a:pt x="517" y="155"/>
                      <a:pt x="516" y="155"/>
                    </a:cubicBezTo>
                    <a:cubicBezTo>
                      <a:pt x="515" y="155"/>
                      <a:pt x="514" y="160"/>
                      <a:pt x="513" y="162"/>
                    </a:cubicBezTo>
                    <a:cubicBezTo>
                      <a:pt x="511" y="166"/>
                      <a:pt x="509" y="171"/>
                      <a:pt x="506" y="171"/>
                    </a:cubicBezTo>
                    <a:cubicBezTo>
                      <a:pt x="504" y="171"/>
                      <a:pt x="503" y="171"/>
                      <a:pt x="503" y="171"/>
                    </a:cubicBezTo>
                    <a:cubicBezTo>
                      <a:pt x="503" y="172"/>
                      <a:pt x="503" y="172"/>
                      <a:pt x="504" y="173"/>
                    </a:cubicBezTo>
                    <a:cubicBezTo>
                      <a:pt x="505" y="174"/>
                      <a:pt x="506" y="175"/>
                      <a:pt x="507" y="175"/>
                    </a:cubicBezTo>
                    <a:cubicBezTo>
                      <a:pt x="509" y="177"/>
                      <a:pt x="511" y="179"/>
                      <a:pt x="511" y="181"/>
                    </a:cubicBezTo>
                    <a:cubicBezTo>
                      <a:pt x="511" y="185"/>
                      <a:pt x="506" y="185"/>
                      <a:pt x="501" y="185"/>
                    </a:cubicBezTo>
                    <a:cubicBezTo>
                      <a:pt x="496" y="185"/>
                      <a:pt x="479" y="188"/>
                      <a:pt x="479" y="194"/>
                    </a:cubicBezTo>
                    <a:cubicBezTo>
                      <a:pt x="479" y="195"/>
                      <a:pt x="479" y="196"/>
                      <a:pt x="480" y="197"/>
                    </a:cubicBezTo>
                    <a:cubicBezTo>
                      <a:pt x="481" y="197"/>
                      <a:pt x="482" y="198"/>
                      <a:pt x="482" y="200"/>
                    </a:cubicBezTo>
                    <a:cubicBezTo>
                      <a:pt x="482" y="203"/>
                      <a:pt x="480" y="205"/>
                      <a:pt x="477" y="205"/>
                    </a:cubicBezTo>
                    <a:cubicBezTo>
                      <a:pt x="476" y="205"/>
                      <a:pt x="474" y="205"/>
                      <a:pt x="473" y="206"/>
                    </a:cubicBezTo>
                    <a:cubicBezTo>
                      <a:pt x="470" y="207"/>
                      <a:pt x="467" y="208"/>
                      <a:pt x="463" y="208"/>
                    </a:cubicBezTo>
                    <a:cubicBezTo>
                      <a:pt x="462" y="208"/>
                      <a:pt x="461" y="208"/>
                      <a:pt x="461" y="208"/>
                    </a:cubicBezTo>
                    <a:cubicBezTo>
                      <a:pt x="460" y="208"/>
                      <a:pt x="459" y="208"/>
                      <a:pt x="459" y="208"/>
                    </a:cubicBezTo>
                    <a:cubicBezTo>
                      <a:pt x="456" y="208"/>
                      <a:pt x="454" y="208"/>
                      <a:pt x="453" y="210"/>
                    </a:cubicBezTo>
                    <a:cubicBezTo>
                      <a:pt x="452" y="210"/>
                      <a:pt x="452" y="210"/>
                      <a:pt x="452" y="211"/>
                    </a:cubicBezTo>
                    <a:cubicBezTo>
                      <a:pt x="450" y="212"/>
                      <a:pt x="449" y="214"/>
                      <a:pt x="446" y="214"/>
                    </a:cubicBezTo>
                    <a:cubicBezTo>
                      <a:pt x="444" y="214"/>
                      <a:pt x="443" y="213"/>
                      <a:pt x="442" y="213"/>
                    </a:cubicBezTo>
                    <a:cubicBezTo>
                      <a:pt x="442" y="212"/>
                      <a:pt x="441" y="212"/>
                      <a:pt x="440" y="212"/>
                    </a:cubicBezTo>
                    <a:cubicBezTo>
                      <a:pt x="429" y="212"/>
                      <a:pt x="429" y="212"/>
                      <a:pt x="429" y="212"/>
                    </a:cubicBezTo>
                    <a:cubicBezTo>
                      <a:pt x="426" y="212"/>
                      <a:pt x="424" y="208"/>
                      <a:pt x="424" y="205"/>
                    </a:cubicBezTo>
                    <a:cubicBezTo>
                      <a:pt x="424" y="201"/>
                      <a:pt x="426" y="199"/>
                      <a:pt x="429" y="198"/>
                    </a:cubicBezTo>
                    <a:cubicBezTo>
                      <a:pt x="428" y="198"/>
                      <a:pt x="427" y="198"/>
                      <a:pt x="426" y="198"/>
                    </a:cubicBezTo>
                    <a:cubicBezTo>
                      <a:pt x="423" y="198"/>
                      <a:pt x="418" y="198"/>
                      <a:pt x="418" y="194"/>
                    </a:cubicBezTo>
                    <a:cubicBezTo>
                      <a:pt x="418" y="190"/>
                      <a:pt x="420" y="187"/>
                      <a:pt x="423" y="187"/>
                    </a:cubicBezTo>
                    <a:cubicBezTo>
                      <a:pt x="425" y="187"/>
                      <a:pt x="426" y="187"/>
                      <a:pt x="427" y="186"/>
                    </a:cubicBezTo>
                    <a:cubicBezTo>
                      <a:pt x="428" y="186"/>
                      <a:pt x="429" y="186"/>
                      <a:pt x="431" y="186"/>
                    </a:cubicBezTo>
                    <a:cubicBezTo>
                      <a:pt x="434" y="186"/>
                      <a:pt x="436" y="187"/>
                      <a:pt x="436" y="190"/>
                    </a:cubicBezTo>
                    <a:cubicBezTo>
                      <a:pt x="436" y="190"/>
                      <a:pt x="436" y="191"/>
                      <a:pt x="436" y="191"/>
                    </a:cubicBezTo>
                    <a:cubicBezTo>
                      <a:pt x="436" y="192"/>
                      <a:pt x="436" y="193"/>
                      <a:pt x="436" y="193"/>
                    </a:cubicBezTo>
                    <a:cubicBezTo>
                      <a:pt x="436" y="193"/>
                      <a:pt x="436" y="193"/>
                      <a:pt x="436" y="193"/>
                    </a:cubicBezTo>
                    <a:cubicBezTo>
                      <a:pt x="438" y="193"/>
                      <a:pt x="442" y="189"/>
                      <a:pt x="442" y="187"/>
                    </a:cubicBezTo>
                    <a:cubicBezTo>
                      <a:pt x="442" y="186"/>
                      <a:pt x="443" y="185"/>
                      <a:pt x="443" y="184"/>
                    </a:cubicBezTo>
                    <a:cubicBezTo>
                      <a:pt x="444" y="183"/>
                      <a:pt x="444" y="183"/>
                      <a:pt x="444" y="182"/>
                    </a:cubicBezTo>
                    <a:cubicBezTo>
                      <a:pt x="444" y="182"/>
                      <a:pt x="444" y="182"/>
                      <a:pt x="443" y="182"/>
                    </a:cubicBezTo>
                    <a:cubicBezTo>
                      <a:pt x="443" y="182"/>
                      <a:pt x="442" y="182"/>
                      <a:pt x="441" y="182"/>
                    </a:cubicBezTo>
                    <a:cubicBezTo>
                      <a:pt x="438" y="184"/>
                      <a:pt x="436" y="184"/>
                      <a:pt x="431" y="184"/>
                    </a:cubicBezTo>
                    <a:cubicBezTo>
                      <a:pt x="428" y="184"/>
                      <a:pt x="425" y="185"/>
                      <a:pt x="424" y="186"/>
                    </a:cubicBezTo>
                    <a:cubicBezTo>
                      <a:pt x="422" y="187"/>
                      <a:pt x="420" y="188"/>
                      <a:pt x="418" y="188"/>
                    </a:cubicBezTo>
                    <a:cubicBezTo>
                      <a:pt x="416" y="188"/>
                      <a:pt x="414" y="186"/>
                      <a:pt x="410" y="184"/>
                    </a:cubicBezTo>
                    <a:cubicBezTo>
                      <a:pt x="406" y="182"/>
                      <a:pt x="402" y="180"/>
                      <a:pt x="399" y="180"/>
                    </a:cubicBezTo>
                    <a:cubicBezTo>
                      <a:pt x="398" y="180"/>
                      <a:pt x="397" y="180"/>
                      <a:pt x="397" y="180"/>
                    </a:cubicBezTo>
                    <a:cubicBezTo>
                      <a:pt x="397" y="180"/>
                      <a:pt x="397" y="181"/>
                      <a:pt x="397" y="181"/>
                    </a:cubicBezTo>
                    <a:cubicBezTo>
                      <a:pt x="397" y="181"/>
                      <a:pt x="397" y="182"/>
                      <a:pt x="397" y="182"/>
                    </a:cubicBezTo>
                    <a:cubicBezTo>
                      <a:pt x="397" y="183"/>
                      <a:pt x="397" y="184"/>
                      <a:pt x="396" y="185"/>
                    </a:cubicBezTo>
                    <a:cubicBezTo>
                      <a:pt x="396" y="185"/>
                      <a:pt x="396" y="185"/>
                      <a:pt x="396" y="185"/>
                    </a:cubicBezTo>
                    <a:cubicBezTo>
                      <a:pt x="396" y="185"/>
                      <a:pt x="398" y="186"/>
                      <a:pt x="403" y="186"/>
                    </a:cubicBezTo>
                    <a:cubicBezTo>
                      <a:pt x="409" y="186"/>
                      <a:pt x="414" y="186"/>
                      <a:pt x="414" y="191"/>
                    </a:cubicBezTo>
                    <a:cubicBezTo>
                      <a:pt x="414" y="193"/>
                      <a:pt x="415" y="194"/>
                      <a:pt x="416" y="196"/>
                    </a:cubicBezTo>
                    <a:cubicBezTo>
                      <a:pt x="417" y="197"/>
                      <a:pt x="418" y="198"/>
                      <a:pt x="418" y="200"/>
                    </a:cubicBezTo>
                    <a:cubicBezTo>
                      <a:pt x="418" y="202"/>
                      <a:pt x="419" y="203"/>
                      <a:pt x="420" y="204"/>
                    </a:cubicBezTo>
                    <a:cubicBezTo>
                      <a:pt x="421" y="205"/>
                      <a:pt x="422" y="207"/>
                      <a:pt x="422" y="208"/>
                    </a:cubicBezTo>
                    <a:cubicBezTo>
                      <a:pt x="422" y="212"/>
                      <a:pt x="420" y="214"/>
                      <a:pt x="418" y="216"/>
                    </a:cubicBezTo>
                    <a:cubicBezTo>
                      <a:pt x="417" y="216"/>
                      <a:pt x="417" y="217"/>
                      <a:pt x="417" y="217"/>
                    </a:cubicBezTo>
                    <a:cubicBezTo>
                      <a:pt x="417" y="218"/>
                      <a:pt x="417" y="218"/>
                      <a:pt x="417" y="219"/>
                    </a:cubicBezTo>
                    <a:cubicBezTo>
                      <a:pt x="418" y="219"/>
                      <a:pt x="419" y="221"/>
                      <a:pt x="419" y="223"/>
                    </a:cubicBezTo>
                    <a:cubicBezTo>
                      <a:pt x="419" y="225"/>
                      <a:pt x="418" y="226"/>
                      <a:pt x="417" y="227"/>
                    </a:cubicBezTo>
                    <a:cubicBezTo>
                      <a:pt x="416" y="228"/>
                      <a:pt x="415" y="229"/>
                      <a:pt x="415" y="231"/>
                    </a:cubicBezTo>
                    <a:cubicBezTo>
                      <a:pt x="415" y="235"/>
                      <a:pt x="412" y="235"/>
                      <a:pt x="411" y="235"/>
                    </a:cubicBezTo>
                    <a:cubicBezTo>
                      <a:pt x="410" y="235"/>
                      <a:pt x="409" y="236"/>
                      <a:pt x="409" y="237"/>
                    </a:cubicBezTo>
                    <a:cubicBezTo>
                      <a:pt x="409" y="240"/>
                      <a:pt x="407" y="242"/>
                      <a:pt x="404" y="242"/>
                    </a:cubicBezTo>
                    <a:cubicBezTo>
                      <a:pt x="398" y="242"/>
                      <a:pt x="398" y="243"/>
                      <a:pt x="398" y="243"/>
                    </a:cubicBezTo>
                    <a:cubicBezTo>
                      <a:pt x="398" y="246"/>
                      <a:pt x="396" y="246"/>
                      <a:pt x="393" y="246"/>
                    </a:cubicBezTo>
                    <a:cubicBezTo>
                      <a:pt x="393" y="246"/>
                      <a:pt x="392" y="246"/>
                      <a:pt x="392" y="246"/>
                    </a:cubicBezTo>
                    <a:cubicBezTo>
                      <a:pt x="391" y="246"/>
                      <a:pt x="391" y="246"/>
                      <a:pt x="390" y="246"/>
                    </a:cubicBezTo>
                    <a:cubicBezTo>
                      <a:pt x="388" y="246"/>
                      <a:pt x="388" y="246"/>
                      <a:pt x="388" y="247"/>
                    </a:cubicBezTo>
                    <a:cubicBezTo>
                      <a:pt x="388" y="250"/>
                      <a:pt x="386" y="251"/>
                      <a:pt x="384" y="251"/>
                    </a:cubicBezTo>
                    <a:cubicBezTo>
                      <a:pt x="383" y="251"/>
                      <a:pt x="382" y="250"/>
                      <a:pt x="382" y="250"/>
                    </a:cubicBezTo>
                    <a:cubicBezTo>
                      <a:pt x="382" y="249"/>
                      <a:pt x="382" y="249"/>
                      <a:pt x="382" y="249"/>
                    </a:cubicBezTo>
                    <a:cubicBezTo>
                      <a:pt x="381" y="249"/>
                      <a:pt x="381" y="250"/>
                      <a:pt x="381" y="250"/>
                    </a:cubicBezTo>
                    <a:cubicBezTo>
                      <a:pt x="381" y="252"/>
                      <a:pt x="380" y="255"/>
                      <a:pt x="376" y="255"/>
                    </a:cubicBezTo>
                    <a:cubicBezTo>
                      <a:pt x="374" y="255"/>
                      <a:pt x="373" y="254"/>
                      <a:pt x="372" y="254"/>
                    </a:cubicBezTo>
                    <a:cubicBezTo>
                      <a:pt x="371" y="253"/>
                      <a:pt x="371" y="251"/>
                      <a:pt x="372" y="250"/>
                    </a:cubicBezTo>
                    <a:cubicBezTo>
                      <a:pt x="372" y="250"/>
                      <a:pt x="372" y="249"/>
                      <a:pt x="372" y="249"/>
                    </a:cubicBezTo>
                    <a:cubicBezTo>
                      <a:pt x="372" y="247"/>
                      <a:pt x="370" y="245"/>
                      <a:pt x="368" y="245"/>
                    </a:cubicBezTo>
                    <a:cubicBezTo>
                      <a:pt x="368" y="245"/>
                      <a:pt x="368" y="245"/>
                      <a:pt x="368" y="245"/>
                    </a:cubicBezTo>
                    <a:cubicBezTo>
                      <a:pt x="368" y="246"/>
                      <a:pt x="369" y="246"/>
                      <a:pt x="369" y="247"/>
                    </a:cubicBezTo>
                    <a:cubicBezTo>
                      <a:pt x="370" y="248"/>
                      <a:pt x="370" y="249"/>
                      <a:pt x="370" y="250"/>
                    </a:cubicBezTo>
                    <a:cubicBezTo>
                      <a:pt x="370" y="251"/>
                      <a:pt x="369" y="252"/>
                      <a:pt x="368" y="253"/>
                    </a:cubicBezTo>
                    <a:cubicBezTo>
                      <a:pt x="366" y="254"/>
                      <a:pt x="363" y="260"/>
                      <a:pt x="363" y="265"/>
                    </a:cubicBezTo>
                    <a:cubicBezTo>
                      <a:pt x="363" y="268"/>
                      <a:pt x="364" y="269"/>
                      <a:pt x="364" y="270"/>
                    </a:cubicBezTo>
                    <a:cubicBezTo>
                      <a:pt x="364" y="271"/>
                      <a:pt x="364" y="271"/>
                      <a:pt x="364" y="272"/>
                    </a:cubicBezTo>
                    <a:cubicBezTo>
                      <a:pt x="364" y="273"/>
                      <a:pt x="365" y="274"/>
                      <a:pt x="365" y="275"/>
                    </a:cubicBezTo>
                    <a:cubicBezTo>
                      <a:pt x="366" y="276"/>
                      <a:pt x="366" y="277"/>
                      <a:pt x="366" y="278"/>
                    </a:cubicBezTo>
                    <a:cubicBezTo>
                      <a:pt x="366" y="279"/>
                      <a:pt x="365" y="280"/>
                      <a:pt x="364" y="280"/>
                    </a:cubicBezTo>
                    <a:cubicBezTo>
                      <a:pt x="363" y="280"/>
                      <a:pt x="361" y="279"/>
                      <a:pt x="360" y="277"/>
                    </a:cubicBezTo>
                    <a:cubicBezTo>
                      <a:pt x="359" y="276"/>
                      <a:pt x="359" y="275"/>
                      <a:pt x="358" y="274"/>
                    </a:cubicBezTo>
                    <a:cubicBezTo>
                      <a:pt x="357" y="271"/>
                      <a:pt x="356" y="269"/>
                      <a:pt x="354" y="269"/>
                    </a:cubicBezTo>
                    <a:cubicBezTo>
                      <a:pt x="338" y="269"/>
                      <a:pt x="338" y="269"/>
                      <a:pt x="338" y="269"/>
                    </a:cubicBezTo>
                    <a:cubicBezTo>
                      <a:pt x="334" y="269"/>
                      <a:pt x="332" y="271"/>
                      <a:pt x="332" y="273"/>
                    </a:cubicBezTo>
                    <a:cubicBezTo>
                      <a:pt x="332" y="274"/>
                      <a:pt x="332" y="275"/>
                      <a:pt x="332" y="276"/>
                    </a:cubicBezTo>
                    <a:cubicBezTo>
                      <a:pt x="333" y="276"/>
                      <a:pt x="333" y="277"/>
                      <a:pt x="333" y="279"/>
                    </a:cubicBezTo>
                    <a:cubicBezTo>
                      <a:pt x="333" y="280"/>
                      <a:pt x="332" y="281"/>
                      <a:pt x="332" y="281"/>
                    </a:cubicBezTo>
                    <a:cubicBezTo>
                      <a:pt x="331" y="281"/>
                      <a:pt x="330" y="282"/>
                      <a:pt x="330" y="283"/>
                    </a:cubicBezTo>
                    <a:cubicBezTo>
                      <a:pt x="330" y="284"/>
                      <a:pt x="331" y="285"/>
                      <a:pt x="331" y="286"/>
                    </a:cubicBezTo>
                    <a:cubicBezTo>
                      <a:pt x="332" y="286"/>
                      <a:pt x="332" y="287"/>
                      <a:pt x="332" y="289"/>
                    </a:cubicBezTo>
                    <a:cubicBezTo>
                      <a:pt x="332" y="293"/>
                      <a:pt x="329" y="293"/>
                      <a:pt x="326" y="293"/>
                    </a:cubicBezTo>
                    <a:cubicBezTo>
                      <a:pt x="324" y="293"/>
                      <a:pt x="323" y="293"/>
                      <a:pt x="323" y="292"/>
                    </a:cubicBezTo>
                    <a:cubicBezTo>
                      <a:pt x="322" y="291"/>
                      <a:pt x="322" y="291"/>
                      <a:pt x="321" y="291"/>
                    </a:cubicBezTo>
                    <a:cubicBezTo>
                      <a:pt x="320" y="291"/>
                      <a:pt x="319" y="292"/>
                      <a:pt x="319" y="292"/>
                    </a:cubicBezTo>
                    <a:cubicBezTo>
                      <a:pt x="318" y="293"/>
                      <a:pt x="318" y="294"/>
                      <a:pt x="316" y="294"/>
                    </a:cubicBezTo>
                    <a:cubicBezTo>
                      <a:pt x="314" y="294"/>
                      <a:pt x="313" y="291"/>
                      <a:pt x="313" y="288"/>
                    </a:cubicBezTo>
                    <a:cubicBezTo>
                      <a:pt x="313" y="288"/>
                      <a:pt x="313" y="288"/>
                      <a:pt x="313" y="287"/>
                    </a:cubicBezTo>
                    <a:cubicBezTo>
                      <a:pt x="313" y="287"/>
                      <a:pt x="313" y="287"/>
                      <a:pt x="313" y="286"/>
                    </a:cubicBezTo>
                    <a:cubicBezTo>
                      <a:pt x="313" y="286"/>
                      <a:pt x="313" y="286"/>
                      <a:pt x="313" y="286"/>
                    </a:cubicBezTo>
                    <a:cubicBezTo>
                      <a:pt x="312" y="286"/>
                      <a:pt x="312" y="286"/>
                      <a:pt x="312" y="287"/>
                    </a:cubicBezTo>
                    <a:cubicBezTo>
                      <a:pt x="311" y="287"/>
                      <a:pt x="311" y="288"/>
                      <a:pt x="308" y="288"/>
                    </a:cubicBezTo>
                    <a:cubicBezTo>
                      <a:pt x="307" y="288"/>
                      <a:pt x="306" y="288"/>
                      <a:pt x="305" y="287"/>
                    </a:cubicBezTo>
                    <a:cubicBezTo>
                      <a:pt x="303" y="286"/>
                      <a:pt x="301" y="286"/>
                      <a:pt x="298" y="286"/>
                    </a:cubicBezTo>
                    <a:cubicBezTo>
                      <a:pt x="292" y="286"/>
                      <a:pt x="291" y="286"/>
                      <a:pt x="291" y="288"/>
                    </a:cubicBezTo>
                    <a:cubicBezTo>
                      <a:pt x="291" y="291"/>
                      <a:pt x="291" y="292"/>
                      <a:pt x="288" y="292"/>
                    </a:cubicBezTo>
                    <a:cubicBezTo>
                      <a:pt x="288" y="292"/>
                      <a:pt x="288" y="292"/>
                      <a:pt x="288" y="292"/>
                    </a:cubicBezTo>
                    <a:cubicBezTo>
                      <a:pt x="288" y="292"/>
                      <a:pt x="288" y="292"/>
                      <a:pt x="288" y="292"/>
                    </a:cubicBezTo>
                    <a:cubicBezTo>
                      <a:pt x="287" y="292"/>
                      <a:pt x="286" y="294"/>
                      <a:pt x="286" y="296"/>
                    </a:cubicBezTo>
                    <a:cubicBezTo>
                      <a:pt x="286" y="298"/>
                      <a:pt x="285" y="302"/>
                      <a:pt x="280" y="302"/>
                    </a:cubicBezTo>
                    <a:cubicBezTo>
                      <a:pt x="277" y="302"/>
                      <a:pt x="276" y="303"/>
                      <a:pt x="276" y="304"/>
                    </a:cubicBezTo>
                    <a:cubicBezTo>
                      <a:pt x="275" y="305"/>
                      <a:pt x="275" y="307"/>
                      <a:pt x="273" y="307"/>
                    </a:cubicBezTo>
                    <a:cubicBezTo>
                      <a:pt x="272" y="307"/>
                      <a:pt x="271" y="307"/>
                      <a:pt x="270" y="306"/>
                    </a:cubicBezTo>
                    <a:cubicBezTo>
                      <a:pt x="269" y="305"/>
                      <a:pt x="269" y="302"/>
                      <a:pt x="269" y="301"/>
                    </a:cubicBezTo>
                    <a:cubicBezTo>
                      <a:pt x="269" y="300"/>
                      <a:pt x="269" y="300"/>
                      <a:pt x="269" y="300"/>
                    </a:cubicBezTo>
                    <a:cubicBezTo>
                      <a:pt x="269" y="298"/>
                      <a:pt x="262" y="292"/>
                      <a:pt x="259" y="292"/>
                    </a:cubicBezTo>
                    <a:cubicBezTo>
                      <a:pt x="258" y="292"/>
                      <a:pt x="258" y="293"/>
                      <a:pt x="258" y="294"/>
                    </a:cubicBezTo>
                    <a:cubicBezTo>
                      <a:pt x="257" y="294"/>
                      <a:pt x="256" y="296"/>
                      <a:pt x="255" y="296"/>
                    </a:cubicBezTo>
                    <a:cubicBezTo>
                      <a:pt x="252" y="296"/>
                      <a:pt x="251" y="296"/>
                      <a:pt x="249" y="297"/>
                    </a:cubicBezTo>
                    <a:cubicBezTo>
                      <a:pt x="248" y="297"/>
                      <a:pt x="246" y="298"/>
                      <a:pt x="244" y="298"/>
                    </a:cubicBezTo>
                    <a:cubicBezTo>
                      <a:pt x="242" y="298"/>
                      <a:pt x="240" y="296"/>
                      <a:pt x="238" y="294"/>
                    </a:cubicBezTo>
                    <a:cubicBezTo>
                      <a:pt x="236" y="293"/>
                      <a:pt x="235" y="291"/>
                      <a:pt x="233" y="291"/>
                    </a:cubicBezTo>
                    <a:cubicBezTo>
                      <a:pt x="233" y="291"/>
                      <a:pt x="232" y="292"/>
                      <a:pt x="232" y="293"/>
                    </a:cubicBezTo>
                    <a:cubicBezTo>
                      <a:pt x="232" y="294"/>
                      <a:pt x="232" y="295"/>
                      <a:pt x="233" y="295"/>
                    </a:cubicBezTo>
                    <a:cubicBezTo>
                      <a:pt x="233" y="296"/>
                      <a:pt x="234" y="296"/>
                      <a:pt x="234" y="296"/>
                    </a:cubicBezTo>
                    <a:cubicBezTo>
                      <a:pt x="236" y="298"/>
                      <a:pt x="237" y="299"/>
                      <a:pt x="237" y="301"/>
                    </a:cubicBezTo>
                    <a:cubicBezTo>
                      <a:pt x="237" y="304"/>
                      <a:pt x="230" y="311"/>
                      <a:pt x="225" y="311"/>
                    </a:cubicBezTo>
                    <a:cubicBezTo>
                      <a:pt x="222" y="311"/>
                      <a:pt x="221" y="310"/>
                      <a:pt x="221" y="309"/>
                    </a:cubicBezTo>
                    <a:cubicBezTo>
                      <a:pt x="220" y="308"/>
                      <a:pt x="220" y="308"/>
                      <a:pt x="219" y="308"/>
                    </a:cubicBezTo>
                    <a:cubicBezTo>
                      <a:pt x="219" y="308"/>
                      <a:pt x="218" y="308"/>
                      <a:pt x="218" y="308"/>
                    </a:cubicBezTo>
                    <a:cubicBezTo>
                      <a:pt x="218" y="309"/>
                      <a:pt x="218" y="310"/>
                      <a:pt x="218" y="310"/>
                    </a:cubicBezTo>
                    <a:cubicBezTo>
                      <a:pt x="218" y="310"/>
                      <a:pt x="218" y="311"/>
                      <a:pt x="218" y="311"/>
                    </a:cubicBezTo>
                    <a:cubicBezTo>
                      <a:pt x="218" y="311"/>
                      <a:pt x="218" y="312"/>
                      <a:pt x="218" y="312"/>
                    </a:cubicBezTo>
                    <a:cubicBezTo>
                      <a:pt x="218" y="314"/>
                      <a:pt x="218" y="316"/>
                      <a:pt x="217" y="317"/>
                    </a:cubicBezTo>
                    <a:cubicBezTo>
                      <a:pt x="217" y="317"/>
                      <a:pt x="216" y="318"/>
                      <a:pt x="215" y="318"/>
                    </a:cubicBezTo>
                    <a:cubicBezTo>
                      <a:pt x="213" y="318"/>
                      <a:pt x="213" y="319"/>
                      <a:pt x="213" y="319"/>
                    </a:cubicBezTo>
                    <a:cubicBezTo>
                      <a:pt x="213" y="322"/>
                      <a:pt x="211" y="324"/>
                      <a:pt x="208" y="324"/>
                    </a:cubicBezTo>
                    <a:cubicBezTo>
                      <a:pt x="207" y="324"/>
                      <a:pt x="206" y="323"/>
                      <a:pt x="206" y="322"/>
                    </a:cubicBezTo>
                    <a:cubicBezTo>
                      <a:pt x="205" y="322"/>
                      <a:pt x="205" y="321"/>
                      <a:pt x="204" y="321"/>
                    </a:cubicBezTo>
                    <a:cubicBezTo>
                      <a:pt x="200" y="321"/>
                      <a:pt x="199" y="319"/>
                      <a:pt x="199" y="317"/>
                    </a:cubicBezTo>
                    <a:cubicBezTo>
                      <a:pt x="199" y="317"/>
                      <a:pt x="198" y="317"/>
                      <a:pt x="196" y="317"/>
                    </a:cubicBezTo>
                    <a:cubicBezTo>
                      <a:pt x="194" y="317"/>
                      <a:pt x="194" y="317"/>
                      <a:pt x="194" y="319"/>
                    </a:cubicBezTo>
                    <a:cubicBezTo>
                      <a:pt x="194" y="321"/>
                      <a:pt x="192" y="322"/>
                      <a:pt x="189" y="323"/>
                    </a:cubicBezTo>
                    <a:cubicBezTo>
                      <a:pt x="189" y="323"/>
                      <a:pt x="188" y="323"/>
                      <a:pt x="188" y="324"/>
                    </a:cubicBezTo>
                    <a:cubicBezTo>
                      <a:pt x="187" y="324"/>
                      <a:pt x="187" y="325"/>
                      <a:pt x="186" y="325"/>
                    </a:cubicBezTo>
                    <a:cubicBezTo>
                      <a:pt x="185" y="326"/>
                      <a:pt x="185" y="327"/>
                      <a:pt x="183" y="328"/>
                    </a:cubicBezTo>
                    <a:cubicBezTo>
                      <a:pt x="181" y="329"/>
                      <a:pt x="179" y="329"/>
                      <a:pt x="178" y="329"/>
                    </a:cubicBezTo>
                    <a:cubicBezTo>
                      <a:pt x="178" y="329"/>
                      <a:pt x="178" y="329"/>
                      <a:pt x="177" y="329"/>
                    </a:cubicBezTo>
                    <a:cubicBezTo>
                      <a:pt x="175" y="329"/>
                      <a:pt x="173" y="326"/>
                      <a:pt x="173" y="323"/>
                    </a:cubicBezTo>
                    <a:cubicBezTo>
                      <a:pt x="173" y="321"/>
                      <a:pt x="173" y="321"/>
                      <a:pt x="173" y="321"/>
                    </a:cubicBezTo>
                    <a:cubicBezTo>
                      <a:pt x="170" y="321"/>
                      <a:pt x="167" y="319"/>
                      <a:pt x="167" y="316"/>
                    </a:cubicBezTo>
                    <a:cubicBezTo>
                      <a:pt x="167" y="315"/>
                      <a:pt x="166" y="314"/>
                      <a:pt x="166" y="314"/>
                    </a:cubicBezTo>
                    <a:cubicBezTo>
                      <a:pt x="165" y="314"/>
                      <a:pt x="165" y="313"/>
                      <a:pt x="165" y="311"/>
                    </a:cubicBezTo>
                    <a:cubicBezTo>
                      <a:pt x="165" y="308"/>
                      <a:pt x="166" y="307"/>
                      <a:pt x="167" y="306"/>
                    </a:cubicBezTo>
                    <a:cubicBezTo>
                      <a:pt x="169" y="305"/>
                      <a:pt x="169" y="304"/>
                      <a:pt x="169" y="303"/>
                    </a:cubicBezTo>
                    <a:cubicBezTo>
                      <a:pt x="169" y="300"/>
                      <a:pt x="168" y="300"/>
                      <a:pt x="167" y="299"/>
                    </a:cubicBezTo>
                    <a:cubicBezTo>
                      <a:pt x="166" y="299"/>
                      <a:pt x="166" y="299"/>
                      <a:pt x="165" y="299"/>
                    </a:cubicBezTo>
                    <a:cubicBezTo>
                      <a:pt x="164" y="298"/>
                      <a:pt x="163" y="297"/>
                      <a:pt x="162" y="297"/>
                    </a:cubicBezTo>
                    <a:cubicBezTo>
                      <a:pt x="161" y="296"/>
                      <a:pt x="160" y="295"/>
                      <a:pt x="160" y="295"/>
                    </a:cubicBezTo>
                    <a:cubicBezTo>
                      <a:pt x="160" y="295"/>
                      <a:pt x="160" y="295"/>
                      <a:pt x="160" y="295"/>
                    </a:cubicBezTo>
                    <a:cubicBezTo>
                      <a:pt x="160" y="295"/>
                      <a:pt x="160" y="295"/>
                      <a:pt x="160" y="296"/>
                    </a:cubicBezTo>
                    <a:cubicBezTo>
                      <a:pt x="160" y="296"/>
                      <a:pt x="160" y="297"/>
                      <a:pt x="160" y="297"/>
                    </a:cubicBezTo>
                    <a:cubicBezTo>
                      <a:pt x="161" y="298"/>
                      <a:pt x="162" y="300"/>
                      <a:pt x="162" y="302"/>
                    </a:cubicBezTo>
                    <a:cubicBezTo>
                      <a:pt x="162" y="303"/>
                      <a:pt x="161" y="304"/>
                      <a:pt x="160" y="304"/>
                    </a:cubicBezTo>
                    <a:cubicBezTo>
                      <a:pt x="158" y="305"/>
                      <a:pt x="157" y="305"/>
                      <a:pt x="156" y="305"/>
                    </a:cubicBezTo>
                    <a:cubicBezTo>
                      <a:pt x="156" y="305"/>
                      <a:pt x="156" y="305"/>
                      <a:pt x="156" y="305"/>
                    </a:cubicBezTo>
                    <a:cubicBezTo>
                      <a:pt x="155" y="305"/>
                      <a:pt x="155" y="305"/>
                      <a:pt x="155" y="305"/>
                    </a:cubicBezTo>
                    <a:cubicBezTo>
                      <a:pt x="154" y="305"/>
                      <a:pt x="153" y="306"/>
                      <a:pt x="152" y="307"/>
                    </a:cubicBezTo>
                    <a:cubicBezTo>
                      <a:pt x="150" y="308"/>
                      <a:pt x="147" y="311"/>
                      <a:pt x="144" y="311"/>
                    </a:cubicBezTo>
                    <a:cubicBezTo>
                      <a:pt x="140" y="311"/>
                      <a:pt x="140" y="309"/>
                      <a:pt x="139" y="308"/>
                    </a:cubicBezTo>
                    <a:cubicBezTo>
                      <a:pt x="139" y="307"/>
                      <a:pt x="139" y="307"/>
                      <a:pt x="138" y="307"/>
                    </a:cubicBezTo>
                    <a:cubicBezTo>
                      <a:pt x="137" y="307"/>
                      <a:pt x="137" y="307"/>
                      <a:pt x="137" y="310"/>
                    </a:cubicBezTo>
                    <a:cubicBezTo>
                      <a:pt x="137" y="311"/>
                      <a:pt x="137" y="312"/>
                      <a:pt x="136" y="312"/>
                    </a:cubicBezTo>
                    <a:cubicBezTo>
                      <a:pt x="136" y="313"/>
                      <a:pt x="136" y="313"/>
                      <a:pt x="136" y="314"/>
                    </a:cubicBezTo>
                    <a:cubicBezTo>
                      <a:pt x="136" y="314"/>
                      <a:pt x="136" y="314"/>
                      <a:pt x="136" y="315"/>
                    </a:cubicBezTo>
                    <a:cubicBezTo>
                      <a:pt x="137" y="315"/>
                      <a:pt x="137" y="316"/>
                      <a:pt x="137" y="317"/>
                    </a:cubicBezTo>
                    <a:cubicBezTo>
                      <a:pt x="137" y="319"/>
                      <a:pt x="136" y="321"/>
                      <a:pt x="134" y="321"/>
                    </a:cubicBezTo>
                    <a:cubicBezTo>
                      <a:pt x="132" y="321"/>
                      <a:pt x="131" y="320"/>
                      <a:pt x="131" y="319"/>
                    </a:cubicBezTo>
                    <a:cubicBezTo>
                      <a:pt x="130" y="318"/>
                      <a:pt x="130" y="317"/>
                      <a:pt x="131" y="316"/>
                    </a:cubicBezTo>
                    <a:cubicBezTo>
                      <a:pt x="131" y="315"/>
                      <a:pt x="131" y="314"/>
                      <a:pt x="131" y="314"/>
                    </a:cubicBezTo>
                    <a:cubicBezTo>
                      <a:pt x="131" y="314"/>
                      <a:pt x="131" y="314"/>
                      <a:pt x="131" y="314"/>
                    </a:cubicBezTo>
                    <a:cubicBezTo>
                      <a:pt x="130" y="314"/>
                      <a:pt x="129" y="315"/>
                      <a:pt x="129" y="316"/>
                    </a:cubicBezTo>
                    <a:cubicBezTo>
                      <a:pt x="127" y="318"/>
                      <a:pt x="125" y="320"/>
                      <a:pt x="123" y="320"/>
                    </a:cubicBezTo>
                    <a:cubicBezTo>
                      <a:pt x="120" y="320"/>
                      <a:pt x="119" y="318"/>
                      <a:pt x="119" y="317"/>
                    </a:cubicBezTo>
                    <a:cubicBezTo>
                      <a:pt x="118" y="317"/>
                      <a:pt x="118" y="316"/>
                      <a:pt x="118" y="316"/>
                    </a:cubicBezTo>
                    <a:cubicBezTo>
                      <a:pt x="116" y="316"/>
                      <a:pt x="116" y="314"/>
                      <a:pt x="116" y="312"/>
                    </a:cubicBezTo>
                    <a:cubicBezTo>
                      <a:pt x="115" y="311"/>
                      <a:pt x="115" y="310"/>
                      <a:pt x="114" y="310"/>
                    </a:cubicBezTo>
                    <a:cubicBezTo>
                      <a:pt x="114" y="310"/>
                      <a:pt x="114" y="310"/>
                      <a:pt x="113" y="312"/>
                    </a:cubicBezTo>
                    <a:cubicBezTo>
                      <a:pt x="113" y="313"/>
                      <a:pt x="113" y="315"/>
                      <a:pt x="110" y="315"/>
                    </a:cubicBezTo>
                    <a:cubicBezTo>
                      <a:pt x="107" y="315"/>
                      <a:pt x="105" y="316"/>
                      <a:pt x="104" y="319"/>
                    </a:cubicBezTo>
                    <a:cubicBezTo>
                      <a:pt x="104" y="320"/>
                      <a:pt x="104" y="320"/>
                      <a:pt x="104" y="320"/>
                    </a:cubicBezTo>
                    <a:cubicBezTo>
                      <a:pt x="103" y="322"/>
                      <a:pt x="102" y="323"/>
                      <a:pt x="102" y="325"/>
                    </a:cubicBezTo>
                    <a:cubicBezTo>
                      <a:pt x="102" y="326"/>
                      <a:pt x="102" y="329"/>
                      <a:pt x="98" y="329"/>
                    </a:cubicBezTo>
                    <a:cubicBezTo>
                      <a:pt x="96" y="329"/>
                      <a:pt x="95" y="330"/>
                      <a:pt x="93" y="331"/>
                    </a:cubicBezTo>
                    <a:cubicBezTo>
                      <a:pt x="92" y="332"/>
                      <a:pt x="91" y="334"/>
                      <a:pt x="89" y="334"/>
                    </a:cubicBezTo>
                    <a:cubicBezTo>
                      <a:pt x="86" y="334"/>
                      <a:pt x="86" y="332"/>
                      <a:pt x="86" y="331"/>
                    </a:cubicBezTo>
                    <a:cubicBezTo>
                      <a:pt x="86" y="331"/>
                      <a:pt x="86" y="331"/>
                      <a:pt x="86" y="330"/>
                    </a:cubicBezTo>
                    <a:cubicBezTo>
                      <a:pt x="86" y="330"/>
                      <a:pt x="86" y="330"/>
                      <a:pt x="85" y="330"/>
                    </a:cubicBezTo>
                    <a:cubicBezTo>
                      <a:pt x="85" y="330"/>
                      <a:pt x="85" y="331"/>
                      <a:pt x="84" y="332"/>
                    </a:cubicBezTo>
                    <a:cubicBezTo>
                      <a:pt x="84" y="333"/>
                      <a:pt x="83" y="335"/>
                      <a:pt x="81" y="335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67" name="Freeform 42"/>
              <p:cNvSpPr>
                <a:spLocks/>
              </p:cNvSpPr>
              <p:nvPr/>
            </p:nvSpPr>
            <p:spPr bwMode="auto">
              <a:xfrm>
                <a:off x="621" y="1704"/>
                <a:ext cx="762" cy="738"/>
              </a:xfrm>
              <a:custGeom>
                <a:avLst/>
                <a:gdLst>
                  <a:gd name="T0" fmla="*/ 95 w 322"/>
                  <a:gd name="T1" fmla="*/ 260 h 312"/>
                  <a:gd name="T2" fmla="*/ 124 w 322"/>
                  <a:gd name="T3" fmla="*/ 273 h 312"/>
                  <a:gd name="T4" fmla="*/ 163 w 322"/>
                  <a:gd name="T5" fmla="*/ 286 h 312"/>
                  <a:gd name="T6" fmla="*/ 171 w 322"/>
                  <a:gd name="T7" fmla="*/ 289 h 312"/>
                  <a:gd name="T8" fmla="*/ 215 w 322"/>
                  <a:gd name="T9" fmla="*/ 305 h 312"/>
                  <a:gd name="T10" fmla="*/ 228 w 322"/>
                  <a:gd name="T11" fmla="*/ 285 h 312"/>
                  <a:gd name="T12" fmla="*/ 239 w 322"/>
                  <a:gd name="T13" fmla="*/ 265 h 312"/>
                  <a:gd name="T14" fmla="*/ 252 w 322"/>
                  <a:gd name="T15" fmla="*/ 253 h 312"/>
                  <a:gd name="T16" fmla="*/ 278 w 322"/>
                  <a:gd name="T17" fmla="*/ 245 h 312"/>
                  <a:gd name="T18" fmla="*/ 292 w 322"/>
                  <a:gd name="T19" fmla="*/ 231 h 312"/>
                  <a:gd name="T20" fmla="*/ 295 w 322"/>
                  <a:gd name="T21" fmla="*/ 194 h 312"/>
                  <a:gd name="T22" fmla="*/ 308 w 322"/>
                  <a:gd name="T23" fmla="*/ 172 h 312"/>
                  <a:gd name="T24" fmla="*/ 310 w 322"/>
                  <a:gd name="T25" fmla="*/ 160 h 312"/>
                  <a:gd name="T26" fmla="*/ 312 w 322"/>
                  <a:gd name="T27" fmla="*/ 137 h 312"/>
                  <a:gd name="T28" fmla="*/ 322 w 322"/>
                  <a:gd name="T29" fmla="*/ 129 h 312"/>
                  <a:gd name="T30" fmla="*/ 297 w 322"/>
                  <a:gd name="T31" fmla="*/ 127 h 312"/>
                  <a:gd name="T32" fmla="*/ 271 w 322"/>
                  <a:gd name="T33" fmla="*/ 140 h 312"/>
                  <a:gd name="T34" fmla="*/ 258 w 322"/>
                  <a:gd name="T35" fmla="*/ 127 h 312"/>
                  <a:gd name="T36" fmla="*/ 248 w 322"/>
                  <a:gd name="T37" fmla="*/ 123 h 312"/>
                  <a:gd name="T38" fmla="*/ 240 w 322"/>
                  <a:gd name="T39" fmla="*/ 92 h 312"/>
                  <a:gd name="T40" fmla="*/ 242 w 322"/>
                  <a:gd name="T41" fmla="*/ 76 h 312"/>
                  <a:gd name="T42" fmla="*/ 227 w 322"/>
                  <a:gd name="T43" fmla="*/ 75 h 312"/>
                  <a:gd name="T44" fmla="*/ 208 w 322"/>
                  <a:gd name="T45" fmla="*/ 78 h 312"/>
                  <a:gd name="T46" fmla="*/ 205 w 322"/>
                  <a:gd name="T47" fmla="*/ 57 h 312"/>
                  <a:gd name="T48" fmla="*/ 196 w 322"/>
                  <a:gd name="T49" fmla="*/ 30 h 312"/>
                  <a:gd name="T50" fmla="*/ 181 w 322"/>
                  <a:gd name="T51" fmla="*/ 15 h 312"/>
                  <a:gd name="T52" fmla="*/ 145 w 322"/>
                  <a:gd name="T53" fmla="*/ 14 h 312"/>
                  <a:gd name="T54" fmla="*/ 122 w 322"/>
                  <a:gd name="T55" fmla="*/ 12 h 312"/>
                  <a:gd name="T56" fmla="*/ 72 w 322"/>
                  <a:gd name="T57" fmla="*/ 0 h 312"/>
                  <a:gd name="T58" fmla="*/ 72 w 322"/>
                  <a:gd name="T59" fmla="*/ 20 h 312"/>
                  <a:gd name="T60" fmla="*/ 54 w 322"/>
                  <a:gd name="T61" fmla="*/ 35 h 312"/>
                  <a:gd name="T62" fmla="*/ 33 w 322"/>
                  <a:gd name="T63" fmla="*/ 35 h 312"/>
                  <a:gd name="T64" fmla="*/ 28 w 322"/>
                  <a:gd name="T65" fmla="*/ 13 h 312"/>
                  <a:gd name="T66" fmla="*/ 10 w 322"/>
                  <a:gd name="T67" fmla="*/ 42 h 312"/>
                  <a:gd name="T68" fmla="*/ 0 w 322"/>
                  <a:gd name="T69" fmla="*/ 82 h 312"/>
                  <a:gd name="T70" fmla="*/ 10 w 322"/>
                  <a:gd name="T71" fmla="*/ 77 h 312"/>
                  <a:gd name="T72" fmla="*/ 15 w 322"/>
                  <a:gd name="T73" fmla="*/ 62 h 312"/>
                  <a:gd name="T74" fmla="*/ 23 w 322"/>
                  <a:gd name="T75" fmla="*/ 57 h 312"/>
                  <a:gd name="T76" fmla="*/ 34 w 322"/>
                  <a:gd name="T77" fmla="*/ 51 h 312"/>
                  <a:gd name="T78" fmla="*/ 38 w 322"/>
                  <a:gd name="T79" fmla="*/ 69 h 312"/>
                  <a:gd name="T80" fmla="*/ 31 w 322"/>
                  <a:gd name="T81" fmla="*/ 87 h 312"/>
                  <a:gd name="T82" fmla="*/ 51 w 322"/>
                  <a:gd name="T83" fmla="*/ 87 h 312"/>
                  <a:gd name="T84" fmla="*/ 58 w 322"/>
                  <a:gd name="T85" fmla="*/ 89 h 312"/>
                  <a:gd name="T86" fmla="*/ 48 w 322"/>
                  <a:gd name="T87" fmla="*/ 106 h 312"/>
                  <a:gd name="T88" fmla="*/ 58 w 322"/>
                  <a:gd name="T89" fmla="*/ 124 h 312"/>
                  <a:gd name="T90" fmla="*/ 68 w 322"/>
                  <a:gd name="T91" fmla="*/ 138 h 312"/>
                  <a:gd name="T92" fmla="*/ 60 w 322"/>
                  <a:gd name="T93" fmla="*/ 141 h 312"/>
                  <a:gd name="T94" fmla="*/ 40 w 322"/>
                  <a:gd name="T95" fmla="*/ 161 h 312"/>
                  <a:gd name="T96" fmla="*/ 72 w 322"/>
                  <a:gd name="T97" fmla="*/ 163 h 312"/>
                  <a:gd name="T98" fmla="*/ 116 w 322"/>
                  <a:gd name="T99" fmla="*/ 163 h 312"/>
                  <a:gd name="T100" fmla="*/ 111 w 322"/>
                  <a:gd name="T101" fmla="*/ 179 h 312"/>
                  <a:gd name="T102" fmla="*/ 108 w 322"/>
                  <a:gd name="T103" fmla="*/ 191 h 312"/>
                  <a:gd name="T104" fmla="*/ 103 w 322"/>
                  <a:gd name="T105" fmla="*/ 203 h 312"/>
                  <a:gd name="T106" fmla="*/ 69 w 322"/>
                  <a:gd name="T107" fmla="*/ 202 h 312"/>
                  <a:gd name="T108" fmla="*/ 41 w 322"/>
                  <a:gd name="T109" fmla="*/ 244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22" h="312">
                    <a:moveTo>
                      <a:pt x="60" y="260"/>
                    </a:moveTo>
                    <a:cubicBezTo>
                      <a:pt x="64" y="262"/>
                      <a:pt x="72" y="264"/>
                      <a:pt x="78" y="264"/>
                    </a:cubicBezTo>
                    <a:cubicBezTo>
                      <a:pt x="81" y="264"/>
                      <a:pt x="84" y="263"/>
                      <a:pt x="87" y="262"/>
                    </a:cubicBezTo>
                    <a:cubicBezTo>
                      <a:pt x="89" y="261"/>
                      <a:pt x="92" y="260"/>
                      <a:pt x="95" y="260"/>
                    </a:cubicBezTo>
                    <a:cubicBezTo>
                      <a:pt x="96" y="260"/>
                      <a:pt x="97" y="260"/>
                      <a:pt x="99" y="260"/>
                    </a:cubicBezTo>
                    <a:cubicBezTo>
                      <a:pt x="100" y="260"/>
                      <a:pt x="101" y="260"/>
                      <a:pt x="103" y="260"/>
                    </a:cubicBezTo>
                    <a:cubicBezTo>
                      <a:pt x="106" y="260"/>
                      <a:pt x="108" y="260"/>
                      <a:pt x="111" y="261"/>
                    </a:cubicBezTo>
                    <a:cubicBezTo>
                      <a:pt x="117" y="263"/>
                      <a:pt x="120" y="268"/>
                      <a:pt x="124" y="273"/>
                    </a:cubicBezTo>
                    <a:cubicBezTo>
                      <a:pt x="127" y="278"/>
                      <a:pt x="131" y="280"/>
                      <a:pt x="135" y="280"/>
                    </a:cubicBezTo>
                    <a:cubicBezTo>
                      <a:pt x="137" y="280"/>
                      <a:pt x="140" y="280"/>
                      <a:pt x="144" y="279"/>
                    </a:cubicBezTo>
                    <a:cubicBezTo>
                      <a:pt x="148" y="279"/>
                      <a:pt x="152" y="278"/>
                      <a:pt x="154" y="278"/>
                    </a:cubicBezTo>
                    <a:cubicBezTo>
                      <a:pt x="159" y="278"/>
                      <a:pt x="163" y="279"/>
                      <a:pt x="163" y="286"/>
                    </a:cubicBezTo>
                    <a:cubicBezTo>
                      <a:pt x="163" y="288"/>
                      <a:pt x="164" y="288"/>
                      <a:pt x="165" y="289"/>
                    </a:cubicBezTo>
                    <a:cubicBezTo>
                      <a:pt x="166" y="289"/>
                      <a:pt x="168" y="289"/>
                      <a:pt x="170" y="289"/>
                    </a:cubicBezTo>
                    <a:cubicBezTo>
                      <a:pt x="170" y="289"/>
                      <a:pt x="170" y="289"/>
                      <a:pt x="170" y="289"/>
                    </a:cubicBezTo>
                    <a:cubicBezTo>
                      <a:pt x="171" y="289"/>
                      <a:pt x="171" y="289"/>
                      <a:pt x="171" y="289"/>
                    </a:cubicBezTo>
                    <a:cubicBezTo>
                      <a:pt x="177" y="289"/>
                      <a:pt x="182" y="293"/>
                      <a:pt x="187" y="302"/>
                    </a:cubicBezTo>
                    <a:cubicBezTo>
                      <a:pt x="192" y="311"/>
                      <a:pt x="197" y="312"/>
                      <a:pt x="204" y="312"/>
                    </a:cubicBezTo>
                    <a:cubicBezTo>
                      <a:pt x="208" y="312"/>
                      <a:pt x="210" y="310"/>
                      <a:pt x="211" y="308"/>
                    </a:cubicBezTo>
                    <a:cubicBezTo>
                      <a:pt x="212" y="306"/>
                      <a:pt x="213" y="305"/>
                      <a:pt x="215" y="305"/>
                    </a:cubicBezTo>
                    <a:cubicBezTo>
                      <a:pt x="220" y="305"/>
                      <a:pt x="220" y="302"/>
                      <a:pt x="220" y="301"/>
                    </a:cubicBezTo>
                    <a:cubicBezTo>
                      <a:pt x="220" y="298"/>
                      <a:pt x="223" y="296"/>
                      <a:pt x="225" y="294"/>
                    </a:cubicBezTo>
                    <a:cubicBezTo>
                      <a:pt x="227" y="292"/>
                      <a:pt x="229" y="291"/>
                      <a:pt x="229" y="289"/>
                    </a:cubicBezTo>
                    <a:cubicBezTo>
                      <a:pt x="229" y="288"/>
                      <a:pt x="229" y="286"/>
                      <a:pt x="228" y="285"/>
                    </a:cubicBezTo>
                    <a:cubicBezTo>
                      <a:pt x="228" y="283"/>
                      <a:pt x="227" y="282"/>
                      <a:pt x="227" y="281"/>
                    </a:cubicBezTo>
                    <a:cubicBezTo>
                      <a:pt x="227" y="277"/>
                      <a:pt x="230" y="276"/>
                      <a:pt x="233" y="273"/>
                    </a:cubicBezTo>
                    <a:cubicBezTo>
                      <a:pt x="237" y="271"/>
                      <a:pt x="239" y="269"/>
                      <a:pt x="239" y="267"/>
                    </a:cubicBezTo>
                    <a:cubicBezTo>
                      <a:pt x="239" y="266"/>
                      <a:pt x="239" y="265"/>
                      <a:pt x="239" y="265"/>
                    </a:cubicBezTo>
                    <a:cubicBezTo>
                      <a:pt x="239" y="263"/>
                      <a:pt x="238" y="261"/>
                      <a:pt x="241" y="260"/>
                    </a:cubicBezTo>
                    <a:cubicBezTo>
                      <a:pt x="243" y="259"/>
                      <a:pt x="243" y="258"/>
                      <a:pt x="244" y="256"/>
                    </a:cubicBezTo>
                    <a:cubicBezTo>
                      <a:pt x="245" y="254"/>
                      <a:pt x="246" y="252"/>
                      <a:pt x="249" y="252"/>
                    </a:cubicBezTo>
                    <a:cubicBezTo>
                      <a:pt x="250" y="252"/>
                      <a:pt x="251" y="253"/>
                      <a:pt x="252" y="253"/>
                    </a:cubicBezTo>
                    <a:cubicBezTo>
                      <a:pt x="253" y="254"/>
                      <a:pt x="255" y="254"/>
                      <a:pt x="259" y="254"/>
                    </a:cubicBezTo>
                    <a:cubicBezTo>
                      <a:pt x="266" y="254"/>
                      <a:pt x="270" y="250"/>
                      <a:pt x="273" y="248"/>
                    </a:cubicBezTo>
                    <a:cubicBezTo>
                      <a:pt x="273" y="247"/>
                      <a:pt x="273" y="247"/>
                      <a:pt x="273" y="247"/>
                    </a:cubicBezTo>
                    <a:cubicBezTo>
                      <a:pt x="275" y="246"/>
                      <a:pt x="277" y="245"/>
                      <a:pt x="278" y="245"/>
                    </a:cubicBezTo>
                    <a:cubicBezTo>
                      <a:pt x="278" y="241"/>
                      <a:pt x="280" y="236"/>
                      <a:pt x="284" y="236"/>
                    </a:cubicBezTo>
                    <a:cubicBezTo>
                      <a:pt x="288" y="236"/>
                      <a:pt x="290" y="233"/>
                      <a:pt x="292" y="231"/>
                    </a:cubicBezTo>
                    <a:cubicBezTo>
                      <a:pt x="292" y="231"/>
                      <a:pt x="292" y="231"/>
                      <a:pt x="292" y="231"/>
                    </a:cubicBezTo>
                    <a:cubicBezTo>
                      <a:pt x="292" y="231"/>
                      <a:pt x="292" y="231"/>
                      <a:pt x="292" y="231"/>
                    </a:cubicBezTo>
                    <a:cubicBezTo>
                      <a:pt x="294" y="229"/>
                      <a:pt x="295" y="227"/>
                      <a:pt x="298" y="227"/>
                    </a:cubicBezTo>
                    <a:cubicBezTo>
                      <a:pt x="300" y="227"/>
                      <a:pt x="304" y="221"/>
                      <a:pt x="304" y="212"/>
                    </a:cubicBezTo>
                    <a:cubicBezTo>
                      <a:pt x="304" y="207"/>
                      <a:pt x="301" y="205"/>
                      <a:pt x="299" y="202"/>
                    </a:cubicBezTo>
                    <a:cubicBezTo>
                      <a:pt x="297" y="199"/>
                      <a:pt x="295" y="197"/>
                      <a:pt x="295" y="194"/>
                    </a:cubicBezTo>
                    <a:cubicBezTo>
                      <a:pt x="295" y="190"/>
                      <a:pt x="296" y="188"/>
                      <a:pt x="297" y="186"/>
                    </a:cubicBezTo>
                    <a:cubicBezTo>
                      <a:pt x="298" y="184"/>
                      <a:pt x="299" y="183"/>
                      <a:pt x="299" y="181"/>
                    </a:cubicBezTo>
                    <a:cubicBezTo>
                      <a:pt x="299" y="178"/>
                      <a:pt x="299" y="170"/>
                      <a:pt x="304" y="170"/>
                    </a:cubicBezTo>
                    <a:cubicBezTo>
                      <a:pt x="306" y="170"/>
                      <a:pt x="307" y="171"/>
                      <a:pt x="308" y="172"/>
                    </a:cubicBezTo>
                    <a:cubicBezTo>
                      <a:pt x="308" y="173"/>
                      <a:pt x="309" y="174"/>
                      <a:pt x="311" y="174"/>
                    </a:cubicBezTo>
                    <a:cubicBezTo>
                      <a:pt x="314" y="174"/>
                      <a:pt x="318" y="172"/>
                      <a:pt x="318" y="169"/>
                    </a:cubicBezTo>
                    <a:cubicBezTo>
                      <a:pt x="318" y="166"/>
                      <a:pt x="314" y="163"/>
                      <a:pt x="311" y="161"/>
                    </a:cubicBezTo>
                    <a:cubicBezTo>
                      <a:pt x="311" y="161"/>
                      <a:pt x="310" y="160"/>
                      <a:pt x="310" y="160"/>
                    </a:cubicBezTo>
                    <a:cubicBezTo>
                      <a:pt x="307" y="158"/>
                      <a:pt x="304" y="155"/>
                      <a:pt x="304" y="151"/>
                    </a:cubicBezTo>
                    <a:cubicBezTo>
                      <a:pt x="304" y="150"/>
                      <a:pt x="304" y="149"/>
                      <a:pt x="302" y="148"/>
                    </a:cubicBezTo>
                    <a:cubicBezTo>
                      <a:pt x="301" y="147"/>
                      <a:pt x="300" y="146"/>
                      <a:pt x="300" y="144"/>
                    </a:cubicBezTo>
                    <a:cubicBezTo>
                      <a:pt x="300" y="139"/>
                      <a:pt x="307" y="137"/>
                      <a:pt x="312" y="137"/>
                    </a:cubicBezTo>
                    <a:cubicBezTo>
                      <a:pt x="315" y="137"/>
                      <a:pt x="319" y="138"/>
                      <a:pt x="321" y="138"/>
                    </a:cubicBezTo>
                    <a:cubicBezTo>
                      <a:pt x="321" y="135"/>
                      <a:pt x="321" y="135"/>
                      <a:pt x="321" y="135"/>
                    </a:cubicBezTo>
                    <a:cubicBezTo>
                      <a:pt x="321" y="134"/>
                      <a:pt x="321" y="133"/>
                      <a:pt x="322" y="132"/>
                    </a:cubicBezTo>
                    <a:cubicBezTo>
                      <a:pt x="322" y="131"/>
                      <a:pt x="322" y="130"/>
                      <a:pt x="322" y="129"/>
                    </a:cubicBezTo>
                    <a:cubicBezTo>
                      <a:pt x="322" y="128"/>
                      <a:pt x="317" y="118"/>
                      <a:pt x="309" y="118"/>
                    </a:cubicBezTo>
                    <a:cubicBezTo>
                      <a:pt x="305" y="118"/>
                      <a:pt x="304" y="120"/>
                      <a:pt x="303" y="123"/>
                    </a:cubicBezTo>
                    <a:cubicBezTo>
                      <a:pt x="302" y="124"/>
                      <a:pt x="301" y="126"/>
                      <a:pt x="299" y="126"/>
                    </a:cubicBezTo>
                    <a:cubicBezTo>
                      <a:pt x="298" y="126"/>
                      <a:pt x="297" y="126"/>
                      <a:pt x="297" y="127"/>
                    </a:cubicBezTo>
                    <a:cubicBezTo>
                      <a:pt x="296" y="128"/>
                      <a:pt x="295" y="130"/>
                      <a:pt x="292" y="131"/>
                    </a:cubicBezTo>
                    <a:cubicBezTo>
                      <a:pt x="290" y="131"/>
                      <a:pt x="288" y="132"/>
                      <a:pt x="287" y="134"/>
                    </a:cubicBezTo>
                    <a:cubicBezTo>
                      <a:pt x="284" y="136"/>
                      <a:pt x="281" y="139"/>
                      <a:pt x="273" y="139"/>
                    </a:cubicBezTo>
                    <a:cubicBezTo>
                      <a:pt x="273" y="139"/>
                      <a:pt x="272" y="139"/>
                      <a:pt x="271" y="140"/>
                    </a:cubicBezTo>
                    <a:cubicBezTo>
                      <a:pt x="271" y="140"/>
                      <a:pt x="270" y="140"/>
                      <a:pt x="269" y="140"/>
                    </a:cubicBezTo>
                    <a:cubicBezTo>
                      <a:pt x="267" y="140"/>
                      <a:pt x="266" y="139"/>
                      <a:pt x="266" y="138"/>
                    </a:cubicBezTo>
                    <a:cubicBezTo>
                      <a:pt x="266" y="137"/>
                      <a:pt x="265" y="136"/>
                      <a:pt x="264" y="135"/>
                    </a:cubicBezTo>
                    <a:cubicBezTo>
                      <a:pt x="261" y="133"/>
                      <a:pt x="258" y="130"/>
                      <a:pt x="258" y="127"/>
                    </a:cubicBezTo>
                    <a:cubicBezTo>
                      <a:pt x="258" y="124"/>
                      <a:pt x="258" y="123"/>
                      <a:pt x="257" y="123"/>
                    </a:cubicBezTo>
                    <a:cubicBezTo>
                      <a:pt x="256" y="123"/>
                      <a:pt x="255" y="124"/>
                      <a:pt x="254" y="124"/>
                    </a:cubicBezTo>
                    <a:cubicBezTo>
                      <a:pt x="254" y="125"/>
                      <a:pt x="253" y="125"/>
                      <a:pt x="251" y="125"/>
                    </a:cubicBezTo>
                    <a:cubicBezTo>
                      <a:pt x="249" y="125"/>
                      <a:pt x="249" y="124"/>
                      <a:pt x="248" y="123"/>
                    </a:cubicBezTo>
                    <a:cubicBezTo>
                      <a:pt x="247" y="121"/>
                      <a:pt x="246" y="120"/>
                      <a:pt x="243" y="120"/>
                    </a:cubicBezTo>
                    <a:cubicBezTo>
                      <a:pt x="236" y="120"/>
                      <a:pt x="230" y="117"/>
                      <a:pt x="230" y="110"/>
                    </a:cubicBezTo>
                    <a:cubicBezTo>
                      <a:pt x="230" y="104"/>
                      <a:pt x="234" y="99"/>
                      <a:pt x="237" y="96"/>
                    </a:cubicBezTo>
                    <a:cubicBezTo>
                      <a:pt x="238" y="94"/>
                      <a:pt x="240" y="93"/>
                      <a:pt x="240" y="92"/>
                    </a:cubicBezTo>
                    <a:cubicBezTo>
                      <a:pt x="240" y="89"/>
                      <a:pt x="242" y="86"/>
                      <a:pt x="245" y="86"/>
                    </a:cubicBezTo>
                    <a:cubicBezTo>
                      <a:pt x="246" y="86"/>
                      <a:pt x="248" y="84"/>
                      <a:pt x="248" y="80"/>
                    </a:cubicBezTo>
                    <a:cubicBezTo>
                      <a:pt x="248" y="76"/>
                      <a:pt x="247" y="76"/>
                      <a:pt x="245" y="76"/>
                    </a:cubicBezTo>
                    <a:cubicBezTo>
                      <a:pt x="244" y="76"/>
                      <a:pt x="243" y="76"/>
                      <a:pt x="242" y="76"/>
                    </a:cubicBezTo>
                    <a:cubicBezTo>
                      <a:pt x="242" y="77"/>
                      <a:pt x="241" y="77"/>
                      <a:pt x="239" y="77"/>
                    </a:cubicBezTo>
                    <a:cubicBezTo>
                      <a:pt x="237" y="77"/>
                      <a:pt x="236" y="76"/>
                      <a:pt x="235" y="75"/>
                    </a:cubicBezTo>
                    <a:cubicBezTo>
                      <a:pt x="234" y="74"/>
                      <a:pt x="233" y="73"/>
                      <a:pt x="231" y="73"/>
                    </a:cubicBezTo>
                    <a:cubicBezTo>
                      <a:pt x="229" y="73"/>
                      <a:pt x="228" y="74"/>
                      <a:pt x="227" y="75"/>
                    </a:cubicBezTo>
                    <a:cubicBezTo>
                      <a:pt x="226" y="76"/>
                      <a:pt x="224" y="77"/>
                      <a:pt x="222" y="77"/>
                    </a:cubicBezTo>
                    <a:cubicBezTo>
                      <a:pt x="219" y="77"/>
                      <a:pt x="216" y="78"/>
                      <a:pt x="215" y="78"/>
                    </a:cubicBezTo>
                    <a:cubicBezTo>
                      <a:pt x="213" y="79"/>
                      <a:pt x="211" y="79"/>
                      <a:pt x="210" y="79"/>
                    </a:cubicBezTo>
                    <a:cubicBezTo>
                      <a:pt x="209" y="79"/>
                      <a:pt x="208" y="79"/>
                      <a:pt x="208" y="78"/>
                    </a:cubicBezTo>
                    <a:cubicBezTo>
                      <a:pt x="206" y="76"/>
                      <a:pt x="208" y="71"/>
                      <a:pt x="208" y="70"/>
                    </a:cubicBezTo>
                    <a:cubicBezTo>
                      <a:pt x="208" y="70"/>
                      <a:pt x="208" y="70"/>
                      <a:pt x="208" y="70"/>
                    </a:cubicBezTo>
                    <a:cubicBezTo>
                      <a:pt x="208" y="69"/>
                      <a:pt x="208" y="68"/>
                      <a:pt x="208" y="65"/>
                    </a:cubicBezTo>
                    <a:cubicBezTo>
                      <a:pt x="208" y="61"/>
                      <a:pt x="206" y="60"/>
                      <a:pt x="205" y="57"/>
                    </a:cubicBezTo>
                    <a:cubicBezTo>
                      <a:pt x="204" y="53"/>
                      <a:pt x="200" y="53"/>
                      <a:pt x="196" y="51"/>
                    </a:cubicBezTo>
                    <a:cubicBezTo>
                      <a:pt x="191" y="49"/>
                      <a:pt x="194" y="45"/>
                      <a:pt x="196" y="44"/>
                    </a:cubicBezTo>
                    <a:cubicBezTo>
                      <a:pt x="197" y="42"/>
                      <a:pt x="197" y="39"/>
                      <a:pt x="196" y="37"/>
                    </a:cubicBezTo>
                    <a:cubicBezTo>
                      <a:pt x="194" y="35"/>
                      <a:pt x="196" y="33"/>
                      <a:pt x="196" y="30"/>
                    </a:cubicBezTo>
                    <a:cubicBezTo>
                      <a:pt x="196" y="26"/>
                      <a:pt x="195" y="23"/>
                      <a:pt x="193" y="23"/>
                    </a:cubicBezTo>
                    <a:cubicBezTo>
                      <a:pt x="191" y="23"/>
                      <a:pt x="191" y="27"/>
                      <a:pt x="189" y="27"/>
                    </a:cubicBezTo>
                    <a:cubicBezTo>
                      <a:pt x="187" y="27"/>
                      <a:pt x="187" y="27"/>
                      <a:pt x="187" y="23"/>
                    </a:cubicBezTo>
                    <a:cubicBezTo>
                      <a:pt x="187" y="19"/>
                      <a:pt x="186" y="15"/>
                      <a:pt x="181" y="15"/>
                    </a:cubicBezTo>
                    <a:cubicBezTo>
                      <a:pt x="176" y="15"/>
                      <a:pt x="173" y="9"/>
                      <a:pt x="169" y="9"/>
                    </a:cubicBezTo>
                    <a:cubicBezTo>
                      <a:pt x="165" y="9"/>
                      <a:pt x="162" y="18"/>
                      <a:pt x="159" y="18"/>
                    </a:cubicBezTo>
                    <a:cubicBezTo>
                      <a:pt x="156" y="18"/>
                      <a:pt x="154" y="14"/>
                      <a:pt x="150" y="14"/>
                    </a:cubicBezTo>
                    <a:cubicBezTo>
                      <a:pt x="145" y="14"/>
                      <a:pt x="145" y="14"/>
                      <a:pt x="145" y="14"/>
                    </a:cubicBezTo>
                    <a:cubicBezTo>
                      <a:pt x="139" y="14"/>
                      <a:pt x="137" y="9"/>
                      <a:pt x="134" y="9"/>
                    </a:cubicBezTo>
                    <a:cubicBezTo>
                      <a:pt x="131" y="9"/>
                      <a:pt x="132" y="11"/>
                      <a:pt x="129" y="11"/>
                    </a:cubicBezTo>
                    <a:cubicBezTo>
                      <a:pt x="127" y="11"/>
                      <a:pt x="127" y="10"/>
                      <a:pt x="125" y="10"/>
                    </a:cubicBezTo>
                    <a:cubicBezTo>
                      <a:pt x="124" y="10"/>
                      <a:pt x="124" y="12"/>
                      <a:pt x="122" y="12"/>
                    </a:cubicBezTo>
                    <a:cubicBezTo>
                      <a:pt x="120" y="12"/>
                      <a:pt x="118" y="9"/>
                      <a:pt x="114" y="9"/>
                    </a:cubicBezTo>
                    <a:cubicBezTo>
                      <a:pt x="110" y="9"/>
                      <a:pt x="110" y="8"/>
                      <a:pt x="105" y="8"/>
                    </a:cubicBezTo>
                    <a:cubicBezTo>
                      <a:pt x="101" y="8"/>
                      <a:pt x="101" y="10"/>
                      <a:pt x="98" y="10"/>
                    </a:cubicBezTo>
                    <a:cubicBezTo>
                      <a:pt x="92" y="10"/>
                      <a:pt x="81" y="0"/>
                      <a:pt x="72" y="0"/>
                    </a:cubicBezTo>
                    <a:cubicBezTo>
                      <a:pt x="64" y="0"/>
                      <a:pt x="56" y="9"/>
                      <a:pt x="56" y="12"/>
                    </a:cubicBezTo>
                    <a:cubicBezTo>
                      <a:pt x="56" y="14"/>
                      <a:pt x="58" y="16"/>
                      <a:pt x="60" y="16"/>
                    </a:cubicBezTo>
                    <a:cubicBezTo>
                      <a:pt x="63" y="16"/>
                      <a:pt x="65" y="18"/>
                      <a:pt x="68" y="18"/>
                    </a:cubicBezTo>
                    <a:cubicBezTo>
                      <a:pt x="72" y="18"/>
                      <a:pt x="72" y="19"/>
                      <a:pt x="72" y="20"/>
                    </a:cubicBezTo>
                    <a:cubicBezTo>
                      <a:pt x="72" y="21"/>
                      <a:pt x="72" y="23"/>
                      <a:pt x="75" y="25"/>
                    </a:cubicBezTo>
                    <a:cubicBezTo>
                      <a:pt x="77" y="26"/>
                      <a:pt x="80" y="30"/>
                      <a:pt x="76" y="30"/>
                    </a:cubicBezTo>
                    <a:cubicBezTo>
                      <a:pt x="71" y="30"/>
                      <a:pt x="70" y="23"/>
                      <a:pt x="63" y="23"/>
                    </a:cubicBezTo>
                    <a:cubicBezTo>
                      <a:pt x="57" y="23"/>
                      <a:pt x="54" y="30"/>
                      <a:pt x="54" y="35"/>
                    </a:cubicBezTo>
                    <a:cubicBezTo>
                      <a:pt x="54" y="41"/>
                      <a:pt x="51" y="40"/>
                      <a:pt x="51" y="43"/>
                    </a:cubicBezTo>
                    <a:cubicBezTo>
                      <a:pt x="51" y="46"/>
                      <a:pt x="50" y="46"/>
                      <a:pt x="46" y="46"/>
                    </a:cubicBezTo>
                    <a:cubicBezTo>
                      <a:pt x="42" y="46"/>
                      <a:pt x="45" y="45"/>
                      <a:pt x="38" y="45"/>
                    </a:cubicBezTo>
                    <a:cubicBezTo>
                      <a:pt x="32" y="45"/>
                      <a:pt x="31" y="35"/>
                      <a:pt x="33" y="35"/>
                    </a:cubicBezTo>
                    <a:cubicBezTo>
                      <a:pt x="36" y="35"/>
                      <a:pt x="36" y="41"/>
                      <a:pt x="42" y="41"/>
                    </a:cubicBezTo>
                    <a:cubicBezTo>
                      <a:pt x="48" y="41"/>
                      <a:pt x="49" y="36"/>
                      <a:pt x="49" y="32"/>
                    </a:cubicBezTo>
                    <a:cubicBezTo>
                      <a:pt x="49" y="28"/>
                      <a:pt x="45" y="27"/>
                      <a:pt x="39" y="27"/>
                    </a:cubicBezTo>
                    <a:cubicBezTo>
                      <a:pt x="33" y="27"/>
                      <a:pt x="33" y="13"/>
                      <a:pt x="28" y="13"/>
                    </a:cubicBezTo>
                    <a:cubicBezTo>
                      <a:pt x="24" y="13"/>
                      <a:pt x="24" y="22"/>
                      <a:pt x="18" y="22"/>
                    </a:cubicBezTo>
                    <a:cubicBezTo>
                      <a:pt x="13" y="22"/>
                      <a:pt x="10" y="31"/>
                      <a:pt x="10" y="33"/>
                    </a:cubicBezTo>
                    <a:cubicBezTo>
                      <a:pt x="10" y="35"/>
                      <a:pt x="6" y="35"/>
                      <a:pt x="6" y="37"/>
                    </a:cubicBezTo>
                    <a:cubicBezTo>
                      <a:pt x="6" y="40"/>
                      <a:pt x="8" y="42"/>
                      <a:pt x="10" y="42"/>
                    </a:cubicBezTo>
                    <a:cubicBezTo>
                      <a:pt x="13" y="42"/>
                      <a:pt x="15" y="41"/>
                      <a:pt x="15" y="43"/>
                    </a:cubicBezTo>
                    <a:cubicBezTo>
                      <a:pt x="15" y="46"/>
                      <a:pt x="14" y="47"/>
                      <a:pt x="10" y="48"/>
                    </a:cubicBezTo>
                    <a:cubicBezTo>
                      <a:pt x="7" y="50"/>
                      <a:pt x="10" y="53"/>
                      <a:pt x="9" y="55"/>
                    </a:cubicBezTo>
                    <a:cubicBezTo>
                      <a:pt x="7" y="59"/>
                      <a:pt x="0" y="74"/>
                      <a:pt x="0" y="82"/>
                    </a:cubicBezTo>
                    <a:cubicBezTo>
                      <a:pt x="0" y="87"/>
                      <a:pt x="6" y="89"/>
                      <a:pt x="9" y="89"/>
                    </a:cubicBezTo>
                    <a:cubicBezTo>
                      <a:pt x="13" y="89"/>
                      <a:pt x="14" y="89"/>
                      <a:pt x="14" y="86"/>
                    </a:cubicBezTo>
                    <a:cubicBezTo>
                      <a:pt x="14" y="84"/>
                      <a:pt x="13" y="82"/>
                      <a:pt x="10" y="80"/>
                    </a:cubicBezTo>
                    <a:cubicBezTo>
                      <a:pt x="8" y="79"/>
                      <a:pt x="8" y="77"/>
                      <a:pt x="10" y="77"/>
                    </a:cubicBezTo>
                    <a:cubicBezTo>
                      <a:pt x="12" y="77"/>
                      <a:pt x="12" y="77"/>
                      <a:pt x="12" y="75"/>
                    </a:cubicBezTo>
                    <a:cubicBezTo>
                      <a:pt x="12" y="73"/>
                      <a:pt x="14" y="73"/>
                      <a:pt x="14" y="70"/>
                    </a:cubicBezTo>
                    <a:cubicBezTo>
                      <a:pt x="14" y="67"/>
                      <a:pt x="10" y="68"/>
                      <a:pt x="10" y="66"/>
                    </a:cubicBezTo>
                    <a:cubicBezTo>
                      <a:pt x="10" y="63"/>
                      <a:pt x="13" y="62"/>
                      <a:pt x="15" y="62"/>
                    </a:cubicBezTo>
                    <a:cubicBezTo>
                      <a:pt x="17" y="62"/>
                      <a:pt x="17" y="62"/>
                      <a:pt x="19" y="61"/>
                    </a:cubicBezTo>
                    <a:cubicBezTo>
                      <a:pt x="20" y="61"/>
                      <a:pt x="18" y="59"/>
                      <a:pt x="18" y="58"/>
                    </a:cubicBezTo>
                    <a:cubicBezTo>
                      <a:pt x="18" y="57"/>
                      <a:pt x="18" y="55"/>
                      <a:pt x="19" y="55"/>
                    </a:cubicBezTo>
                    <a:cubicBezTo>
                      <a:pt x="21" y="55"/>
                      <a:pt x="21" y="57"/>
                      <a:pt x="23" y="57"/>
                    </a:cubicBezTo>
                    <a:cubicBezTo>
                      <a:pt x="25" y="57"/>
                      <a:pt x="26" y="56"/>
                      <a:pt x="26" y="54"/>
                    </a:cubicBezTo>
                    <a:cubicBezTo>
                      <a:pt x="26" y="51"/>
                      <a:pt x="24" y="50"/>
                      <a:pt x="24" y="48"/>
                    </a:cubicBezTo>
                    <a:cubicBezTo>
                      <a:pt x="24" y="46"/>
                      <a:pt x="24" y="42"/>
                      <a:pt x="26" y="42"/>
                    </a:cubicBezTo>
                    <a:cubicBezTo>
                      <a:pt x="29" y="42"/>
                      <a:pt x="32" y="48"/>
                      <a:pt x="34" y="51"/>
                    </a:cubicBezTo>
                    <a:cubicBezTo>
                      <a:pt x="37" y="54"/>
                      <a:pt x="40" y="52"/>
                      <a:pt x="40" y="56"/>
                    </a:cubicBezTo>
                    <a:cubicBezTo>
                      <a:pt x="40" y="59"/>
                      <a:pt x="36" y="57"/>
                      <a:pt x="35" y="59"/>
                    </a:cubicBezTo>
                    <a:cubicBezTo>
                      <a:pt x="34" y="61"/>
                      <a:pt x="39" y="64"/>
                      <a:pt x="40" y="65"/>
                    </a:cubicBezTo>
                    <a:cubicBezTo>
                      <a:pt x="42" y="66"/>
                      <a:pt x="40" y="69"/>
                      <a:pt x="38" y="69"/>
                    </a:cubicBezTo>
                    <a:cubicBezTo>
                      <a:pt x="37" y="69"/>
                      <a:pt x="37" y="71"/>
                      <a:pt x="38" y="72"/>
                    </a:cubicBezTo>
                    <a:cubicBezTo>
                      <a:pt x="39" y="74"/>
                      <a:pt x="40" y="77"/>
                      <a:pt x="43" y="77"/>
                    </a:cubicBezTo>
                    <a:cubicBezTo>
                      <a:pt x="46" y="77"/>
                      <a:pt x="46" y="80"/>
                      <a:pt x="43" y="80"/>
                    </a:cubicBezTo>
                    <a:cubicBezTo>
                      <a:pt x="40" y="80"/>
                      <a:pt x="31" y="84"/>
                      <a:pt x="31" y="87"/>
                    </a:cubicBezTo>
                    <a:cubicBezTo>
                      <a:pt x="31" y="90"/>
                      <a:pt x="35" y="93"/>
                      <a:pt x="35" y="96"/>
                    </a:cubicBezTo>
                    <a:cubicBezTo>
                      <a:pt x="35" y="98"/>
                      <a:pt x="34" y="99"/>
                      <a:pt x="39" y="99"/>
                    </a:cubicBezTo>
                    <a:cubicBezTo>
                      <a:pt x="45" y="99"/>
                      <a:pt x="51" y="92"/>
                      <a:pt x="51" y="91"/>
                    </a:cubicBezTo>
                    <a:cubicBezTo>
                      <a:pt x="51" y="89"/>
                      <a:pt x="50" y="87"/>
                      <a:pt x="51" y="87"/>
                    </a:cubicBezTo>
                    <a:cubicBezTo>
                      <a:pt x="53" y="87"/>
                      <a:pt x="53" y="86"/>
                      <a:pt x="53" y="84"/>
                    </a:cubicBezTo>
                    <a:cubicBezTo>
                      <a:pt x="53" y="82"/>
                      <a:pt x="56" y="81"/>
                      <a:pt x="59" y="81"/>
                    </a:cubicBezTo>
                    <a:cubicBezTo>
                      <a:pt x="63" y="81"/>
                      <a:pt x="61" y="84"/>
                      <a:pt x="60" y="84"/>
                    </a:cubicBezTo>
                    <a:cubicBezTo>
                      <a:pt x="59" y="84"/>
                      <a:pt x="58" y="86"/>
                      <a:pt x="58" y="89"/>
                    </a:cubicBezTo>
                    <a:cubicBezTo>
                      <a:pt x="58" y="91"/>
                      <a:pt x="53" y="92"/>
                      <a:pt x="53" y="94"/>
                    </a:cubicBezTo>
                    <a:cubicBezTo>
                      <a:pt x="53" y="96"/>
                      <a:pt x="55" y="96"/>
                      <a:pt x="55" y="98"/>
                    </a:cubicBezTo>
                    <a:cubicBezTo>
                      <a:pt x="55" y="99"/>
                      <a:pt x="54" y="101"/>
                      <a:pt x="52" y="101"/>
                    </a:cubicBezTo>
                    <a:cubicBezTo>
                      <a:pt x="50" y="101"/>
                      <a:pt x="48" y="103"/>
                      <a:pt x="48" y="106"/>
                    </a:cubicBezTo>
                    <a:cubicBezTo>
                      <a:pt x="48" y="109"/>
                      <a:pt x="46" y="108"/>
                      <a:pt x="46" y="111"/>
                    </a:cubicBezTo>
                    <a:cubicBezTo>
                      <a:pt x="46" y="115"/>
                      <a:pt x="48" y="117"/>
                      <a:pt x="49" y="117"/>
                    </a:cubicBezTo>
                    <a:cubicBezTo>
                      <a:pt x="50" y="118"/>
                      <a:pt x="50" y="120"/>
                      <a:pt x="52" y="120"/>
                    </a:cubicBezTo>
                    <a:cubicBezTo>
                      <a:pt x="55" y="120"/>
                      <a:pt x="58" y="121"/>
                      <a:pt x="58" y="124"/>
                    </a:cubicBezTo>
                    <a:cubicBezTo>
                      <a:pt x="58" y="127"/>
                      <a:pt x="59" y="127"/>
                      <a:pt x="59" y="131"/>
                    </a:cubicBezTo>
                    <a:cubicBezTo>
                      <a:pt x="59" y="136"/>
                      <a:pt x="61" y="140"/>
                      <a:pt x="63" y="140"/>
                    </a:cubicBezTo>
                    <a:cubicBezTo>
                      <a:pt x="66" y="140"/>
                      <a:pt x="64" y="135"/>
                      <a:pt x="65" y="135"/>
                    </a:cubicBezTo>
                    <a:cubicBezTo>
                      <a:pt x="66" y="135"/>
                      <a:pt x="68" y="135"/>
                      <a:pt x="68" y="138"/>
                    </a:cubicBezTo>
                    <a:cubicBezTo>
                      <a:pt x="68" y="140"/>
                      <a:pt x="71" y="140"/>
                      <a:pt x="71" y="146"/>
                    </a:cubicBezTo>
                    <a:cubicBezTo>
                      <a:pt x="71" y="149"/>
                      <a:pt x="71" y="154"/>
                      <a:pt x="69" y="154"/>
                    </a:cubicBezTo>
                    <a:cubicBezTo>
                      <a:pt x="66" y="154"/>
                      <a:pt x="67" y="148"/>
                      <a:pt x="67" y="147"/>
                    </a:cubicBezTo>
                    <a:cubicBezTo>
                      <a:pt x="67" y="145"/>
                      <a:pt x="63" y="143"/>
                      <a:pt x="60" y="141"/>
                    </a:cubicBezTo>
                    <a:cubicBezTo>
                      <a:pt x="58" y="140"/>
                      <a:pt x="55" y="138"/>
                      <a:pt x="51" y="138"/>
                    </a:cubicBezTo>
                    <a:cubicBezTo>
                      <a:pt x="48" y="138"/>
                      <a:pt x="44" y="139"/>
                      <a:pt x="44" y="141"/>
                    </a:cubicBezTo>
                    <a:cubicBezTo>
                      <a:pt x="44" y="150"/>
                      <a:pt x="44" y="150"/>
                      <a:pt x="44" y="150"/>
                    </a:cubicBezTo>
                    <a:cubicBezTo>
                      <a:pt x="44" y="153"/>
                      <a:pt x="40" y="152"/>
                      <a:pt x="40" y="161"/>
                    </a:cubicBezTo>
                    <a:cubicBezTo>
                      <a:pt x="40" y="165"/>
                      <a:pt x="38" y="165"/>
                      <a:pt x="38" y="168"/>
                    </a:cubicBezTo>
                    <a:cubicBezTo>
                      <a:pt x="38" y="171"/>
                      <a:pt x="42" y="173"/>
                      <a:pt x="46" y="173"/>
                    </a:cubicBezTo>
                    <a:cubicBezTo>
                      <a:pt x="49" y="173"/>
                      <a:pt x="50" y="171"/>
                      <a:pt x="56" y="170"/>
                    </a:cubicBezTo>
                    <a:cubicBezTo>
                      <a:pt x="62" y="169"/>
                      <a:pt x="70" y="166"/>
                      <a:pt x="72" y="163"/>
                    </a:cubicBezTo>
                    <a:cubicBezTo>
                      <a:pt x="74" y="160"/>
                      <a:pt x="76" y="160"/>
                      <a:pt x="80" y="160"/>
                    </a:cubicBezTo>
                    <a:cubicBezTo>
                      <a:pt x="89" y="160"/>
                      <a:pt x="89" y="160"/>
                      <a:pt x="89" y="160"/>
                    </a:cubicBezTo>
                    <a:cubicBezTo>
                      <a:pt x="94" y="160"/>
                      <a:pt x="97" y="162"/>
                      <a:pt x="108" y="162"/>
                    </a:cubicBezTo>
                    <a:cubicBezTo>
                      <a:pt x="115" y="162"/>
                      <a:pt x="116" y="161"/>
                      <a:pt x="116" y="163"/>
                    </a:cubicBezTo>
                    <a:cubicBezTo>
                      <a:pt x="116" y="166"/>
                      <a:pt x="114" y="167"/>
                      <a:pt x="114" y="170"/>
                    </a:cubicBezTo>
                    <a:cubicBezTo>
                      <a:pt x="114" y="172"/>
                      <a:pt x="117" y="172"/>
                      <a:pt x="117" y="174"/>
                    </a:cubicBezTo>
                    <a:cubicBezTo>
                      <a:pt x="117" y="176"/>
                      <a:pt x="115" y="175"/>
                      <a:pt x="115" y="177"/>
                    </a:cubicBezTo>
                    <a:cubicBezTo>
                      <a:pt x="115" y="179"/>
                      <a:pt x="114" y="179"/>
                      <a:pt x="111" y="179"/>
                    </a:cubicBezTo>
                    <a:cubicBezTo>
                      <a:pt x="108" y="179"/>
                      <a:pt x="107" y="180"/>
                      <a:pt x="107" y="181"/>
                    </a:cubicBezTo>
                    <a:cubicBezTo>
                      <a:pt x="107" y="183"/>
                      <a:pt x="109" y="183"/>
                      <a:pt x="109" y="185"/>
                    </a:cubicBezTo>
                    <a:cubicBezTo>
                      <a:pt x="109" y="187"/>
                      <a:pt x="104" y="187"/>
                      <a:pt x="104" y="189"/>
                    </a:cubicBezTo>
                    <a:cubicBezTo>
                      <a:pt x="104" y="191"/>
                      <a:pt x="107" y="191"/>
                      <a:pt x="108" y="191"/>
                    </a:cubicBezTo>
                    <a:cubicBezTo>
                      <a:pt x="112" y="191"/>
                      <a:pt x="113" y="195"/>
                      <a:pt x="116" y="195"/>
                    </a:cubicBezTo>
                    <a:cubicBezTo>
                      <a:pt x="118" y="195"/>
                      <a:pt x="120" y="194"/>
                      <a:pt x="120" y="197"/>
                    </a:cubicBezTo>
                    <a:cubicBezTo>
                      <a:pt x="120" y="200"/>
                      <a:pt x="111" y="204"/>
                      <a:pt x="108" y="204"/>
                    </a:cubicBezTo>
                    <a:cubicBezTo>
                      <a:pt x="105" y="204"/>
                      <a:pt x="105" y="203"/>
                      <a:pt x="103" y="203"/>
                    </a:cubicBezTo>
                    <a:cubicBezTo>
                      <a:pt x="101" y="203"/>
                      <a:pt x="101" y="204"/>
                      <a:pt x="98" y="204"/>
                    </a:cubicBezTo>
                    <a:cubicBezTo>
                      <a:pt x="96" y="204"/>
                      <a:pt x="95" y="202"/>
                      <a:pt x="91" y="202"/>
                    </a:cubicBezTo>
                    <a:cubicBezTo>
                      <a:pt x="87" y="202"/>
                      <a:pt x="83" y="206"/>
                      <a:pt x="77" y="206"/>
                    </a:cubicBezTo>
                    <a:cubicBezTo>
                      <a:pt x="73" y="206"/>
                      <a:pt x="73" y="202"/>
                      <a:pt x="69" y="202"/>
                    </a:cubicBezTo>
                    <a:cubicBezTo>
                      <a:pt x="66" y="202"/>
                      <a:pt x="49" y="209"/>
                      <a:pt x="46" y="210"/>
                    </a:cubicBezTo>
                    <a:cubicBezTo>
                      <a:pt x="42" y="211"/>
                      <a:pt x="44" y="215"/>
                      <a:pt x="44" y="219"/>
                    </a:cubicBezTo>
                    <a:cubicBezTo>
                      <a:pt x="44" y="224"/>
                      <a:pt x="40" y="227"/>
                      <a:pt x="40" y="232"/>
                    </a:cubicBezTo>
                    <a:cubicBezTo>
                      <a:pt x="40" y="236"/>
                      <a:pt x="41" y="237"/>
                      <a:pt x="41" y="244"/>
                    </a:cubicBezTo>
                    <a:cubicBezTo>
                      <a:pt x="41" y="250"/>
                      <a:pt x="47" y="250"/>
                      <a:pt x="48" y="256"/>
                    </a:cubicBezTo>
                    <a:cubicBezTo>
                      <a:pt x="48" y="256"/>
                      <a:pt x="48" y="256"/>
                      <a:pt x="48" y="256"/>
                    </a:cubicBezTo>
                    <a:cubicBezTo>
                      <a:pt x="48" y="256"/>
                      <a:pt x="55" y="257"/>
                      <a:pt x="60" y="260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68" name="Freeform 43"/>
              <p:cNvSpPr>
                <a:spLocks/>
              </p:cNvSpPr>
              <p:nvPr/>
            </p:nvSpPr>
            <p:spPr bwMode="auto">
              <a:xfrm>
                <a:off x="654" y="2142"/>
                <a:ext cx="49" cy="31"/>
              </a:xfrm>
              <a:custGeom>
                <a:avLst/>
                <a:gdLst>
                  <a:gd name="T0" fmla="*/ 0 w 21"/>
                  <a:gd name="T1" fmla="*/ 13 h 13"/>
                  <a:gd name="T2" fmla="*/ 0 w 21"/>
                  <a:gd name="T3" fmla="*/ 8 h 13"/>
                  <a:gd name="T4" fmla="*/ 7 w 21"/>
                  <a:gd name="T5" fmla="*/ 4 h 13"/>
                  <a:gd name="T6" fmla="*/ 13 w 21"/>
                  <a:gd name="T7" fmla="*/ 0 h 13"/>
                  <a:gd name="T8" fmla="*/ 18 w 21"/>
                  <a:gd name="T9" fmla="*/ 3 h 13"/>
                  <a:gd name="T10" fmla="*/ 21 w 21"/>
                  <a:gd name="T11" fmla="*/ 7 h 13"/>
                  <a:gd name="T12" fmla="*/ 11 w 21"/>
                  <a:gd name="T13" fmla="*/ 13 h 13"/>
                  <a:gd name="T14" fmla="*/ 0 w 21"/>
                  <a:gd name="T1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13">
                    <a:moveTo>
                      <a:pt x="0" y="13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0" y="7"/>
                      <a:pt x="4" y="6"/>
                      <a:pt x="7" y="4"/>
                    </a:cubicBezTo>
                    <a:cubicBezTo>
                      <a:pt x="10" y="2"/>
                      <a:pt x="10" y="0"/>
                      <a:pt x="13" y="0"/>
                    </a:cubicBezTo>
                    <a:cubicBezTo>
                      <a:pt x="15" y="0"/>
                      <a:pt x="17" y="2"/>
                      <a:pt x="18" y="3"/>
                    </a:cubicBezTo>
                    <a:cubicBezTo>
                      <a:pt x="20" y="5"/>
                      <a:pt x="21" y="6"/>
                      <a:pt x="21" y="7"/>
                    </a:cubicBezTo>
                    <a:cubicBezTo>
                      <a:pt x="21" y="10"/>
                      <a:pt x="17" y="13"/>
                      <a:pt x="11" y="13"/>
                    </a:cubicBezTo>
                    <a:cubicBezTo>
                      <a:pt x="4" y="13"/>
                      <a:pt x="0" y="13"/>
                      <a:pt x="0" y="13"/>
                    </a:cubicBezTo>
                  </a:path>
                </a:pathLst>
              </a:custGeom>
              <a:noFill/>
              <a:ln w="6350" cap="rnd">
                <a:solidFill>
                  <a:schemeClr val="tx2">
                    <a:lumMod val="75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69" name="Freeform 44"/>
              <p:cNvSpPr>
                <a:spLocks/>
              </p:cNvSpPr>
              <p:nvPr/>
            </p:nvSpPr>
            <p:spPr bwMode="auto">
              <a:xfrm>
                <a:off x="1288" y="830"/>
                <a:ext cx="917" cy="784"/>
              </a:xfrm>
              <a:custGeom>
                <a:avLst/>
                <a:gdLst>
                  <a:gd name="T0" fmla="*/ 163 w 387"/>
                  <a:gd name="T1" fmla="*/ 305 h 331"/>
                  <a:gd name="T2" fmla="*/ 206 w 387"/>
                  <a:gd name="T3" fmla="*/ 294 h 331"/>
                  <a:gd name="T4" fmla="*/ 214 w 387"/>
                  <a:gd name="T5" fmla="*/ 267 h 331"/>
                  <a:gd name="T6" fmla="*/ 193 w 387"/>
                  <a:gd name="T7" fmla="*/ 237 h 331"/>
                  <a:gd name="T8" fmla="*/ 251 w 387"/>
                  <a:gd name="T9" fmla="*/ 227 h 331"/>
                  <a:gd name="T10" fmla="*/ 277 w 387"/>
                  <a:gd name="T11" fmla="*/ 191 h 331"/>
                  <a:gd name="T12" fmla="*/ 286 w 387"/>
                  <a:gd name="T13" fmla="*/ 155 h 331"/>
                  <a:gd name="T14" fmla="*/ 305 w 387"/>
                  <a:gd name="T15" fmla="*/ 118 h 331"/>
                  <a:gd name="T16" fmla="*/ 322 w 387"/>
                  <a:gd name="T17" fmla="*/ 109 h 331"/>
                  <a:gd name="T18" fmla="*/ 375 w 387"/>
                  <a:gd name="T19" fmla="*/ 62 h 331"/>
                  <a:gd name="T20" fmla="*/ 355 w 387"/>
                  <a:gd name="T21" fmla="*/ 35 h 331"/>
                  <a:gd name="T22" fmla="*/ 310 w 387"/>
                  <a:gd name="T23" fmla="*/ 3 h 331"/>
                  <a:gd name="T24" fmla="*/ 298 w 387"/>
                  <a:gd name="T25" fmla="*/ 14 h 331"/>
                  <a:gd name="T26" fmla="*/ 315 w 387"/>
                  <a:gd name="T27" fmla="*/ 36 h 331"/>
                  <a:gd name="T28" fmla="*/ 287 w 387"/>
                  <a:gd name="T29" fmla="*/ 32 h 331"/>
                  <a:gd name="T30" fmla="*/ 266 w 387"/>
                  <a:gd name="T31" fmla="*/ 43 h 331"/>
                  <a:gd name="T32" fmla="*/ 270 w 387"/>
                  <a:gd name="T33" fmla="*/ 76 h 331"/>
                  <a:gd name="T34" fmla="*/ 264 w 387"/>
                  <a:gd name="T35" fmla="*/ 128 h 331"/>
                  <a:gd name="T36" fmla="*/ 248 w 387"/>
                  <a:gd name="T37" fmla="*/ 133 h 331"/>
                  <a:gd name="T38" fmla="*/ 247 w 387"/>
                  <a:gd name="T39" fmla="*/ 115 h 331"/>
                  <a:gd name="T40" fmla="*/ 251 w 387"/>
                  <a:gd name="T41" fmla="*/ 70 h 331"/>
                  <a:gd name="T42" fmla="*/ 235 w 387"/>
                  <a:gd name="T43" fmla="*/ 39 h 331"/>
                  <a:gd name="T44" fmla="*/ 210 w 387"/>
                  <a:gd name="T45" fmla="*/ 60 h 331"/>
                  <a:gd name="T46" fmla="*/ 224 w 387"/>
                  <a:gd name="T47" fmla="*/ 64 h 331"/>
                  <a:gd name="T48" fmla="*/ 233 w 387"/>
                  <a:gd name="T49" fmla="*/ 94 h 331"/>
                  <a:gd name="T50" fmla="*/ 214 w 387"/>
                  <a:gd name="T51" fmla="*/ 70 h 331"/>
                  <a:gd name="T52" fmla="*/ 207 w 387"/>
                  <a:gd name="T53" fmla="*/ 46 h 331"/>
                  <a:gd name="T54" fmla="*/ 202 w 387"/>
                  <a:gd name="T55" fmla="*/ 70 h 331"/>
                  <a:gd name="T56" fmla="*/ 195 w 387"/>
                  <a:gd name="T57" fmla="*/ 78 h 331"/>
                  <a:gd name="T58" fmla="*/ 177 w 387"/>
                  <a:gd name="T59" fmla="*/ 69 h 331"/>
                  <a:gd name="T60" fmla="*/ 159 w 387"/>
                  <a:gd name="T61" fmla="*/ 75 h 331"/>
                  <a:gd name="T62" fmla="*/ 140 w 387"/>
                  <a:gd name="T63" fmla="*/ 82 h 331"/>
                  <a:gd name="T64" fmla="*/ 103 w 387"/>
                  <a:gd name="T65" fmla="*/ 93 h 331"/>
                  <a:gd name="T66" fmla="*/ 98 w 387"/>
                  <a:gd name="T67" fmla="*/ 114 h 331"/>
                  <a:gd name="T68" fmla="*/ 78 w 387"/>
                  <a:gd name="T69" fmla="*/ 135 h 331"/>
                  <a:gd name="T70" fmla="*/ 80 w 387"/>
                  <a:gd name="T71" fmla="*/ 160 h 331"/>
                  <a:gd name="T72" fmla="*/ 90 w 387"/>
                  <a:gd name="T73" fmla="*/ 176 h 331"/>
                  <a:gd name="T74" fmla="*/ 93 w 387"/>
                  <a:gd name="T75" fmla="*/ 180 h 331"/>
                  <a:gd name="T76" fmla="*/ 95 w 387"/>
                  <a:gd name="T77" fmla="*/ 196 h 331"/>
                  <a:gd name="T78" fmla="*/ 57 w 387"/>
                  <a:gd name="T79" fmla="*/ 195 h 331"/>
                  <a:gd name="T80" fmla="*/ 80 w 387"/>
                  <a:gd name="T81" fmla="*/ 223 h 331"/>
                  <a:gd name="T82" fmla="*/ 71 w 387"/>
                  <a:gd name="T83" fmla="*/ 222 h 331"/>
                  <a:gd name="T84" fmla="*/ 34 w 387"/>
                  <a:gd name="T85" fmla="*/ 218 h 331"/>
                  <a:gd name="T86" fmla="*/ 0 w 387"/>
                  <a:gd name="T87" fmla="*/ 243 h 331"/>
                  <a:gd name="T88" fmla="*/ 22 w 387"/>
                  <a:gd name="T89" fmla="*/ 269 h 331"/>
                  <a:gd name="T90" fmla="*/ 67 w 387"/>
                  <a:gd name="T91" fmla="*/ 274 h 331"/>
                  <a:gd name="T92" fmla="*/ 81 w 387"/>
                  <a:gd name="T93" fmla="*/ 281 h 331"/>
                  <a:gd name="T94" fmla="*/ 107 w 387"/>
                  <a:gd name="T95" fmla="*/ 265 h 331"/>
                  <a:gd name="T96" fmla="*/ 132 w 387"/>
                  <a:gd name="T97" fmla="*/ 268 h 331"/>
                  <a:gd name="T98" fmla="*/ 135 w 387"/>
                  <a:gd name="T99" fmla="*/ 274 h 331"/>
                  <a:gd name="T100" fmla="*/ 118 w 387"/>
                  <a:gd name="T101" fmla="*/ 304 h 331"/>
                  <a:gd name="T102" fmla="*/ 130 w 387"/>
                  <a:gd name="T103" fmla="*/ 330 h 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87" h="331">
                    <a:moveTo>
                      <a:pt x="135" y="330"/>
                    </a:moveTo>
                    <a:cubicBezTo>
                      <a:pt x="135" y="328"/>
                      <a:pt x="137" y="327"/>
                      <a:pt x="141" y="327"/>
                    </a:cubicBezTo>
                    <a:cubicBezTo>
                      <a:pt x="148" y="327"/>
                      <a:pt x="149" y="320"/>
                      <a:pt x="154" y="320"/>
                    </a:cubicBezTo>
                    <a:cubicBezTo>
                      <a:pt x="158" y="320"/>
                      <a:pt x="158" y="317"/>
                      <a:pt x="158" y="313"/>
                    </a:cubicBezTo>
                    <a:cubicBezTo>
                      <a:pt x="158" y="310"/>
                      <a:pt x="160" y="308"/>
                      <a:pt x="163" y="305"/>
                    </a:cubicBezTo>
                    <a:cubicBezTo>
                      <a:pt x="166" y="303"/>
                      <a:pt x="169" y="299"/>
                      <a:pt x="172" y="299"/>
                    </a:cubicBezTo>
                    <a:cubicBezTo>
                      <a:pt x="175" y="299"/>
                      <a:pt x="175" y="302"/>
                      <a:pt x="180" y="302"/>
                    </a:cubicBezTo>
                    <a:cubicBezTo>
                      <a:pt x="193" y="302"/>
                      <a:pt x="193" y="302"/>
                      <a:pt x="193" y="302"/>
                    </a:cubicBezTo>
                    <a:cubicBezTo>
                      <a:pt x="197" y="302"/>
                      <a:pt x="198" y="300"/>
                      <a:pt x="200" y="300"/>
                    </a:cubicBezTo>
                    <a:cubicBezTo>
                      <a:pt x="203" y="299"/>
                      <a:pt x="204" y="297"/>
                      <a:pt x="206" y="294"/>
                    </a:cubicBezTo>
                    <a:cubicBezTo>
                      <a:pt x="208" y="290"/>
                      <a:pt x="211" y="286"/>
                      <a:pt x="217" y="283"/>
                    </a:cubicBezTo>
                    <a:cubicBezTo>
                      <a:pt x="223" y="281"/>
                      <a:pt x="228" y="278"/>
                      <a:pt x="230" y="275"/>
                    </a:cubicBezTo>
                    <a:cubicBezTo>
                      <a:pt x="232" y="273"/>
                      <a:pt x="230" y="270"/>
                      <a:pt x="228" y="270"/>
                    </a:cubicBezTo>
                    <a:cubicBezTo>
                      <a:pt x="226" y="270"/>
                      <a:pt x="225" y="273"/>
                      <a:pt x="222" y="273"/>
                    </a:cubicBezTo>
                    <a:cubicBezTo>
                      <a:pt x="219" y="273"/>
                      <a:pt x="218" y="270"/>
                      <a:pt x="214" y="267"/>
                    </a:cubicBezTo>
                    <a:cubicBezTo>
                      <a:pt x="209" y="265"/>
                      <a:pt x="205" y="266"/>
                      <a:pt x="202" y="266"/>
                    </a:cubicBezTo>
                    <a:cubicBezTo>
                      <a:pt x="198" y="266"/>
                      <a:pt x="196" y="265"/>
                      <a:pt x="194" y="261"/>
                    </a:cubicBezTo>
                    <a:cubicBezTo>
                      <a:pt x="192" y="257"/>
                      <a:pt x="186" y="256"/>
                      <a:pt x="186" y="251"/>
                    </a:cubicBezTo>
                    <a:cubicBezTo>
                      <a:pt x="186" y="248"/>
                      <a:pt x="186" y="245"/>
                      <a:pt x="189" y="244"/>
                    </a:cubicBezTo>
                    <a:cubicBezTo>
                      <a:pt x="191" y="243"/>
                      <a:pt x="193" y="242"/>
                      <a:pt x="193" y="237"/>
                    </a:cubicBezTo>
                    <a:cubicBezTo>
                      <a:pt x="193" y="233"/>
                      <a:pt x="195" y="229"/>
                      <a:pt x="200" y="229"/>
                    </a:cubicBezTo>
                    <a:cubicBezTo>
                      <a:pt x="206" y="229"/>
                      <a:pt x="214" y="241"/>
                      <a:pt x="220" y="241"/>
                    </a:cubicBezTo>
                    <a:cubicBezTo>
                      <a:pt x="225" y="241"/>
                      <a:pt x="227" y="236"/>
                      <a:pt x="233" y="234"/>
                    </a:cubicBezTo>
                    <a:cubicBezTo>
                      <a:pt x="238" y="232"/>
                      <a:pt x="240" y="226"/>
                      <a:pt x="242" y="226"/>
                    </a:cubicBezTo>
                    <a:cubicBezTo>
                      <a:pt x="245" y="226"/>
                      <a:pt x="246" y="227"/>
                      <a:pt x="251" y="227"/>
                    </a:cubicBezTo>
                    <a:cubicBezTo>
                      <a:pt x="256" y="227"/>
                      <a:pt x="257" y="229"/>
                      <a:pt x="262" y="229"/>
                    </a:cubicBezTo>
                    <a:cubicBezTo>
                      <a:pt x="265" y="229"/>
                      <a:pt x="265" y="225"/>
                      <a:pt x="265" y="219"/>
                    </a:cubicBezTo>
                    <a:cubicBezTo>
                      <a:pt x="265" y="214"/>
                      <a:pt x="268" y="210"/>
                      <a:pt x="268" y="205"/>
                    </a:cubicBezTo>
                    <a:cubicBezTo>
                      <a:pt x="268" y="200"/>
                      <a:pt x="270" y="198"/>
                      <a:pt x="272" y="197"/>
                    </a:cubicBezTo>
                    <a:cubicBezTo>
                      <a:pt x="274" y="196"/>
                      <a:pt x="277" y="194"/>
                      <a:pt x="277" y="191"/>
                    </a:cubicBezTo>
                    <a:cubicBezTo>
                      <a:pt x="277" y="188"/>
                      <a:pt x="280" y="187"/>
                      <a:pt x="280" y="184"/>
                    </a:cubicBezTo>
                    <a:cubicBezTo>
                      <a:pt x="280" y="180"/>
                      <a:pt x="283" y="179"/>
                      <a:pt x="283" y="176"/>
                    </a:cubicBezTo>
                    <a:cubicBezTo>
                      <a:pt x="283" y="169"/>
                      <a:pt x="283" y="169"/>
                      <a:pt x="283" y="169"/>
                    </a:cubicBezTo>
                    <a:cubicBezTo>
                      <a:pt x="283" y="163"/>
                      <a:pt x="283" y="163"/>
                      <a:pt x="283" y="163"/>
                    </a:cubicBezTo>
                    <a:cubicBezTo>
                      <a:pt x="283" y="160"/>
                      <a:pt x="284" y="156"/>
                      <a:pt x="286" y="155"/>
                    </a:cubicBezTo>
                    <a:cubicBezTo>
                      <a:pt x="289" y="154"/>
                      <a:pt x="290" y="153"/>
                      <a:pt x="290" y="149"/>
                    </a:cubicBezTo>
                    <a:cubicBezTo>
                      <a:pt x="290" y="145"/>
                      <a:pt x="292" y="144"/>
                      <a:pt x="292" y="142"/>
                    </a:cubicBezTo>
                    <a:cubicBezTo>
                      <a:pt x="292" y="140"/>
                      <a:pt x="289" y="139"/>
                      <a:pt x="289" y="137"/>
                    </a:cubicBezTo>
                    <a:cubicBezTo>
                      <a:pt x="289" y="135"/>
                      <a:pt x="296" y="126"/>
                      <a:pt x="298" y="123"/>
                    </a:cubicBezTo>
                    <a:cubicBezTo>
                      <a:pt x="300" y="119"/>
                      <a:pt x="301" y="118"/>
                      <a:pt x="305" y="118"/>
                    </a:cubicBezTo>
                    <a:cubicBezTo>
                      <a:pt x="309" y="118"/>
                      <a:pt x="308" y="116"/>
                      <a:pt x="311" y="116"/>
                    </a:cubicBezTo>
                    <a:cubicBezTo>
                      <a:pt x="313" y="116"/>
                      <a:pt x="313" y="119"/>
                      <a:pt x="315" y="119"/>
                    </a:cubicBezTo>
                    <a:cubicBezTo>
                      <a:pt x="317" y="119"/>
                      <a:pt x="316" y="117"/>
                      <a:pt x="318" y="115"/>
                    </a:cubicBezTo>
                    <a:cubicBezTo>
                      <a:pt x="320" y="114"/>
                      <a:pt x="322" y="114"/>
                      <a:pt x="322" y="114"/>
                    </a:cubicBezTo>
                    <a:cubicBezTo>
                      <a:pt x="322" y="112"/>
                      <a:pt x="322" y="111"/>
                      <a:pt x="322" y="109"/>
                    </a:cubicBezTo>
                    <a:cubicBezTo>
                      <a:pt x="322" y="106"/>
                      <a:pt x="326" y="104"/>
                      <a:pt x="328" y="99"/>
                    </a:cubicBezTo>
                    <a:cubicBezTo>
                      <a:pt x="331" y="95"/>
                      <a:pt x="332" y="90"/>
                      <a:pt x="336" y="86"/>
                    </a:cubicBezTo>
                    <a:cubicBezTo>
                      <a:pt x="340" y="82"/>
                      <a:pt x="343" y="80"/>
                      <a:pt x="350" y="77"/>
                    </a:cubicBezTo>
                    <a:cubicBezTo>
                      <a:pt x="358" y="74"/>
                      <a:pt x="360" y="70"/>
                      <a:pt x="364" y="66"/>
                    </a:cubicBezTo>
                    <a:cubicBezTo>
                      <a:pt x="368" y="63"/>
                      <a:pt x="371" y="64"/>
                      <a:pt x="375" y="62"/>
                    </a:cubicBezTo>
                    <a:cubicBezTo>
                      <a:pt x="379" y="60"/>
                      <a:pt x="387" y="55"/>
                      <a:pt x="387" y="50"/>
                    </a:cubicBezTo>
                    <a:cubicBezTo>
                      <a:pt x="387" y="46"/>
                      <a:pt x="382" y="43"/>
                      <a:pt x="377" y="43"/>
                    </a:cubicBezTo>
                    <a:cubicBezTo>
                      <a:pt x="372" y="43"/>
                      <a:pt x="368" y="39"/>
                      <a:pt x="365" y="38"/>
                    </a:cubicBezTo>
                    <a:cubicBezTo>
                      <a:pt x="362" y="36"/>
                      <a:pt x="361" y="37"/>
                      <a:pt x="359" y="37"/>
                    </a:cubicBezTo>
                    <a:cubicBezTo>
                      <a:pt x="357" y="37"/>
                      <a:pt x="356" y="37"/>
                      <a:pt x="355" y="35"/>
                    </a:cubicBezTo>
                    <a:cubicBezTo>
                      <a:pt x="352" y="30"/>
                      <a:pt x="342" y="30"/>
                      <a:pt x="342" y="27"/>
                    </a:cubicBezTo>
                    <a:cubicBezTo>
                      <a:pt x="342" y="23"/>
                      <a:pt x="337" y="22"/>
                      <a:pt x="337" y="19"/>
                    </a:cubicBezTo>
                    <a:cubicBezTo>
                      <a:pt x="337" y="15"/>
                      <a:pt x="334" y="13"/>
                      <a:pt x="330" y="11"/>
                    </a:cubicBezTo>
                    <a:cubicBezTo>
                      <a:pt x="326" y="10"/>
                      <a:pt x="324" y="7"/>
                      <a:pt x="320" y="7"/>
                    </a:cubicBezTo>
                    <a:cubicBezTo>
                      <a:pt x="317" y="7"/>
                      <a:pt x="316" y="3"/>
                      <a:pt x="310" y="3"/>
                    </a:cubicBezTo>
                    <a:cubicBezTo>
                      <a:pt x="303" y="3"/>
                      <a:pt x="300" y="0"/>
                      <a:pt x="296" y="0"/>
                    </a:cubicBezTo>
                    <a:cubicBezTo>
                      <a:pt x="293" y="0"/>
                      <a:pt x="290" y="0"/>
                      <a:pt x="290" y="2"/>
                    </a:cubicBezTo>
                    <a:cubicBezTo>
                      <a:pt x="290" y="4"/>
                      <a:pt x="293" y="8"/>
                      <a:pt x="296" y="8"/>
                    </a:cubicBezTo>
                    <a:cubicBezTo>
                      <a:pt x="299" y="8"/>
                      <a:pt x="304" y="12"/>
                      <a:pt x="302" y="13"/>
                    </a:cubicBezTo>
                    <a:cubicBezTo>
                      <a:pt x="301" y="14"/>
                      <a:pt x="298" y="12"/>
                      <a:pt x="298" y="14"/>
                    </a:cubicBezTo>
                    <a:cubicBezTo>
                      <a:pt x="298" y="18"/>
                      <a:pt x="305" y="21"/>
                      <a:pt x="305" y="23"/>
                    </a:cubicBezTo>
                    <a:cubicBezTo>
                      <a:pt x="305" y="24"/>
                      <a:pt x="306" y="27"/>
                      <a:pt x="308" y="27"/>
                    </a:cubicBezTo>
                    <a:cubicBezTo>
                      <a:pt x="310" y="27"/>
                      <a:pt x="313" y="31"/>
                      <a:pt x="315" y="31"/>
                    </a:cubicBezTo>
                    <a:cubicBezTo>
                      <a:pt x="318" y="31"/>
                      <a:pt x="318" y="32"/>
                      <a:pt x="318" y="33"/>
                    </a:cubicBezTo>
                    <a:cubicBezTo>
                      <a:pt x="318" y="35"/>
                      <a:pt x="318" y="36"/>
                      <a:pt x="315" y="36"/>
                    </a:cubicBezTo>
                    <a:cubicBezTo>
                      <a:pt x="311" y="36"/>
                      <a:pt x="302" y="34"/>
                      <a:pt x="302" y="33"/>
                    </a:cubicBezTo>
                    <a:cubicBezTo>
                      <a:pt x="302" y="32"/>
                      <a:pt x="305" y="32"/>
                      <a:pt x="305" y="29"/>
                    </a:cubicBezTo>
                    <a:cubicBezTo>
                      <a:pt x="305" y="27"/>
                      <a:pt x="299" y="24"/>
                      <a:pt x="297" y="24"/>
                    </a:cubicBezTo>
                    <a:cubicBezTo>
                      <a:pt x="295" y="24"/>
                      <a:pt x="293" y="25"/>
                      <a:pt x="293" y="27"/>
                    </a:cubicBezTo>
                    <a:cubicBezTo>
                      <a:pt x="293" y="29"/>
                      <a:pt x="290" y="32"/>
                      <a:pt x="287" y="32"/>
                    </a:cubicBezTo>
                    <a:cubicBezTo>
                      <a:pt x="284" y="32"/>
                      <a:pt x="283" y="36"/>
                      <a:pt x="280" y="36"/>
                    </a:cubicBezTo>
                    <a:cubicBezTo>
                      <a:pt x="277" y="36"/>
                      <a:pt x="276" y="31"/>
                      <a:pt x="274" y="31"/>
                    </a:cubicBezTo>
                    <a:cubicBezTo>
                      <a:pt x="271" y="31"/>
                      <a:pt x="273" y="35"/>
                      <a:pt x="270" y="35"/>
                    </a:cubicBezTo>
                    <a:cubicBezTo>
                      <a:pt x="267" y="35"/>
                      <a:pt x="264" y="35"/>
                      <a:pt x="264" y="37"/>
                    </a:cubicBezTo>
                    <a:cubicBezTo>
                      <a:pt x="264" y="39"/>
                      <a:pt x="266" y="40"/>
                      <a:pt x="266" y="43"/>
                    </a:cubicBezTo>
                    <a:cubicBezTo>
                      <a:pt x="266" y="45"/>
                      <a:pt x="263" y="46"/>
                      <a:pt x="263" y="49"/>
                    </a:cubicBezTo>
                    <a:cubicBezTo>
                      <a:pt x="263" y="52"/>
                      <a:pt x="261" y="54"/>
                      <a:pt x="261" y="57"/>
                    </a:cubicBezTo>
                    <a:cubicBezTo>
                      <a:pt x="261" y="60"/>
                      <a:pt x="259" y="60"/>
                      <a:pt x="259" y="63"/>
                    </a:cubicBezTo>
                    <a:cubicBezTo>
                      <a:pt x="259" y="65"/>
                      <a:pt x="260" y="67"/>
                      <a:pt x="262" y="67"/>
                    </a:cubicBezTo>
                    <a:cubicBezTo>
                      <a:pt x="265" y="67"/>
                      <a:pt x="266" y="71"/>
                      <a:pt x="270" y="76"/>
                    </a:cubicBezTo>
                    <a:cubicBezTo>
                      <a:pt x="273" y="81"/>
                      <a:pt x="275" y="84"/>
                      <a:pt x="275" y="91"/>
                    </a:cubicBezTo>
                    <a:cubicBezTo>
                      <a:pt x="275" y="98"/>
                      <a:pt x="273" y="99"/>
                      <a:pt x="273" y="102"/>
                    </a:cubicBezTo>
                    <a:cubicBezTo>
                      <a:pt x="273" y="106"/>
                      <a:pt x="278" y="114"/>
                      <a:pt x="278" y="117"/>
                    </a:cubicBezTo>
                    <a:cubicBezTo>
                      <a:pt x="278" y="120"/>
                      <a:pt x="271" y="121"/>
                      <a:pt x="268" y="123"/>
                    </a:cubicBezTo>
                    <a:cubicBezTo>
                      <a:pt x="264" y="125"/>
                      <a:pt x="266" y="128"/>
                      <a:pt x="264" y="128"/>
                    </a:cubicBezTo>
                    <a:cubicBezTo>
                      <a:pt x="261" y="128"/>
                      <a:pt x="259" y="129"/>
                      <a:pt x="255" y="133"/>
                    </a:cubicBezTo>
                    <a:cubicBezTo>
                      <a:pt x="251" y="136"/>
                      <a:pt x="249" y="141"/>
                      <a:pt x="247" y="143"/>
                    </a:cubicBezTo>
                    <a:cubicBezTo>
                      <a:pt x="245" y="146"/>
                      <a:pt x="243" y="148"/>
                      <a:pt x="241" y="148"/>
                    </a:cubicBezTo>
                    <a:cubicBezTo>
                      <a:pt x="240" y="148"/>
                      <a:pt x="240" y="146"/>
                      <a:pt x="240" y="144"/>
                    </a:cubicBezTo>
                    <a:cubicBezTo>
                      <a:pt x="240" y="139"/>
                      <a:pt x="244" y="137"/>
                      <a:pt x="248" y="133"/>
                    </a:cubicBezTo>
                    <a:cubicBezTo>
                      <a:pt x="253" y="129"/>
                      <a:pt x="258" y="127"/>
                      <a:pt x="258" y="124"/>
                    </a:cubicBezTo>
                    <a:cubicBezTo>
                      <a:pt x="258" y="121"/>
                      <a:pt x="254" y="118"/>
                      <a:pt x="251" y="118"/>
                    </a:cubicBezTo>
                    <a:cubicBezTo>
                      <a:pt x="248" y="118"/>
                      <a:pt x="248" y="121"/>
                      <a:pt x="246" y="121"/>
                    </a:cubicBezTo>
                    <a:cubicBezTo>
                      <a:pt x="244" y="121"/>
                      <a:pt x="243" y="121"/>
                      <a:pt x="243" y="119"/>
                    </a:cubicBezTo>
                    <a:cubicBezTo>
                      <a:pt x="243" y="117"/>
                      <a:pt x="243" y="115"/>
                      <a:pt x="247" y="115"/>
                    </a:cubicBezTo>
                    <a:cubicBezTo>
                      <a:pt x="252" y="115"/>
                      <a:pt x="256" y="105"/>
                      <a:pt x="260" y="105"/>
                    </a:cubicBezTo>
                    <a:cubicBezTo>
                      <a:pt x="262" y="105"/>
                      <a:pt x="264" y="104"/>
                      <a:pt x="264" y="100"/>
                    </a:cubicBezTo>
                    <a:cubicBezTo>
                      <a:pt x="264" y="96"/>
                      <a:pt x="266" y="95"/>
                      <a:pt x="266" y="91"/>
                    </a:cubicBezTo>
                    <a:cubicBezTo>
                      <a:pt x="266" y="88"/>
                      <a:pt x="263" y="87"/>
                      <a:pt x="259" y="82"/>
                    </a:cubicBezTo>
                    <a:cubicBezTo>
                      <a:pt x="255" y="77"/>
                      <a:pt x="254" y="70"/>
                      <a:pt x="251" y="70"/>
                    </a:cubicBezTo>
                    <a:cubicBezTo>
                      <a:pt x="248" y="70"/>
                      <a:pt x="245" y="69"/>
                      <a:pt x="245" y="64"/>
                    </a:cubicBezTo>
                    <a:cubicBezTo>
                      <a:pt x="245" y="60"/>
                      <a:pt x="249" y="59"/>
                      <a:pt x="249" y="54"/>
                    </a:cubicBezTo>
                    <a:cubicBezTo>
                      <a:pt x="249" y="50"/>
                      <a:pt x="244" y="43"/>
                      <a:pt x="244" y="40"/>
                    </a:cubicBezTo>
                    <a:cubicBezTo>
                      <a:pt x="244" y="37"/>
                      <a:pt x="244" y="35"/>
                      <a:pt x="241" y="35"/>
                    </a:cubicBezTo>
                    <a:cubicBezTo>
                      <a:pt x="238" y="35"/>
                      <a:pt x="237" y="39"/>
                      <a:pt x="235" y="39"/>
                    </a:cubicBezTo>
                    <a:cubicBezTo>
                      <a:pt x="233" y="39"/>
                      <a:pt x="231" y="41"/>
                      <a:pt x="231" y="44"/>
                    </a:cubicBezTo>
                    <a:cubicBezTo>
                      <a:pt x="231" y="46"/>
                      <a:pt x="231" y="48"/>
                      <a:pt x="228" y="48"/>
                    </a:cubicBezTo>
                    <a:cubicBezTo>
                      <a:pt x="226" y="48"/>
                      <a:pt x="227" y="45"/>
                      <a:pt x="222" y="45"/>
                    </a:cubicBezTo>
                    <a:cubicBezTo>
                      <a:pt x="218" y="45"/>
                      <a:pt x="217" y="52"/>
                      <a:pt x="215" y="54"/>
                    </a:cubicBezTo>
                    <a:cubicBezTo>
                      <a:pt x="213" y="55"/>
                      <a:pt x="210" y="57"/>
                      <a:pt x="210" y="60"/>
                    </a:cubicBezTo>
                    <a:cubicBezTo>
                      <a:pt x="210" y="64"/>
                      <a:pt x="215" y="68"/>
                      <a:pt x="217" y="68"/>
                    </a:cubicBezTo>
                    <a:cubicBezTo>
                      <a:pt x="219" y="67"/>
                      <a:pt x="218" y="66"/>
                      <a:pt x="220" y="66"/>
                    </a:cubicBezTo>
                    <a:cubicBezTo>
                      <a:pt x="222" y="66"/>
                      <a:pt x="221" y="70"/>
                      <a:pt x="223" y="72"/>
                    </a:cubicBezTo>
                    <a:cubicBezTo>
                      <a:pt x="225" y="74"/>
                      <a:pt x="227" y="74"/>
                      <a:pt x="227" y="70"/>
                    </a:cubicBezTo>
                    <a:cubicBezTo>
                      <a:pt x="227" y="67"/>
                      <a:pt x="224" y="66"/>
                      <a:pt x="224" y="64"/>
                    </a:cubicBezTo>
                    <a:cubicBezTo>
                      <a:pt x="224" y="61"/>
                      <a:pt x="225" y="56"/>
                      <a:pt x="227" y="56"/>
                    </a:cubicBezTo>
                    <a:cubicBezTo>
                      <a:pt x="229" y="56"/>
                      <a:pt x="230" y="59"/>
                      <a:pt x="230" y="64"/>
                    </a:cubicBezTo>
                    <a:cubicBezTo>
                      <a:pt x="230" y="70"/>
                      <a:pt x="234" y="72"/>
                      <a:pt x="234" y="75"/>
                    </a:cubicBezTo>
                    <a:cubicBezTo>
                      <a:pt x="234" y="79"/>
                      <a:pt x="236" y="80"/>
                      <a:pt x="236" y="83"/>
                    </a:cubicBezTo>
                    <a:cubicBezTo>
                      <a:pt x="236" y="86"/>
                      <a:pt x="233" y="88"/>
                      <a:pt x="233" y="94"/>
                    </a:cubicBezTo>
                    <a:cubicBezTo>
                      <a:pt x="233" y="96"/>
                      <a:pt x="232" y="100"/>
                      <a:pt x="231" y="100"/>
                    </a:cubicBezTo>
                    <a:cubicBezTo>
                      <a:pt x="229" y="100"/>
                      <a:pt x="229" y="100"/>
                      <a:pt x="229" y="96"/>
                    </a:cubicBezTo>
                    <a:cubicBezTo>
                      <a:pt x="229" y="93"/>
                      <a:pt x="230" y="88"/>
                      <a:pt x="230" y="85"/>
                    </a:cubicBezTo>
                    <a:cubicBezTo>
                      <a:pt x="230" y="81"/>
                      <a:pt x="225" y="76"/>
                      <a:pt x="222" y="76"/>
                    </a:cubicBezTo>
                    <a:cubicBezTo>
                      <a:pt x="218" y="76"/>
                      <a:pt x="217" y="70"/>
                      <a:pt x="214" y="70"/>
                    </a:cubicBezTo>
                    <a:cubicBezTo>
                      <a:pt x="211" y="70"/>
                      <a:pt x="211" y="73"/>
                      <a:pt x="209" y="73"/>
                    </a:cubicBezTo>
                    <a:cubicBezTo>
                      <a:pt x="208" y="73"/>
                      <a:pt x="206" y="73"/>
                      <a:pt x="206" y="71"/>
                    </a:cubicBezTo>
                    <a:cubicBezTo>
                      <a:pt x="206" y="69"/>
                      <a:pt x="204" y="68"/>
                      <a:pt x="204" y="64"/>
                    </a:cubicBezTo>
                    <a:cubicBezTo>
                      <a:pt x="204" y="59"/>
                      <a:pt x="209" y="58"/>
                      <a:pt x="209" y="51"/>
                    </a:cubicBezTo>
                    <a:cubicBezTo>
                      <a:pt x="209" y="48"/>
                      <a:pt x="210" y="46"/>
                      <a:pt x="207" y="46"/>
                    </a:cubicBezTo>
                    <a:cubicBezTo>
                      <a:pt x="205" y="46"/>
                      <a:pt x="204" y="50"/>
                      <a:pt x="204" y="52"/>
                    </a:cubicBezTo>
                    <a:cubicBezTo>
                      <a:pt x="204" y="54"/>
                      <a:pt x="202" y="54"/>
                      <a:pt x="200" y="54"/>
                    </a:cubicBezTo>
                    <a:cubicBezTo>
                      <a:pt x="196" y="54"/>
                      <a:pt x="192" y="56"/>
                      <a:pt x="192" y="60"/>
                    </a:cubicBezTo>
                    <a:cubicBezTo>
                      <a:pt x="192" y="64"/>
                      <a:pt x="196" y="68"/>
                      <a:pt x="198" y="68"/>
                    </a:cubicBezTo>
                    <a:cubicBezTo>
                      <a:pt x="201" y="68"/>
                      <a:pt x="202" y="68"/>
                      <a:pt x="202" y="70"/>
                    </a:cubicBezTo>
                    <a:cubicBezTo>
                      <a:pt x="202" y="72"/>
                      <a:pt x="200" y="76"/>
                      <a:pt x="200" y="79"/>
                    </a:cubicBezTo>
                    <a:cubicBezTo>
                      <a:pt x="200" y="82"/>
                      <a:pt x="197" y="83"/>
                      <a:pt x="197" y="85"/>
                    </a:cubicBezTo>
                    <a:cubicBezTo>
                      <a:pt x="197" y="88"/>
                      <a:pt x="195" y="88"/>
                      <a:pt x="192" y="88"/>
                    </a:cubicBezTo>
                    <a:cubicBezTo>
                      <a:pt x="188" y="88"/>
                      <a:pt x="189" y="85"/>
                      <a:pt x="191" y="84"/>
                    </a:cubicBezTo>
                    <a:cubicBezTo>
                      <a:pt x="194" y="82"/>
                      <a:pt x="196" y="79"/>
                      <a:pt x="195" y="78"/>
                    </a:cubicBezTo>
                    <a:cubicBezTo>
                      <a:pt x="194" y="77"/>
                      <a:pt x="192" y="79"/>
                      <a:pt x="190" y="79"/>
                    </a:cubicBezTo>
                    <a:cubicBezTo>
                      <a:pt x="189" y="80"/>
                      <a:pt x="189" y="79"/>
                      <a:pt x="189" y="76"/>
                    </a:cubicBezTo>
                    <a:cubicBezTo>
                      <a:pt x="189" y="73"/>
                      <a:pt x="188" y="69"/>
                      <a:pt x="186" y="69"/>
                    </a:cubicBezTo>
                    <a:cubicBezTo>
                      <a:pt x="183" y="69"/>
                      <a:pt x="183" y="71"/>
                      <a:pt x="181" y="71"/>
                    </a:cubicBezTo>
                    <a:cubicBezTo>
                      <a:pt x="179" y="71"/>
                      <a:pt x="177" y="71"/>
                      <a:pt x="177" y="69"/>
                    </a:cubicBezTo>
                    <a:cubicBezTo>
                      <a:pt x="177" y="67"/>
                      <a:pt x="179" y="66"/>
                      <a:pt x="179" y="64"/>
                    </a:cubicBezTo>
                    <a:cubicBezTo>
                      <a:pt x="179" y="62"/>
                      <a:pt x="178" y="61"/>
                      <a:pt x="176" y="61"/>
                    </a:cubicBezTo>
                    <a:cubicBezTo>
                      <a:pt x="174" y="61"/>
                      <a:pt x="174" y="57"/>
                      <a:pt x="170" y="57"/>
                    </a:cubicBezTo>
                    <a:cubicBezTo>
                      <a:pt x="166" y="57"/>
                      <a:pt x="163" y="60"/>
                      <a:pt x="163" y="66"/>
                    </a:cubicBezTo>
                    <a:cubicBezTo>
                      <a:pt x="163" y="71"/>
                      <a:pt x="163" y="75"/>
                      <a:pt x="159" y="75"/>
                    </a:cubicBezTo>
                    <a:cubicBezTo>
                      <a:pt x="156" y="75"/>
                      <a:pt x="153" y="79"/>
                      <a:pt x="150" y="79"/>
                    </a:cubicBezTo>
                    <a:cubicBezTo>
                      <a:pt x="147" y="79"/>
                      <a:pt x="144" y="82"/>
                      <a:pt x="144" y="84"/>
                    </a:cubicBezTo>
                    <a:cubicBezTo>
                      <a:pt x="144" y="87"/>
                      <a:pt x="141" y="90"/>
                      <a:pt x="138" y="91"/>
                    </a:cubicBezTo>
                    <a:cubicBezTo>
                      <a:pt x="134" y="92"/>
                      <a:pt x="135" y="91"/>
                      <a:pt x="135" y="90"/>
                    </a:cubicBezTo>
                    <a:cubicBezTo>
                      <a:pt x="135" y="87"/>
                      <a:pt x="140" y="84"/>
                      <a:pt x="140" y="82"/>
                    </a:cubicBezTo>
                    <a:cubicBezTo>
                      <a:pt x="140" y="80"/>
                      <a:pt x="139" y="78"/>
                      <a:pt x="137" y="78"/>
                    </a:cubicBezTo>
                    <a:cubicBezTo>
                      <a:pt x="131" y="78"/>
                      <a:pt x="135" y="85"/>
                      <a:pt x="126" y="85"/>
                    </a:cubicBezTo>
                    <a:cubicBezTo>
                      <a:pt x="121" y="85"/>
                      <a:pt x="119" y="82"/>
                      <a:pt x="113" y="82"/>
                    </a:cubicBezTo>
                    <a:cubicBezTo>
                      <a:pt x="108" y="82"/>
                      <a:pt x="107" y="84"/>
                      <a:pt x="107" y="87"/>
                    </a:cubicBezTo>
                    <a:cubicBezTo>
                      <a:pt x="107" y="89"/>
                      <a:pt x="105" y="90"/>
                      <a:pt x="103" y="93"/>
                    </a:cubicBezTo>
                    <a:cubicBezTo>
                      <a:pt x="101" y="96"/>
                      <a:pt x="101" y="99"/>
                      <a:pt x="103" y="101"/>
                    </a:cubicBezTo>
                    <a:cubicBezTo>
                      <a:pt x="104" y="104"/>
                      <a:pt x="104" y="105"/>
                      <a:pt x="102" y="107"/>
                    </a:cubicBezTo>
                    <a:cubicBezTo>
                      <a:pt x="100" y="109"/>
                      <a:pt x="101" y="110"/>
                      <a:pt x="103" y="112"/>
                    </a:cubicBezTo>
                    <a:cubicBezTo>
                      <a:pt x="105" y="114"/>
                      <a:pt x="103" y="116"/>
                      <a:pt x="102" y="116"/>
                    </a:cubicBezTo>
                    <a:cubicBezTo>
                      <a:pt x="100" y="116"/>
                      <a:pt x="101" y="114"/>
                      <a:pt x="98" y="114"/>
                    </a:cubicBezTo>
                    <a:cubicBezTo>
                      <a:pt x="96" y="114"/>
                      <a:pt x="95" y="116"/>
                      <a:pt x="95" y="119"/>
                    </a:cubicBezTo>
                    <a:cubicBezTo>
                      <a:pt x="95" y="122"/>
                      <a:pt x="94" y="123"/>
                      <a:pt x="90" y="123"/>
                    </a:cubicBezTo>
                    <a:cubicBezTo>
                      <a:pt x="86" y="123"/>
                      <a:pt x="84" y="124"/>
                      <a:pt x="84" y="128"/>
                    </a:cubicBezTo>
                    <a:cubicBezTo>
                      <a:pt x="84" y="133"/>
                      <a:pt x="83" y="136"/>
                      <a:pt x="82" y="136"/>
                    </a:cubicBezTo>
                    <a:cubicBezTo>
                      <a:pt x="80" y="136"/>
                      <a:pt x="80" y="135"/>
                      <a:pt x="78" y="135"/>
                    </a:cubicBezTo>
                    <a:cubicBezTo>
                      <a:pt x="76" y="135"/>
                      <a:pt x="75" y="135"/>
                      <a:pt x="75" y="138"/>
                    </a:cubicBezTo>
                    <a:cubicBezTo>
                      <a:pt x="75" y="141"/>
                      <a:pt x="80" y="143"/>
                      <a:pt x="80" y="147"/>
                    </a:cubicBezTo>
                    <a:cubicBezTo>
                      <a:pt x="80" y="150"/>
                      <a:pt x="85" y="155"/>
                      <a:pt x="88" y="155"/>
                    </a:cubicBezTo>
                    <a:cubicBezTo>
                      <a:pt x="90" y="155"/>
                      <a:pt x="89" y="156"/>
                      <a:pt x="87" y="157"/>
                    </a:cubicBezTo>
                    <a:cubicBezTo>
                      <a:pt x="85" y="157"/>
                      <a:pt x="81" y="160"/>
                      <a:pt x="80" y="160"/>
                    </a:cubicBezTo>
                    <a:cubicBezTo>
                      <a:pt x="78" y="160"/>
                      <a:pt x="78" y="159"/>
                      <a:pt x="76" y="159"/>
                    </a:cubicBezTo>
                    <a:cubicBezTo>
                      <a:pt x="74" y="159"/>
                      <a:pt x="74" y="163"/>
                      <a:pt x="74" y="166"/>
                    </a:cubicBezTo>
                    <a:cubicBezTo>
                      <a:pt x="74" y="169"/>
                      <a:pt x="74" y="171"/>
                      <a:pt x="79" y="173"/>
                    </a:cubicBezTo>
                    <a:cubicBezTo>
                      <a:pt x="84" y="175"/>
                      <a:pt x="87" y="179"/>
                      <a:pt x="88" y="179"/>
                    </a:cubicBezTo>
                    <a:cubicBezTo>
                      <a:pt x="90" y="179"/>
                      <a:pt x="90" y="177"/>
                      <a:pt x="90" y="176"/>
                    </a:cubicBezTo>
                    <a:cubicBezTo>
                      <a:pt x="90" y="174"/>
                      <a:pt x="90" y="173"/>
                      <a:pt x="93" y="173"/>
                    </a:cubicBezTo>
                    <a:cubicBezTo>
                      <a:pt x="96" y="173"/>
                      <a:pt x="98" y="173"/>
                      <a:pt x="98" y="175"/>
                    </a:cubicBezTo>
                    <a:cubicBezTo>
                      <a:pt x="98" y="177"/>
                      <a:pt x="102" y="178"/>
                      <a:pt x="102" y="179"/>
                    </a:cubicBezTo>
                    <a:cubicBezTo>
                      <a:pt x="102" y="181"/>
                      <a:pt x="102" y="182"/>
                      <a:pt x="99" y="182"/>
                    </a:cubicBezTo>
                    <a:cubicBezTo>
                      <a:pt x="96" y="182"/>
                      <a:pt x="96" y="180"/>
                      <a:pt x="93" y="180"/>
                    </a:cubicBezTo>
                    <a:cubicBezTo>
                      <a:pt x="90" y="180"/>
                      <a:pt x="88" y="182"/>
                      <a:pt x="88" y="183"/>
                    </a:cubicBezTo>
                    <a:cubicBezTo>
                      <a:pt x="88" y="184"/>
                      <a:pt x="87" y="185"/>
                      <a:pt x="87" y="187"/>
                    </a:cubicBezTo>
                    <a:cubicBezTo>
                      <a:pt x="87" y="189"/>
                      <a:pt x="88" y="191"/>
                      <a:pt x="92" y="191"/>
                    </a:cubicBezTo>
                    <a:cubicBezTo>
                      <a:pt x="95" y="191"/>
                      <a:pt x="99" y="192"/>
                      <a:pt x="99" y="193"/>
                    </a:cubicBezTo>
                    <a:cubicBezTo>
                      <a:pt x="99" y="195"/>
                      <a:pt x="98" y="196"/>
                      <a:pt x="95" y="196"/>
                    </a:cubicBezTo>
                    <a:cubicBezTo>
                      <a:pt x="92" y="196"/>
                      <a:pt x="86" y="191"/>
                      <a:pt x="82" y="191"/>
                    </a:cubicBezTo>
                    <a:cubicBezTo>
                      <a:pt x="79" y="191"/>
                      <a:pt x="80" y="194"/>
                      <a:pt x="75" y="194"/>
                    </a:cubicBezTo>
                    <a:cubicBezTo>
                      <a:pt x="70" y="194"/>
                      <a:pt x="71" y="191"/>
                      <a:pt x="68" y="191"/>
                    </a:cubicBezTo>
                    <a:cubicBezTo>
                      <a:pt x="65" y="191"/>
                      <a:pt x="63" y="197"/>
                      <a:pt x="61" y="197"/>
                    </a:cubicBezTo>
                    <a:cubicBezTo>
                      <a:pt x="58" y="197"/>
                      <a:pt x="60" y="195"/>
                      <a:pt x="57" y="195"/>
                    </a:cubicBezTo>
                    <a:cubicBezTo>
                      <a:pt x="54" y="195"/>
                      <a:pt x="53" y="197"/>
                      <a:pt x="53" y="198"/>
                    </a:cubicBezTo>
                    <a:cubicBezTo>
                      <a:pt x="53" y="200"/>
                      <a:pt x="53" y="201"/>
                      <a:pt x="56" y="201"/>
                    </a:cubicBezTo>
                    <a:cubicBezTo>
                      <a:pt x="59" y="201"/>
                      <a:pt x="66" y="211"/>
                      <a:pt x="70" y="211"/>
                    </a:cubicBezTo>
                    <a:cubicBezTo>
                      <a:pt x="72" y="211"/>
                      <a:pt x="77" y="217"/>
                      <a:pt x="80" y="219"/>
                    </a:cubicBezTo>
                    <a:cubicBezTo>
                      <a:pt x="83" y="221"/>
                      <a:pt x="82" y="223"/>
                      <a:pt x="80" y="223"/>
                    </a:cubicBezTo>
                    <a:cubicBezTo>
                      <a:pt x="77" y="223"/>
                      <a:pt x="74" y="220"/>
                      <a:pt x="71" y="217"/>
                    </a:cubicBezTo>
                    <a:cubicBezTo>
                      <a:pt x="69" y="215"/>
                      <a:pt x="67" y="214"/>
                      <a:pt x="63" y="214"/>
                    </a:cubicBezTo>
                    <a:cubicBezTo>
                      <a:pt x="59" y="214"/>
                      <a:pt x="56" y="214"/>
                      <a:pt x="56" y="216"/>
                    </a:cubicBezTo>
                    <a:cubicBezTo>
                      <a:pt x="56" y="218"/>
                      <a:pt x="61" y="218"/>
                      <a:pt x="64" y="218"/>
                    </a:cubicBezTo>
                    <a:cubicBezTo>
                      <a:pt x="67" y="218"/>
                      <a:pt x="69" y="221"/>
                      <a:pt x="71" y="222"/>
                    </a:cubicBezTo>
                    <a:cubicBezTo>
                      <a:pt x="73" y="224"/>
                      <a:pt x="74" y="226"/>
                      <a:pt x="71" y="226"/>
                    </a:cubicBezTo>
                    <a:cubicBezTo>
                      <a:pt x="68" y="226"/>
                      <a:pt x="65" y="225"/>
                      <a:pt x="63" y="225"/>
                    </a:cubicBezTo>
                    <a:cubicBezTo>
                      <a:pt x="60" y="225"/>
                      <a:pt x="61" y="221"/>
                      <a:pt x="56" y="221"/>
                    </a:cubicBezTo>
                    <a:cubicBezTo>
                      <a:pt x="54" y="221"/>
                      <a:pt x="52" y="219"/>
                      <a:pt x="48" y="219"/>
                    </a:cubicBezTo>
                    <a:cubicBezTo>
                      <a:pt x="43" y="219"/>
                      <a:pt x="40" y="218"/>
                      <a:pt x="34" y="218"/>
                    </a:cubicBezTo>
                    <a:cubicBezTo>
                      <a:pt x="28" y="218"/>
                      <a:pt x="27" y="223"/>
                      <a:pt x="24" y="225"/>
                    </a:cubicBezTo>
                    <a:cubicBezTo>
                      <a:pt x="21" y="227"/>
                      <a:pt x="19" y="231"/>
                      <a:pt x="16" y="231"/>
                    </a:cubicBezTo>
                    <a:cubicBezTo>
                      <a:pt x="13" y="231"/>
                      <a:pt x="12" y="235"/>
                      <a:pt x="12" y="238"/>
                    </a:cubicBezTo>
                    <a:cubicBezTo>
                      <a:pt x="12" y="241"/>
                      <a:pt x="9" y="243"/>
                      <a:pt x="6" y="243"/>
                    </a:cubicBezTo>
                    <a:cubicBezTo>
                      <a:pt x="0" y="243"/>
                      <a:pt x="0" y="243"/>
                      <a:pt x="0" y="243"/>
                    </a:cubicBezTo>
                    <a:cubicBezTo>
                      <a:pt x="0" y="246"/>
                      <a:pt x="0" y="246"/>
                      <a:pt x="0" y="246"/>
                    </a:cubicBezTo>
                    <a:cubicBezTo>
                      <a:pt x="0" y="249"/>
                      <a:pt x="4" y="249"/>
                      <a:pt x="4" y="252"/>
                    </a:cubicBezTo>
                    <a:cubicBezTo>
                      <a:pt x="4" y="254"/>
                      <a:pt x="1" y="253"/>
                      <a:pt x="1" y="256"/>
                    </a:cubicBezTo>
                    <a:cubicBezTo>
                      <a:pt x="1" y="258"/>
                      <a:pt x="11" y="265"/>
                      <a:pt x="15" y="265"/>
                    </a:cubicBezTo>
                    <a:cubicBezTo>
                      <a:pt x="18" y="265"/>
                      <a:pt x="21" y="269"/>
                      <a:pt x="22" y="269"/>
                    </a:cubicBezTo>
                    <a:cubicBezTo>
                      <a:pt x="24" y="269"/>
                      <a:pt x="24" y="269"/>
                      <a:pt x="24" y="271"/>
                    </a:cubicBezTo>
                    <a:cubicBezTo>
                      <a:pt x="24" y="274"/>
                      <a:pt x="29" y="274"/>
                      <a:pt x="33" y="274"/>
                    </a:cubicBezTo>
                    <a:cubicBezTo>
                      <a:pt x="38" y="274"/>
                      <a:pt x="41" y="276"/>
                      <a:pt x="47" y="276"/>
                    </a:cubicBezTo>
                    <a:cubicBezTo>
                      <a:pt x="54" y="276"/>
                      <a:pt x="67" y="272"/>
                      <a:pt x="67" y="272"/>
                    </a:cubicBezTo>
                    <a:cubicBezTo>
                      <a:pt x="67" y="274"/>
                      <a:pt x="67" y="274"/>
                      <a:pt x="67" y="274"/>
                    </a:cubicBezTo>
                    <a:cubicBezTo>
                      <a:pt x="67" y="276"/>
                      <a:pt x="67" y="279"/>
                      <a:pt x="69" y="279"/>
                    </a:cubicBezTo>
                    <a:cubicBezTo>
                      <a:pt x="72" y="279"/>
                      <a:pt x="74" y="274"/>
                      <a:pt x="78" y="274"/>
                    </a:cubicBezTo>
                    <a:cubicBezTo>
                      <a:pt x="81" y="274"/>
                      <a:pt x="82" y="272"/>
                      <a:pt x="84" y="272"/>
                    </a:cubicBezTo>
                    <a:cubicBezTo>
                      <a:pt x="86" y="272"/>
                      <a:pt x="87" y="272"/>
                      <a:pt x="87" y="275"/>
                    </a:cubicBezTo>
                    <a:cubicBezTo>
                      <a:pt x="87" y="278"/>
                      <a:pt x="84" y="279"/>
                      <a:pt x="81" y="281"/>
                    </a:cubicBezTo>
                    <a:cubicBezTo>
                      <a:pt x="78" y="283"/>
                      <a:pt x="74" y="286"/>
                      <a:pt x="73" y="288"/>
                    </a:cubicBezTo>
                    <a:cubicBezTo>
                      <a:pt x="73" y="290"/>
                      <a:pt x="71" y="294"/>
                      <a:pt x="73" y="294"/>
                    </a:cubicBezTo>
                    <a:cubicBezTo>
                      <a:pt x="76" y="294"/>
                      <a:pt x="79" y="285"/>
                      <a:pt x="84" y="285"/>
                    </a:cubicBezTo>
                    <a:cubicBezTo>
                      <a:pt x="87" y="285"/>
                      <a:pt x="92" y="278"/>
                      <a:pt x="96" y="273"/>
                    </a:cubicBezTo>
                    <a:cubicBezTo>
                      <a:pt x="100" y="268"/>
                      <a:pt x="106" y="265"/>
                      <a:pt x="107" y="265"/>
                    </a:cubicBezTo>
                    <a:cubicBezTo>
                      <a:pt x="109" y="265"/>
                      <a:pt x="109" y="266"/>
                      <a:pt x="109" y="269"/>
                    </a:cubicBezTo>
                    <a:cubicBezTo>
                      <a:pt x="109" y="273"/>
                      <a:pt x="106" y="275"/>
                      <a:pt x="106" y="277"/>
                    </a:cubicBezTo>
                    <a:cubicBezTo>
                      <a:pt x="106" y="279"/>
                      <a:pt x="106" y="280"/>
                      <a:pt x="111" y="280"/>
                    </a:cubicBezTo>
                    <a:cubicBezTo>
                      <a:pt x="116" y="280"/>
                      <a:pt x="121" y="272"/>
                      <a:pt x="125" y="272"/>
                    </a:cubicBezTo>
                    <a:cubicBezTo>
                      <a:pt x="128" y="272"/>
                      <a:pt x="131" y="268"/>
                      <a:pt x="132" y="268"/>
                    </a:cubicBezTo>
                    <a:cubicBezTo>
                      <a:pt x="134" y="268"/>
                      <a:pt x="135" y="268"/>
                      <a:pt x="138" y="267"/>
                    </a:cubicBezTo>
                    <a:cubicBezTo>
                      <a:pt x="140" y="266"/>
                      <a:pt x="140" y="266"/>
                      <a:pt x="140" y="268"/>
                    </a:cubicBezTo>
                    <a:cubicBezTo>
                      <a:pt x="140" y="270"/>
                      <a:pt x="144" y="271"/>
                      <a:pt x="144" y="274"/>
                    </a:cubicBezTo>
                    <a:cubicBezTo>
                      <a:pt x="144" y="278"/>
                      <a:pt x="142" y="279"/>
                      <a:pt x="140" y="279"/>
                    </a:cubicBezTo>
                    <a:cubicBezTo>
                      <a:pt x="138" y="279"/>
                      <a:pt x="137" y="274"/>
                      <a:pt x="135" y="274"/>
                    </a:cubicBezTo>
                    <a:cubicBezTo>
                      <a:pt x="134" y="274"/>
                      <a:pt x="134" y="275"/>
                      <a:pt x="134" y="277"/>
                    </a:cubicBezTo>
                    <a:cubicBezTo>
                      <a:pt x="134" y="279"/>
                      <a:pt x="135" y="280"/>
                      <a:pt x="133" y="282"/>
                    </a:cubicBezTo>
                    <a:cubicBezTo>
                      <a:pt x="130" y="284"/>
                      <a:pt x="131" y="285"/>
                      <a:pt x="128" y="288"/>
                    </a:cubicBezTo>
                    <a:cubicBezTo>
                      <a:pt x="125" y="290"/>
                      <a:pt x="125" y="292"/>
                      <a:pt x="125" y="296"/>
                    </a:cubicBezTo>
                    <a:cubicBezTo>
                      <a:pt x="125" y="300"/>
                      <a:pt x="122" y="304"/>
                      <a:pt x="118" y="304"/>
                    </a:cubicBezTo>
                    <a:cubicBezTo>
                      <a:pt x="115" y="304"/>
                      <a:pt x="113" y="307"/>
                      <a:pt x="113" y="309"/>
                    </a:cubicBezTo>
                    <a:cubicBezTo>
                      <a:pt x="113" y="311"/>
                      <a:pt x="114" y="311"/>
                      <a:pt x="114" y="313"/>
                    </a:cubicBezTo>
                    <a:cubicBezTo>
                      <a:pt x="114" y="316"/>
                      <a:pt x="111" y="322"/>
                      <a:pt x="107" y="324"/>
                    </a:cubicBezTo>
                    <a:cubicBezTo>
                      <a:pt x="107" y="324"/>
                      <a:pt x="109" y="331"/>
                      <a:pt x="117" y="331"/>
                    </a:cubicBezTo>
                    <a:cubicBezTo>
                      <a:pt x="125" y="331"/>
                      <a:pt x="128" y="330"/>
                      <a:pt x="130" y="330"/>
                    </a:cubicBezTo>
                    <a:cubicBezTo>
                      <a:pt x="133" y="330"/>
                      <a:pt x="135" y="330"/>
                      <a:pt x="135" y="330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70" name="Freeform 45"/>
              <p:cNvSpPr>
                <a:spLocks/>
              </p:cNvSpPr>
              <p:nvPr/>
            </p:nvSpPr>
            <p:spPr bwMode="auto">
              <a:xfrm>
                <a:off x="2032" y="1645"/>
                <a:ext cx="372" cy="440"/>
              </a:xfrm>
              <a:custGeom>
                <a:avLst/>
                <a:gdLst>
                  <a:gd name="T0" fmla="*/ 0 w 157"/>
                  <a:gd name="T1" fmla="*/ 108 h 186"/>
                  <a:gd name="T2" fmla="*/ 4 w 157"/>
                  <a:gd name="T3" fmla="*/ 107 h 186"/>
                  <a:gd name="T4" fmla="*/ 11 w 157"/>
                  <a:gd name="T5" fmla="*/ 98 h 186"/>
                  <a:gd name="T6" fmla="*/ 14 w 157"/>
                  <a:gd name="T7" fmla="*/ 92 h 186"/>
                  <a:gd name="T8" fmla="*/ 12 w 157"/>
                  <a:gd name="T9" fmla="*/ 86 h 186"/>
                  <a:gd name="T10" fmla="*/ 17 w 157"/>
                  <a:gd name="T11" fmla="*/ 78 h 186"/>
                  <a:gd name="T12" fmla="*/ 28 w 157"/>
                  <a:gd name="T13" fmla="*/ 72 h 186"/>
                  <a:gd name="T14" fmla="*/ 33 w 157"/>
                  <a:gd name="T15" fmla="*/ 61 h 186"/>
                  <a:gd name="T16" fmla="*/ 30 w 157"/>
                  <a:gd name="T17" fmla="*/ 53 h 186"/>
                  <a:gd name="T18" fmla="*/ 28 w 157"/>
                  <a:gd name="T19" fmla="*/ 48 h 186"/>
                  <a:gd name="T20" fmla="*/ 24 w 157"/>
                  <a:gd name="T21" fmla="*/ 45 h 186"/>
                  <a:gd name="T22" fmla="*/ 22 w 157"/>
                  <a:gd name="T23" fmla="*/ 42 h 186"/>
                  <a:gd name="T24" fmla="*/ 28 w 157"/>
                  <a:gd name="T25" fmla="*/ 33 h 186"/>
                  <a:gd name="T26" fmla="*/ 33 w 157"/>
                  <a:gd name="T27" fmla="*/ 30 h 186"/>
                  <a:gd name="T28" fmla="*/ 46 w 157"/>
                  <a:gd name="T29" fmla="*/ 16 h 186"/>
                  <a:gd name="T30" fmla="*/ 58 w 157"/>
                  <a:gd name="T31" fmla="*/ 0 h 186"/>
                  <a:gd name="T32" fmla="*/ 69 w 157"/>
                  <a:gd name="T33" fmla="*/ 5 h 186"/>
                  <a:gd name="T34" fmla="*/ 84 w 157"/>
                  <a:gd name="T35" fmla="*/ 21 h 186"/>
                  <a:gd name="T36" fmla="*/ 88 w 157"/>
                  <a:gd name="T37" fmla="*/ 24 h 186"/>
                  <a:gd name="T38" fmla="*/ 96 w 157"/>
                  <a:gd name="T39" fmla="*/ 43 h 186"/>
                  <a:gd name="T40" fmla="*/ 102 w 157"/>
                  <a:gd name="T41" fmla="*/ 57 h 186"/>
                  <a:gd name="T42" fmla="*/ 112 w 157"/>
                  <a:gd name="T43" fmla="*/ 74 h 186"/>
                  <a:gd name="T44" fmla="*/ 120 w 157"/>
                  <a:gd name="T45" fmla="*/ 82 h 186"/>
                  <a:gd name="T46" fmla="*/ 126 w 157"/>
                  <a:gd name="T47" fmla="*/ 76 h 186"/>
                  <a:gd name="T48" fmla="*/ 134 w 157"/>
                  <a:gd name="T49" fmla="*/ 80 h 186"/>
                  <a:gd name="T50" fmla="*/ 144 w 157"/>
                  <a:gd name="T51" fmla="*/ 96 h 186"/>
                  <a:gd name="T52" fmla="*/ 139 w 157"/>
                  <a:gd name="T53" fmla="*/ 114 h 186"/>
                  <a:gd name="T54" fmla="*/ 145 w 157"/>
                  <a:gd name="T55" fmla="*/ 127 h 186"/>
                  <a:gd name="T56" fmla="*/ 152 w 157"/>
                  <a:gd name="T57" fmla="*/ 132 h 186"/>
                  <a:gd name="T58" fmla="*/ 157 w 157"/>
                  <a:gd name="T59" fmla="*/ 151 h 186"/>
                  <a:gd name="T60" fmla="*/ 151 w 157"/>
                  <a:gd name="T61" fmla="*/ 159 h 186"/>
                  <a:gd name="T62" fmla="*/ 142 w 157"/>
                  <a:gd name="T63" fmla="*/ 162 h 186"/>
                  <a:gd name="T64" fmla="*/ 139 w 157"/>
                  <a:gd name="T65" fmla="*/ 174 h 186"/>
                  <a:gd name="T66" fmla="*/ 124 w 157"/>
                  <a:gd name="T67" fmla="*/ 186 h 186"/>
                  <a:gd name="T68" fmla="*/ 105 w 157"/>
                  <a:gd name="T69" fmla="*/ 177 h 186"/>
                  <a:gd name="T70" fmla="*/ 96 w 157"/>
                  <a:gd name="T71" fmla="*/ 165 h 186"/>
                  <a:gd name="T72" fmla="*/ 89 w 157"/>
                  <a:gd name="T73" fmla="*/ 157 h 186"/>
                  <a:gd name="T74" fmla="*/ 79 w 157"/>
                  <a:gd name="T75" fmla="*/ 146 h 186"/>
                  <a:gd name="T76" fmla="*/ 67 w 157"/>
                  <a:gd name="T77" fmla="*/ 133 h 186"/>
                  <a:gd name="T78" fmla="*/ 56 w 157"/>
                  <a:gd name="T79" fmla="*/ 119 h 186"/>
                  <a:gd name="T80" fmla="*/ 48 w 157"/>
                  <a:gd name="T81" fmla="*/ 122 h 186"/>
                  <a:gd name="T82" fmla="*/ 39 w 157"/>
                  <a:gd name="T83" fmla="*/ 119 h 186"/>
                  <a:gd name="T84" fmla="*/ 31 w 157"/>
                  <a:gd name="T85" fmla="*/ 124 h 186"/>
                  <a:gd name="T86" fmla="*/ 21 w 157"/>
                  <a:gd name="T87" fmla="*/ 119 h 186"/>
                  <a:gd name="T88" fmla="*/ 0 w 157"/>
                  <a:gd name="T89" fmla="*/ 111 h 186"/>
                  <a:gd name="T90" fmla="*/ 0 w 157"/>
                  <a:gd name="T91" fmla="*/ 108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57" h="186">
                    <a:moveTo>
                      <a:pt x="0" y="108"/>
                    </a:moveTo>
                    <a:cubicBezTo>
                      <a:pt x="2" y="108"/>
                      <a:pt x="3" y="107"/>
                      <a:pt x="4" y="107"/>
                    </a:cubicBezTo>
                    <a:cubicBezTo>
                      <a:pt x="7" y="107"/>
                      <a:pt x="11" y="102"/>
                      <a:pt x="11" y="98"/>
                    </a:cubicBezTo>
                    <a:cubicBezTo>
                      <a:pt x="11" y="95"/>
                      <a:pt x="14" y="94"/>
                      <a:pt x="14" y="92"/>
                    </a:cubicBezTo>
                    <a:cubicBezTo>
                      <a:pt x="14" y="89"/>
                      <a:pt x="12" y="88"/>
                      <a:pt x="12" y="86"/>
                    </a:cubicBezTo>
                    <a:cubicBezTo>
                      <a:pt x="12" y="84"/>
                      <a:pt x="17" y="82"/>
                      <a:pt x="17" y="78"/>
                    </a:cubicBezTo>
                    <a:cubicBezTo>
                      <a:pt x="17" y="75"/>
                      <a:pt x="23" y="72"/>
                      <a:pt x="28" y="72"/>
                    </a:cubicBezTo>
                    <a:cubicBezTo>
                      <a:pt x="32" y="72"/>
                      <a:pt x="33" y="66"/>
                      <a:pt x="33" y="61"/>
                    </a:cubicBezTo>
                    <a:cubicBezTo>
                      <a:pt x="33" y="56"/>
                      <a:pt x="31" y="54"/>
                      <a:pt x="30" y="53"/>
                    </a:cubicBezTo>
                    <a:cubicBezTo>
                      <a:pt x="28" y="51"/>
                      <a:pt x="28" y="50"/>
                      <a:pt x="28" y="48"/>
                    </a:cubicBezTo>
                    <a:cubicBezTo>
                      <a:pt x="28" y="46"/>
                      <a:pt x="26" y="45"/>
                      <a:pt x="24" y="45"/>
                    </a:cubicBezTo>
                    <a:cubicBezTo>
                      <a:pt x="23" y="45"/>
                      <a:pt x="22" y="43"/>
                      <a:pt x="22" y="42"/>
                    </a:cubicBezTo>
                    <a:cubicBezTo>
                      <a:pt x="22" y="40"/>
                      <a:pt x="28" y="37"/>
                      <a:pt x="28" y="33"/>
                    </a:cubicBezTo>
                    <a:cubicBezTo>
                      <a:pt x="28" y="30"/>
                      <a:pt x="30" y="31"/>
                      <a:pt x="33" y="30"/>
                    </a:cubicBezTo>
                    <a:cubicBezTo>
                      <a:pt x="36" y="28"/>
                      <a:pt x="40" y="24"/>
                      <a:pt x="46" y="16"/>
                    </a:cubicBezTo>
                    <a:cubicBezTo>
                      <a:pt x="52" y="7"/>
                      <a:pt x="54" y="0"/>
                      <a:pt x="58" y="0"/>
                    </a:cubicBezTo>
                    <a:cubicBezTo>
                      <a:pt x="62" y="0"/>
                      <a:pt x="64" y="4"/>
                      <a:pt x="69" y="5"/>
                    </a:cubicBezTo>
                    <a:cubicBezTo>
                      <a:pt x="73" y="7"/>
                      <a:pt x="84" y="16"/>
                      <a:pt x="84" y="21"/>
                    </a:cubicBezTo>
                    <a:cubicBezTo>
                      <a:pt x="84" y="26"/>
                      <a:pt x="86" y="24"/>
                      <a:pt x="88" y="24"/>
                    </a:cubicBezTo>
                    <a:cubicBezTo>
                      <a:pt x="90" y="24"/>
                      <a:pt x="96" y="34"/>
                      <a:pt x="96" y="43"/>
                    </a:cubicBezTo>
                    <a:cubicBezTo>
                      <a:pt x="96" y="52"/>
                      <a:pt x="102" y="52"/>
                      <a:pt x="102" y="57"/>
                    </a:cubicBezTo>
                    <a:cubicBezTo>
                      <a:pt x="102" y="61"/>
                      <a:pt x="104" y="69"/>
                      <a:pt x="112" y="74"/>
                    </a:cubicBezTo>
                    <a:cubicBezTo>
                      <a:pt x="119" y="78"/>
                      <a:pt x="118" y="82"/>
                      <a:pt x="120" y="82"/>
                    </a:cubicBezTo>
                    <a:cubicBezTo>
                      <a:pt x="125" y="82"/>
                      <a:pt x="123" y="76"/>
                      <a:pt x="126" y="76"/>
                    </a:cubicBezTo>
                    <a:cubicBezTo>
                      <a:pt x="130" y="76"/>
                      <a:pt x="130" y="80"/>
                      <a:pt x="134" y="80"/>
                    </a:cubicBezTo>
                    <a:cubicBezTo>
                      <a:pt x="137" y="80"/>
                      <a:pt x="144" y="88"/>
                      <a:pt x="144" y="96"/>
                    </a:cubicBezTo>
                    <a:cubicBezTo>
                      <a:pt x="144" y="104"/>
                      <a:pt x="139" y="104"/>
                      <a:pt x="139" y="114"/>
                    </a:cubicBezTo>
                    <a:cubicBezTo>
                      <a:pt x="139" y="119"/>
                      <a:pt x="142" y="122"/>
                      <a:pt x="145" y="127"/>
                    </a:cubicBezTo>
                    <a:cubicBezTo>
                      <a:pt x="148" y="132"/>
                      <a:pt x="149" y="132"/>
                      <a:pt x="152" y="132"/>
                    </a:cubicBezTo>
                    <a:cubicBezTo>
                      <a:pt x="152" y="132"/>
                      <a:pt x="157" y="140"/>
                      <a:pt x="157" y="151"/>
                    </a:cubicBezTo>
                    <a:cubicBezTo>
                      <a:pt x="157" y="156"/>
                      <a:pt x="156" y="160"/>
                      <a:pt x="151" y="159"/>
                    </a:cubicBezTo>
                    <a:cubicBezTo>
                      <a:pt x="147" y="159"/>
                      <a:pt x="143" y="160"/>
                      <a:pt x="142" y="162"/>
                    </a:cubicBezTo>
                    <a:cubicBezTo>
                      <a:pt x="141" y="164"/>
                      <a:pt x="139" y="170"/>
                      <a:pt x="139" y="174"/>
                    </a:cubicBezTo>
                    <a:cubicBezTo>
                      <a:pt x="139" y="179"/>
                      <a:pt x="135" y="186"/>
                      <a:pt x="124" y="186"/>
                    </a:cubicBezTo>
                    <a:cubicBezTo>
                      <a:pt x="117" y="186"/>
                      <a:pt x="111" y="182"/>
                      <a:pt x="105" y="177"/>
                    </a:cubicBezTo>
                    <a:cubicBezTo>
                      <a:pt x="99" y="172"/>
                      <a:pt x="96" y="170"/>
                      <a:pt x="96" y="165"/>
                    </a:cubicBezTo>
                    <a:cubicBezTo>
                      <a:pt x="96" y="161"/>
                      <a:pt x="93" y="159"/>
                      <a:pt x="89" y="157"/>
                    </a:cubicBezTo>
                    <a:cubicBezTo>
                      <a:pt x="85" y="155"/>
                      <a:pt x="84" y="150"/>
                      <a:pt x="79" y="146"/>
                    </a:cubicBezTo>
                    <a:cubicBezTo>
                      <a:pt x="74" y="141"/>
                      <a:pt x="71" y="139"/>
                      <a:pt x="67" y="133"/>
                    </a:cubicBezTo>
                    <a:cubicBezTo>
                      <a:pt x="63" y="127"/>
                      <a:pt x="61" y="119"/>
                      <a:pt x="56" y="119"/>
                    </a:cubicBezTo>
                    <a:cubicBezTo>
                      <a:pt x="50" y="119"/>
                      <a:pt x="53" y="122"/>
                      <a:pt x="48" y="122"/>
                    </a:cubicBezTo>
                    <a:cubicBezTo>
                      <a:pt x="44" y="122"/>
                      <a:pt x="43" y="119"/>
                      <a:pt x="39" y="119"/>
                    </a:cubicBezTo>
                    <a:cubicBezTo>
                      <a:pt x="35" y="119"/>
                      <a:pt x="35" y="124"/>
                      <a:pt x="31" y="124"/>
                    </a:cubicBezTo>
                    <a:cubicBezTo>
                      <a:pt x="27" y="124"/>
                      <a:pt x="26" y="119"/>
                      <a:pt x="21" y="119"/>
                    </a:cubicBezTo>
                    <a:cubicBezTo>
                      <a:pt x="6" y="119"/>
                      <a:pt x="0" y="116"/>
                      <a:pt x="0" y="111"/>
                    </a:cubicBezTo>
                    <a:cubicBezTo>
                      <a:pt x="0" y="110"/>
                      <a:pt x="0" y="108"/>
                      <a:pt x="0" y="108"/>
                    </a:cubicBezTo>
                  </a:path>
                </a:pathLst>
              </a:custGeom>
              <a:noFill/>
              <a:ln w="6350" cap="flat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71" name="Freeform 46"/>
              <p:cNvSpPr>
                <a:spLocks/>
              </p:cNvSpPr>
              <p:nvPr/>
            </p:nvSpPr>
            <p:spPr bwMode="auto">
              <a:xfrm>
                <a:off x="654" y="2142"/>
                <a:ext cx="49" cy="31"/>
              </a:xfrm>
              <a:custGeom>
                <a:avLst/>
                <a:gdLst>
                  <a:gd name="T0" fmla="*/ 0 w 21"/>
                  <a:gd name="T1" fmla="*/ 13 h 13"/>
                  <a:gd name="T2" fmla="*/ 0 w 21"/>
                  <a:gd name="T3" fmla="*/ 8 h 13"/>
                  <a:gd name="T4" fmla="*/ 7 w 21"/>
                  <a:gd name="T5" fmla="*/ 4 h 13"/>
                  <a:gd name="T6" fmla="*/ 13 w 21"/>
                  <a:gd name="T7" fmla="*/ 0 h 13"/>
                  <a:gd name="T8" fmla="*/ 18 w 21"/>
                  <a:gd name="T9" fmla="*/ 3 h 13"/>
                  <a:gd name="T10" fmla="*/ 21 w 21"/>
                  <a:gd name="T11" fmla="*/ 7 h 13"/>
                  <a:gd name="T12" fmla="*/ 11 w 21"/>
                  <a:gd name="T13" fmla="*/ 13 h 13"/>
                  <a:gd name="T14" fmla="*/ 0 w 21"/>
                  <a:gd name="T1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13">
                    <a:moveTo>
                      <a:pt x="0" y="13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0" y="7"/>
                      <a:pt x="4" y="6"/>
                      <a:pt x="7" y="4"/>
                    </a:cubicBezTo>
                    <a:cubicBezTo>
                      <a:pt x="10" y="2"/>
                      <a:pt x="10" y="0"/>
                      <a:pt x="13" y="0"/>
                    </a:cubicBezTo>
                    <a:cubicBezTo>
                      <a:pt x="15" y="0"/>
                      <a:pt x="17" y="2"/>
                      <a:pt x="18" y="3"/>
                    </a:cubicBezTo>
                    <a:cubicBezTo>
                      <a:pt x="20" y="5"/>
                      <a:pt x="21" y="6"/>
                      <a:pt x="21" y="7"/>
                    </a:cubicBezTo>
                    <a:cubicBezTo>
                      <a:pt x="21" y="10"/>
                      <a:pt x="17" y="13"/>
                      <a:pt x="11" y="13"/>
                    </a:cubicBezTo>
                    <a:cubicBezTo>
                      <a:pt x="4" y="13"/>
                      <a:pt x="0" y="13"/>
                      <a:pt x="0" y="13"/>
                    </a:cubicBezTo>
                  </a:path>
                </a:pathLst>
              </a:custGeom>
              <a:noFill/>
              <a:ln w="6350" cap="rnd">
                <a:solidFill>
                  <a:schemeClr val="tx2">
                    <a:lumMod val="75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  <p:sp>
            <p:nvSpPr>
              <p:cNvPr id="72" name="Freeform 47"/>
              <p:cNvSpPr>
                <a:spLocks/>
              </p:cNvSpPr>
              <p:nvPr/>
            </p:nvSpPr>
            <p:spPr bwMode="auto">
              <a:xfrm>
                <a:off x="1608" y="932"/>
                <a:ext cx="1353" cy="1032"/>
              </a:xfrm>
              <a:custGeom>
                <a:avLst/>
                <a:gdLst>
                  <a:gd name="T0" fmla="*/ 176 w 571"/>
                  <a:gd name="T1" fmla="*/ 73 h 436"/>
                  <a:gd name="T2" fmla="*/ 157 w 571"/>
                  <a:gd name="T3" fmla="*/ 99 h 436"/>
                  <a:gd name="T4" fmla="*/ 148 w 571"/>
                  <a:gd name="T5" fmla="*/ 126 h 436"/>
                  <a:gd name="T6" fmla="*/ 137 w 571"/>
                  <a:gd name="T7" fmla="*/ 154 h 436"/>
                  <a:gd name="T8" fmla="*/ 116 w 571"/>
                  <a:gd name="T9" fmla="*/ 184 h 436"/>
                  <a:gd name="T10" fmla="*/ 65 w 571"/>
                  <a:gd name="T11" fmla="*/ 186 h 436"/>
                  <a:gd name="T12" fmla="*/ 59 w 571"/>
                  <a:gd name="T13" fmla="*/ 218 h 436"/>
                  <a:gd name="T14" fmla="*/ 93 w 571"/>
                  <a:gd name="T15" fmla="*/ 227 h 436"/>
                  <a:gd name="T16" fmla="*/ 65 w 571"/>
                  <a:gd name="T17" fmla="*/ 257 h 436"/>
                  <a:gd name="T18" fmla="*/ 28 w 571"/>
                  <a:gd name="T19" fmla="*/ 262 h 436"/>
                  <a:gd name="T20" fmla="*/ 0 w 571"/>
                  <a:gd name="T21" fmla="*/ 287 h 436"/>
                  <a:gd name="T22" fmla="*/ 37 w 571"/>
                  <a:gd name="T23" fmla="*/ 328 h 436"/>
                  <a:gd name="T24" fmla="*/ 63 w 571"/>
                  <a:gd name="T25" fmla="*/ 376 h 436"/>
                  <a:gd name="T26" fmla="*/ 111 w 571"/>
                  <a:gd name="T27" fmla="*/ 392 h 436"/>
                  <a:gd name="T28" fmla="*/ 131 w 571"/>
                  <a:gd name="T29" fmla="*/ 404 h 436"/>
                  <a:gd name="T30" fmla="*/ 157 w 571"/>
                  <a:gd name="T31" fmla="*/ 392 h 436"/>
                  <a:gd name="T32" fmla="*/ 168 w 571"/>
                  <a:gd name="T33" fmla="*/ 402 h 436"/>
                  <a:gd name="T34" fmla="*/ 193 w 571"/>
                  <a:gd name="T35" fmla="*/ 393 h 436"/>
                  <a:gd name="T36" fmla="*/ 212 w 571"/>
                  <a:gd name="T37" fmla="*/ 362 h 436"/>
                  <a:gd name="T38" fmla="*/ 201 w 571"/>
                  <a:gd name="T39" fmla="*/ 343 h 436"/>
                  <a:gd name="T40" fmla="*/ 237 w 571"/>
                  <a:gd name="T41" fmla="*/ 301 h 436"/>
                  <a:gd name="T42" fmla="*/ 275 w 571"/>
                  <a:gd name="T43" fmla="*/ 344 h 436"/>
                  <a:gd name="T44" fmla="*/ 305 w 571"/>
                  <a:gd name="T45" fmla="*/ 377 h 436"/>
                  <a:gd name="T46" fmla="*/ 324 w 571"/>
                  <a:gd name="T47" fmla="*/ 428 h 436"/>
                  <a:gd name="T48" fmla="*/ 349 w 571"/>
                  <a:gd name="T49" fmla="*/ 428 h 436"/>
                  <a:gd name="T50" fmla="*/ 382 w 571"/>
                  <a:gd name="T51" fmla="*/ 419 h 436"/>
                  <a:gd name="T52" fmla="*/ 410 w 571"/>
                  <a:gd name="T53" fmla="*/ 414 h 436"/>
                  <a:gd name="T54" fmla="*/ 430 w 571"/>
                  <a:gd name="T55" fmla="*/ 431 h 436"/>
                  <a:gd name="T56" fmla="*/ 458 w 571"/>
                  <a:gd name="T57" fmla="*/ 424 h 436"/>
                  <a:gd name="T58" fmla="*/ 483 w 571"/>
                  <a:gd name="T59" fmla="*/ 382 h 436"/>
                  <a:gd name="T60" fmla="*/ 509 w 571"/>
                  <a:gd name="T61" fmla="*/ 354 h 436"/>
                  <a:gd name="T62" fmla="*/ 537 w 571"/>
                  <a:gd name="T63" fmla="*/ 353 h 436"/>
                  <a:gd name="T64" fmla="*/ 550 w 571"/>
                  <a:gd name="T65" fmla="*/ 320 h 436"/>
                  <a:gd name="T66" fmla="*/ 519 w 571"/>
                  <a:gd name="T67" fmla="*/ 316 h 436"/>
                  <a:gd name="T68" fmla="*/ 529 w 571"/>
                  <a:gd name="T69" fmla="*/ 288 h 436"/>
                  <a:gd name="T70" fmla="*/ 518 w 571"/>
                  <a:gd name="T71" fmla="*/ 262 h 436"/>
                  <a:gd name="T72" fmla="*/ 514 w 571"/>
                  <a:gd name="T73" fmla="*/ 243 h 436"/>
                  <a:gd name="T74" fmla="*/ 547 w 571"/>
                  <a:gd name="T75" fmla="*/ 270 h 436"/>
                  <a:gd name="T76" fmla="*/ 556 w 571"/>
                  <a:gd name="T77" fmla="*/ 323 h 436"/>
                  <a:gd name="T78" fmla="*/ 566 w 571"/>
                  <a:gd name="T79" fmla="*/ 299 h 436"/>
                  <a:gd name="T80" fmla="*/ 570 w 571"/>
                  <a:gd name="T81" fmla="*/ 270 h 436"/>
                  <a:gd name="T82" fmla="*/ 560 w 571"/>
                  <a:gd name="T83" fmla="*/ 242 h 436"/>
                  <a:gd name="T84" fmla="*/ 535 w 571"/>
                  <a:gd name="T85" fmla="*/ 198 h 436"/>
                  <a:gd name="T86" fmla="*/ 496 w 571"/>
                  <a:gd name="T87" fmla="*/ 204 h 436"/>
                  <a:gd name="T88" fmla="*/ 469 w 571"/>
                  <a:gd name="T89" fmla="*/ 223 h 436"/>
                  <a:gd name="T90" fmla="*/ 489 w 571"/>
                  <a:gd name="T91" fmla="*/ 188 h 436"/>
                  <a:gd name="T92" fmla="*/ 507 w 571"/>
                  <a:gd name="T93" fmla="*/ 143 h 436"/>
                  <a:gd name="T94" fmla="*/ 505 w 571"/>
                  <a:gd name="T95" fmla="*/ 162 h 436"/>
                  <a:gd name="T96" fmla="*/ 482 w 571"/>
                  <a:gd name="T97" fmla="*/ 128 h 436"/>
                  <a:gd name="T98" fmla="*/ 460 w 571"/>
                  <a:gd name="T99" fmla="*/ 96 h 436"/>
                  <a:gd name="T100" fmla="*/ 447 w 571"/>
                  <a:gd name="T101" fmla="*/ 66 h 436"/>
                  <a:gd name="T102" fmla="*/ 436 w 571"/>
                  <a:gd name="T103" fmla="*/ 45 h 436"/>
                  <a:gd name="T104" fmla="*/ 422 w 571"/>
                  <a:gd name="T105" fmla="*/ 10 h 436"/>
                  <a:gd name="T106" fmla="*/ 389 w 571"/>
                  <a:gd name="T107" fmla="*/ 9 h 436"/>
                  <a:gd name="T108" fmla="*/ 342 w 571"/>
                  <a:gd name="T109" fmla="*/ 0 h 436"/>
                  <a:gd name="T110" fmla="*/ 301 w 571"/>
                  <a:gd name="T111" fmla="*/ 20 h 436"/>
                  <a:gd name="T112" fmla="*/ 247 w 571"/>
                  <a:gd name="T113" fmla="*/ 22 h 436"/>
                  <a:gd name="T114" fmla="*/ 234 w 571"/>
                  <a:gd name="T115" fmla="*/ 65 h 436"/>
                  <a:gd name="T116" fmla="*/ 187 w 571"/>
                  <a:gd name="T117" fmla="*/ 71 h 4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71" h="436">
                    <a:moveTo>
                      <a:pt x="187" y="71"/>
                    </a:moveTo>
                    <a:cubicBezTo>
                      <a:pt x="187" y="71"/>
                      <a:pt x="185" y="71"/>
                      <a:pt x="183" y="72"/>
                    </a:cubicBezTo>
                    <a:cubicBezTo>
                      <a:pt x="181" y="74"/>
                      <a:pt x="182" y="76"/>
                      <a:pt x="180" y="76"/>
                    </a:cubicBezTo>
                    <a:cubicBezTo>
                      <a:pt x="178" y="76"/>
                      <a:pt x="178" y="73"/>
                      <a:pt x="176" y="73"/>
                    </a:cubicBezTo>
                    <a:cubicBezTo>
                      <a:pt x="173" y="73"/>
                      <a:pt x="174" y="75"/>
                      <a:pt x="170" y="75"/>
                    </a:cubicBezTo>
                    <a:cubicBezTo>
                      <a:pt x="166" y="75"/>
                      <a:pt x="165" y="76"/>
                      <a:pt x="163" y="80"/>
                    </a:cubicBezTo>
                    <a:cubicBezTo>
                      <a:pt x="161" y="83"/>
                      <a:pt x="154" y="92"/>
                      <a:pt x="154" y="94"/>
                    </a:cubicBezTo>
                    <a:cubicBezTo>
                      <a:pt x="154" y="96"/>
                      <a:pt x="157" y="97"/>
                      <a:pt x="157" y="99"/>
                    </a:cubicBezTo>
                    <a:cubicBezTo>
                      <a:pt x="157" y="101"/>
                      <a:pt x="155" y="102"/>
                      <a:pt x="155" y="106"/>
                    </a:cubicBezTo>
                    <a:cubicBezTo>
                      <a:pt x="155" y="110"/>
                      <a:pt x="154" y="111"/>
                      <a:pt x="151" y="112"/>
                    </a:cubicBezTo>
                    <a:cubicBezTo>
                      <a:pt x="149" y="113"/>
                      <a:pt x="148" y="117"/>
                      <a:pt x="148" y="120"/>
                    </a:cubicBezTo>
                    <a:cubicBezTo>
                      <a:pt x="148" y="126"/>
                      <a:pt x="148" y="126"/>
                      <a:pt x="148" y="126"/>
                    </a:cubicBezTo>
                    <a:cubicBezTo>
                      <a:pt x="148" y="133"/>
                      <a:pt x="148" y="133"/>
                      <a:pt x="148" y="133"/>
                    </a:cubicBezTo>
                    <a:cubicBezTo>
                      <a:pt x="148" y="136"/>
                      <a:pt x="145" y="137"/>
                      <a:pt x="145" y="141"/>
                    </a:cubicBezTo>
                    <a:cubicBezTo>
                      <a:pt x="145" y="144"/>
                      <a:pt x="142" y="145"/>
                      <a:pt x="142" y="148"/>
                    </a:cubicBezTo>
                    <a:cubicBezTo>
                      <a:pt x="142" y="151"/>
                      <a:pt x="139" y="153"/>
                      <a:pt x="137" y="154"/>
                    </a:cubicBezTo>
                    <a:cubicBezTo>
                      <a:pt x="135" y="155"/>
                      <a:pt x="133" y="157"/>
                      <a:pt x="133" y="162"/>
                    </a:cubicBezTo>
                    <a:cubicBezTo>
                      <a:pt x="133" y="167"/>
                      <a:pt x="130" y="171"/>
                      <a:pt x="130" y="176"/>
                    </a:cubicBezTo>
                    <a:cubicBezTo>
                      <a:pt x="130" y="182"/>
                      <a:pt x="130" y="186"/>
                      <a:pt x="127" y="186"/>
                    </a:cubicBezTo>
                    <a:cubicBezTo>
                      <a:pt x="122" y="186"/>
                      <a:pt x="121" y="184"/>
                      <a:pt x="116" y="184"/>
                    </a:cubicBezTo>
                    <a:cubicBezTo>
                      <a:pt x="111" y="184"/>
                      <a:pt x="110" y="183"/>
                      <a:pt x="107" y="183"/>
                    </a:cubicBezTo>
                    <a:cubicBezTo>
                      <a:pt x="105" y="183"/>
                      <a:pt x="103" y="189"/>
                      <a:pt x="98" y="191"/>
                    </a:cubicBezTo>
                    <a:cubicBezTo>
                      <a:pt x="92" y="193"/>
                      <a:pt x="90" y="198"/>
                      <a:pt x="85" y="198"/>
                    </a:cubicBezTo>
                    <a:cubicBezTo>
                      <a:pt x="79" y="198"/>
                      <a:pt x="71" y="186"/>
                      <a:pt x="65" y="186"/>
                    </a:cubicBezTo>
                    <a:cubicBezTo>
                      <a:pt x="60" y="186"/>
                      <a:pt x="58" y="190"/>
                      <a:pt x="58" y="194"/>
                    </a:cubicBezTo>
                    <a:cubicBezTo>
                      <a:pt x="58" y="199"/>
                      <a:pt x="56" y="200"/>
                      <a:pt x="54" y="201"/>
                    </a:cubicBezTo>
                    <a:cubicBezTo>
                      <a:pt x="51" y="202"/>
                      <a:pt x="51" y="205"/>
                      <a:pt x="51" y="208"/>
                    </a:cubicBezTo>
                    <a:cubicBezTo>
                      <a:pt x="51" y="213"/>
                      <a:pt x="57" y="214"/>
                      <a:pt x="59" y="218"/>
                    </a:cubicBezTo>
                    <a:cubicBezTo>
                      <a:pt x="61" y="222"/>
                      <a:pt x="63" y="223"/>
                      <a:pt x="67" y="223"/>
                    </a:cubicBezTo>
                    <a:cubicBezTo>
                      <a:pt x="70" y="223"/>
                      <a:pt x="74" y="222"/>
                      <a:pt x="79" y="224"/>
                    </a:cubicBezTo>
                    <a:cubicBezTo>
                      <a:pt x="83" y="227"/>
                      <a:pt x="84" y="230"/>
                      <a:pt x="87" y="230"/>
                    </a:cubicBezTo>
                    <a:cubicBezTo>
                      <a:pt x="90" y="230"/>
                      <a:pt x="91" y="227"/>
                      <a:pt x="93" y="227"/>
                    </a:cubicBezTo>
                    <a:cubicBezTo>
                      <a:pt x="95" y="227"/>
                      <a:pt x="97" y="230"/>
                      <a:pt x="95" y="232"/>
                    </a:cubicBezTo>
                    <a:cubicBezTo>
                      <a:pt x="93" y="235"/>
                      <a:pt x="88" y="238"/>
                      <a:pt x="82" y="240"/>
                    </a:cubicBezTo>
                    <a:cubicBezTo>
                      <a:pt x="76" y="243"/>
                      <a:pt x="73" y="247"/>
                      <a:pt x="71" y="251"/>
                    </a:cubicBezTo>
                    <a:cubicBezTo>
                      <a:pt x="69" y="254"/>
                      <a:pt x="68" y="256"/>
                      <a:pt x="65" y="257"/>
                    </a:cubicBezTo>
                    <a:cubicBezTo>
                      <a:pt x="63" y="257"/>
                      <a:pt x="62" y="259"/>
                      <a:pt x="58" y="259"/>
                    </a:cubicBezTo>
                    <a:cubicBezTo>
                      <a:pt x="45" y="259"/>
                      <a:pt x="45" y="259"/>
                      <a:pt x="45" y="259"/>
                    </a:cubicBezTo>
                    <a:cubicBezTo>
                      <a:pt x="40" y="259"/>
                      <a:pt x="40" y="256"/>
                      <a:pt x="37" y="256"/>
                    </a:cubicBezTo>
                    <a:cubicBezTo>
                      <a:pt x="34" y="256"/>
                      <a:pt x="31" y="260"/>
                      <a:pt x="28" y="262"/>
                    </a:cubicBezTo>
                    <a:cubicBezTo>
                      <a:pt x="25" y="265"/>
                      <a:pt x="23" y="267"/>
                      <a:pt x="23" y="270"/>
                    </a:cubicBezTo>
                    <a:cubicBezTo>
                      <a:pt x="23" y="274"/>
                      <a:pt x="23" y="277"/>
                      <a:pt x="19" y="277"/>
                    </a:cubicBezTo>
                    <a:cubicBezTo>
                      <a:pt x="14" y="277"/>
                      <a:pt x="13" y="284"/>
                      <a:pt x="6" y="284"/>
                    </a:cubicBezTo>
                    <a:cubicBezTo>
                      <a:pt x="2" y="284"/>
                      <a:pt x="0" y="285"/>
                      <a:pt x="0" y="287"/>
                    </a:cubicBezTo>
                    <a:cubicBezTo>
                      <a:pt x="0" y="289"/>
                      <a:pt x="3" y="289"/>
                      <a:pt x="3" y="292"/>
                    </a:cubicBezTo>
                    <a:cubicBezTo>
                      <a:pt x="3" y="296"/>
                      <a:pt x="5" y="297"/>
                      <a:pt x="10" y="302"/>
                    </a:cubicBezTo>
                    <a:cubicBezTo>
                      <a:pt x="18" y="312"/>
                      <a:pt x="24" y="323"/>
                      <a:pt x="31" y="323"/>
                    </a:cubicBezTo>
                    <a:cubicBezTo>
                      <a:pt x="37" y="323"/>
                      <a:pt x="37" y="325"/>
                      <a:pt x="37" y="328"/>
                    </a:cubicBezTo>
                    <a:cubicBezTo>
                      <a:pt x="37" y="331"/>
                      <a:pt x="40" y="335"/>
                      <a:pt x="44" y="340"/>
                    </a:cubicBezTo>
                    <a:cubicBezTo>
                      <a:pt x="49" y="345"/>
                      <a:pt x="51" y="348"/>
                      <a:pt x="54" y="348"/>
                    </a:cubicBezTo>
                    <a:cubicBezTo>
                      <a:pt x="58" y="348"/>
                      <a:pt x="60" y="355"/>
                      <a:pt x="61" y="362"/>
                    </a:cubicBezTo>
                    <a:cubicBezTo>
                      <a:pt x="61" y="370"/>
                      <a:pt x="62" y="375"/>
                      <a:pt x="63" y="376"/>
                    </a:cubicBezTo>
                    <a:cubicBezTo>
                      <a:pt x="65" y="376"/>
                      <a:pt x="77" y="378"/>
                      <a:pt x="87" y="378"/>
                    </a:cubicBezTo>
                    <a:cubicBezTo>
                      <a:pt x="96" y="379"/>
                      <a:pt x="100" y="379"/>
                      <a:pt x="100" y="382"/>
                    </a:cubicBezTo>
                    <a:cubicBezTo>
                      <a:pt x="100" y="386"/>
                      <a:pt x="102" y="386"/>
                      <a:pt x="104" y="386"/>
                    </a:cubicBezTo>
                    <a:cubicBezTo>
                      <a:pt x="106" y="386"/>
                      <a:pt x="111" y="387"/>
                      <a:pt x="111" y="392"/>
                    </a:cubicBezTo>
                    <a:cubicBezTo>
                      <a:pt x="111" y="397"/>
                      <a:pt x="112" y="399"/>
                      <a:pt x="116" y="399"/>
                    </a:cubicBezTo>
                    <a:cubicBezTo>
                      <a:pt x="119" y="399"/>
                      <a:pt x="121" y="401"/>
                      <a:pt x="122" y="403"/>
                    </a:cubicBezTo>
                    <a:cubicBezTo>
                      <a:pt x="123" y="405"/>
                      <a:pt x="125" y="406"/>
                      <a:pt x="127" y="406"/>
                    </a:cubicBezTo>
                    <a:cubicBezTo>
                      <a:pt x="129" y="406"/>
                      <a:pt x="128" y="404"/>
                      <a:pt x="131" y="404"/>
                    </a:cubicBezTo>
                    <a:cubicBezTo>
                      <a:pt x="135" y="404"/>
                      <a:pt x="135" y="408"/>
                      <a:pt x="139" y="408"/>
                    </a:cubicBezTo>
                    <a:cubicBezTo>
                      <a:pt x="143" y="408"/>
                      <a:pt x="145" y="402"/>
                      <a:pt x="146" y="401"/>
                    </a:cubicBezTo>
                    <a:cubicBezTo>
                      <a:pt x="148" y="401"/>
                      <a:pt x="150" y="397"/>
                      <a:pt x="152" y="396"/>
                    </a:cubicBezTo>
                    <a:cubicBezTo>
                      <a:pt x="154" y="396"/>
                      <a:pt x="154" y="392"/>
                      <a:pt x="157" y="392"/>
                    </a:cubicBezTo>
                    <a:cubicBezTo>
                      <a:pt x="161" y="392"/>
                      <a:pt x="161" y="395"/>
                      <a:pt x="161" y="396"/>
                    </a:cubicBezTo>
                    <a:cubicBezTo>
                      <a:pt x="161" y="398"/>
                      <a:pt x="156" y="399"/>
                      <a:pt x="156" y="402"/>
                    </a:cubicBezTo>
                    <a:cubicBezTo>
                      <a:pt x="156" y="405"/>
                      <a:pt x="158" y="404"/>
                      <a:pt x="162" y="404"/>
                    </a:cubicBezTo>
                    <a:cubicBezTo>
                      <a:pt x="165" y="404"/>
                      <a:pt x="165" y="402"/>
                      <a:pt x="168" y="402"/>
                    </a:cubicBezTo>
                    <a:cubicBezTo>
                      <a:pt x="170" y="402"/>
                      <a:pt x="168" y="410"/>
                      <a:pt x="177" y="410"/>
                    </a:cubicBezTo>
                    <a:cubicBezTo>
                      <a:pt x="180" y="410"/>
                      <a:pt x="181" y="408"/>
                      <a:pt x="183" y="408"/>
                    </a:cubicBezTo>
                    <a:cubicBezTo>
                      <a:pt x="186" y="408"/>
                      <a:pt x="190" y="403"/>
                      <a:pt x="190" y="399"/>
                    </a:cubicBezTo>
                    <a:cubicBezTo>
                      <a:pt x="190" y="396"/>
                      <a:pt x="193" y="395"/>
                      <a:pt x="193" y="393"/>
                    </a:cubicBezTo>
                    <a:cubicBezTo>
                      <a:pt x="193" y="390"/>
                      <a:pt x="191" y="389"/>
                      <a:pt x="191" y="387"/>
                    </a:cubicBezTo>
                    <a:cubicBezTo>
                      <a:pt x="191" y="385"/>
                      <a:pt x="196" y="383"/>
                      <a:pt x="196" y="379"/>
                    </a:cubicBezTo>
                    <a:cubicBezTo>
                      <a:pt x="196" y="376"/>
                      <a:pt x="202" y="373"/>
                      <a:pt x="207" y="373"/>
                    </a:cubicBezTo>
                    <a:cubicBezTo>
                      <a:pt x="211" y="373"/>
                      <a:pt x="212" y="367"/>
                      <a:pt x="212" y="362"/>
                    </a:cubicBezTo>
                    <a:cubicBezTo>
                      <a:pt x="212" y="357"/>
                      <a:pt x="210" y="355"/>
                      <a:pt x="209" y="354"/>
                    </a:cubicBezTo>
                    <a:cubicBezTo>
                      <a:pt x="207" y="352"/>
                      <a:pt x="207" y="351"/>
                      <a:pt x="207" y="349"/>
                    </a:cubicBezTo>
                    <a:cubicBezTo>
                      <a:pt x="207" y="347"/>
                      <a:pt x="205" y="346"/>
                      <a:pt x="203" y="346"/>
                    </a:cubicBezTo>
                    <a:cubicBezTo>
                      <a:pt x="202" y="346"/>
                      <a:pt x="201" y="344"/>
                      <a:pt x="201" y="343"/>
                    </a:cubicBezTo>
                    <a:cubicBezTo>
                      <a:pt x="201" y="341"/>
                      <a:pt x="207" y="338"/>
                      <a:pt x="207" y="334"/>
                    </a:cubicBezTo>
                    <a:cubicBezTo>
                      <a:pt x="207" y="331"/>
                      <a:pt x="209" y="332"/>
                      <a:pt x="212" y="331"/>
                    </a:cubicBezTo>
                    <a:cubicBezTo>
                      <a:pt x="215" y="329"/>
                      <a:pt x="219" y="325"/>
                      <a:pt x="225" y="317"/>
                    </a:cubicBezTo>
                    <a:cubicBezTo>
                      <a:pt x="231" y="308"/>
                      <a:pt x="233" y="301"/>
                      <a:pt x="237" y="301"/>
                    </a:cubicBezTo>
                    <a:cubicBezTo>
                      <a:pt x="241" y="301"/>
                      <a:pt x="243" y="305"/>
                      <a:pt x="248" y="306"/>
                    </a:cubicBezTo>
                    <a:cubicBezTo>
                      <a:pt x="252" y="308"/>
                      <a:pt x="263" y="317"/>
                      <a:pt x="263" y="322"/>
                    </a:cubicBezTo>
                    <a:cubicBezTo>
                      <a:pt x="263" y="327"/>
                      <a:pt x="265" y="325"/>
                      <a:pt x="267" y="325"/>
                    </a:cubicBezTo>
                    <a:cubicBezTo>
                      <a:pt x="269" y="325"/>
                      <a:pt x="275" y="335"/>
                      <a:pt x="275" y="344"/>
                    </a:cubicBezTo>
                    <a:cubicBezTo>
                      <a:pt x="275" y="353"/>
                      <a:pt x="281" y="353"/>
                      <a:pt x="281" y="358"/>
                    </a:cubicBezTo>
                    <a:cubicBezTo>
                      <a:pt x="281" y="362"/>
                      <a:pt x="283" y="370"/>
                      <a:pt x="291" y="375"/>
                    </a:cubicBezTo>
                    <a:cubicBezTo>
                      <a:pt x="298" y="379"/>
                      <a:pt x="297" y="383"/>
                      <a:pt x="299" y="383"/>
                    </a:cubicBezTo>
                    <a:cubicBezTo>
                      <a:pt x="304" y="383"/>
                      <a:pt x="302" y="377"/>
                      <a:pt x="305" y="377"/>
                    </a:cubicBezTo>
                    <a:cubicBezTo>
                      <a:pt x="309" y="377"/>
                      <a:pt x="309" y="381"/>
                      <a:pt x="313" y="381"/>
                    </a:cubicBezTo>
                    <a:cubicBezTo>
                      <a:pt x="316" y="381"/>
                      <a:pt x="323" y="389"/>
                      <a:pt x="323" y="397"/>
                    </a:cubicBezTo>
                    <a:cubicBezTo>
                      <a:pt x="323" y="405"/>
                      <a:pt x="318" y="405"/>
                      <a:pt x="318" y="415"/>
                    </a:cubicBezTo>
                    <a:cubicBezTo>
                      <a:pt x="318" y="420"/>
                      <a:pt x="321" y="423"/>
                      <a:pt x="324" y="428"/>
                    </a:cubicBezTo>
                    <a:cubicBezTo>
                      <a:pt x="327" y="433"/>
                      <a:pt x="328" y="433"/>
                      <a:pt x="331" y="433"/>
                    </a:cubicBezTo>
                    <a:cubicBezTo>
                      <a:pt x="334" y="433"/>
                      <a:pt x="334" y="429"/>
                      <a:pt x="337" y="429"/>
                    </a:cubicBezTo>
                    <a:cubicBezTo>
                      <a:pt x="340" y="429"/>
                      <a:pt x="342" y="427"/>
                      <a:pt x="345" y="427"/>
                    </a:cubicBezTo>
                    <a:cubicBezTo>
                      <a:pt x="348" y="427"/>
                      <a:pt x="347" y="428"/>
                      <a:pt x="349" y="428"/>
                    </a:cubicBezTo>
                    <a:cubicBezTo>
                      <a:pt x="353" y="428"/>
                      <a:pt x="355" y="420"/>
                      <a:pt x="359" y="420"/>
                    </a:cubicBezTo>
                    <a:cubicBezTo>
                      <a:pt x="362" y="420"/>
                      <a:pt x="363" y="426"/>
                      <a:pt x="366" y="426"/>
                    </a:cubicBezTo>
                    <a:cubicBezTo>
                      <a:pt x="369" y="426"/>
                      <a:pt x="370" y="424"/>
                      <a:pt x="373" y="424"/>
                    </a:cubicBezTo>
                    <a:cubicBezTo>
                      <a:pt x="377" y="424"/>
                      <a:pt x="382" y="422"/>
                      <a:pt x="382" y="419"/>
                    </a:cubicBezTo>
                    <a:cubicBezTo>
                      <a:pt x="382" y="415"/>
                      <a:pt x="383" y="414"/>
                      <a:pt x="386" y="414"/>
                    </a:cubicBezTo>
                    <a:cubicBezTo>
                      <a:pt x="392" y="414"/>
                      <a:pt x="393" y="408"/>
                      <a:pt x="396" y="408"/>
                    </a:cubicBezTo>
                    <a:cubicBezTo>
                      <a:pt x="400" y="408"/>
                      <a:pt x="400" y="414"/>
                      <a:pt x="400" y="414"/>
                    </a:cubicBezTo>
                    <a:cubicBezTo>
                      <a:pt x="410" y="414"/>
                      <a:pt x="410" y="414"/>
                      <a:pt x="410" y="414"/>
                    </a:cubicBezTo>
                    <a:cubicBezTo>
                      <a:pt x="416" y="414"/>
                      <a:pt x="413" y="422"/>
                      <a:pt x="420" y="422"/>
                    </a:cubicBezTo>
                    <a:cubicBezTo>
                      <a:pt x="425" y="422"/>
                      <a:pt x="427" y="424"/>
                      <a:pt x="432" y="424"/>
                    </a:cubicBezTo>
                    <a:cubicBezTo>
                      <a:pt x="437" y="424"/>
                      <a:pt x="438" y="428"/>
                      <a:pt x="435" y="428"/>
                    </a:cubicBezTo>
                    <a:cubicBezTo>
                      <a:pt x="433" y="428"/>
                      <a:pt x="430" y="429"/>
                      <a:pt x="430" y="431"/>
                    </a:cubicBezTo>
                    <a:cubicBezTo>
                      <a:pt x="430" y="433"/>
                      <a:pt x="432" y="435"/>
                      <a:pt x="434" y="435"/>
                    </a:cubicBezTo>
                    <a:cubicBezTo>
                      <a:pt x="436" y="435"/>
                      <a:pt x="436" y="436"/>
                      <a:pt x="442" y="436"/>
                    </a:cubicBezTo>
                    <a:cubicBezTo>
                      <a:pt x="448" y="436"/>
                      <a:pt x="448" y="431"/>
                      <a:pt x="451" y="430"/>
                    </a:cubicBezTo>
                    <a:cubicBezTo>
                      <a:pt x="455" y="429"/>
                      <a:pt x="454" y="425"/>
                      <a:pt x="458" y="424"/>
                    </a:cubicBezTo>
                    <a:cubicBezTo>
                      <a:pt x="462" y="423"/>
                      <a:pt x="463" y="421"/>
                      <a:pt x="466" y="419"/>
                    </a:cubicBezTo>
                    <a:cubicBezTo>
                      <a:pt x="469" y="416"/>
                      <a:pt x="469" y="416"/>
                      <a:pt x="474" y="412"/>
                    </a:cubicBezTo>
                    <a:cubicBezTo>
                      <a:pt x="479" y="409"/>
                      <a:pt x="478" y="404"/>
                      <a:pt x="479" y="399"/>
                    </a:cubicBezTo>
                    <a:cubicBezTo>
                      <a:pt x="481" y="393"/>
                      <a:pt x="483" y="387"/>
                      <a:pt x="483" y="382"/>
                    </a:cubicBezTo>
                    <a:cubicBezTo>
                      <a:pt x="483" y="377"/>
                      <a:pt x="481" y="374"/>
                      <a:pt x="481" y="371"/>
                    </a:cubicBezTo>
                    <a:cubicBezTo>
                      <a:pt x="481" y="369"/>
                      <a:pt x="481" y="366"/>
                      <a:pt x="486" y="361"/>
                    </a:cubicBezTo>
                    <a:cubicBezTo>
                      <a:pt x="491" y="357"/>
                      <a:pt x="494" y="357"/>
                      <a:pt x="500" y="357"/>
                    </a:cubicBezTo>
                    <a:cubicBezTo>
                      <a:pt x="505" y="357"/>
                      <a:pt x="506" y="354"/>
                      <a:pt x="509" y="354"/>
                    </a:cubicBezTo>
                    <a:cubicBezTo>
                      <a:pt x="513" y="354"/>
                      <a:pt x="513" y="356"/>
                      <a:pt x="518" y="356"/>
                    </a:cubicBezTo>
                    <a:cubicBezTo>
                      <a:pt x="522" y="356"/>
                      <a:pt x="524" y="362"/>
                      <a:pt x="527" y="362"/>
                    </a:cubicBezTo>
                    <a:cubicBezTo>
                      <a:pt x="531" y="362"/>
                      <a:pt x="530" y="356"/>
                      <a:pt x="531" y="354"/>
                    </a:cubicBezTo>
                    <a:cubicBezTo>
                      <a:pt x="533" y="352"/>
                      <a:pt x="535" y="354"/>
                      <a:pt x="537" y="353"/>
                    </a:cubicBezTo>
                    <a:cubicBezTo>
                      <a:pt x="538" y="351"/>
                      <a:pt x="539" y="348"/>
                      <a:pt x="542" y="345"/>
                    </a:cubicBezTo>
                    <a:cubicBezTo>
                      <a:pt x="546" y="342"/>
                      <a:pt x="546" y="340"/>
                      <a:pt x="546" y="337"/>
                    </a:cubicBezTo>
                    <a:cubicBezTo>
                      <a:pt x="547" y="333"/>
                      <a:pt x="551" y="331"/>
                      <a:pt x="551" y="329"/>
                    </a:cubicBezTo>
                    <a:cubicBezTo>
                      <a:pt x="551" y="327"/>
                      <a:pt x="550" y="326"/>
                      <a:pt x="550" y="320"/>
                    </a:cubicBezTo>
                    <a:cubicBezTo>
                      <a:pt x="550" y="315"/>
                      <a:pt x="547" y="311"/>
                      <a:pt x="545" y="310"/>
                    </a:cubicBezTo>
                    <a:cubicBezTo>
                      <a:pt x="542" y="309"/>
                      <a:pt x="544" y="305"/>
                      <a:pt x="539" y="305"/>
                    </a:cubicBezTo>
                    <a:cubicBezTo>
                      <a:pt x="535" y="305"/>
                      <a:pt x="531" y="312"/>
                      <a:pt x="526" y="312"/>
                    </a:cubicBezTo>
                    <a:cubicBezTo>
                      <a:pt x="523" y="312"/>
                      <a:pt x="520" y="314"/>
                      <a:pt x="519" y="316"/>
                    </a:cubicBezTo>
                    <a:cubicBezTo>
                      <a:pt x="517" y="318"/>
                      <a:pt x="515" y="320"/>
                      <a:pt x="515" y="316"/>
                    </a:cubicBezTo>
                    <a:cubicBezTo>
                      <a:pt x="515" y="313"/>
                      <a:pt x="519" y="310"/>
                      <a:pt x="523" y="307"/>
                    </a:cubicBezTo>
                    <a:cubicBezTo>
                      <a:pt x="527" y="304"/>
                      <a:pt x="528" y="300"/>
                      <a:pt x="528" y="298"/>
                    </a:cubicBezTo>
                    <a:cubicBezTo>
                      <a:pt x="528" y="296"/>
                      <a:pt x="529" y="292"/>
                      <a:pt x="529" y="288"/>
                    </a:cubicBezTo>
                    <a:cubicBezTo>
                      <a:pt x="529" y="283"/>
                      <a:pt x="530" y="282"/>
                      <a:pt x="530" y="280"/>
                    </a:cubicBezTo>
                    <a:cubicBezTo>
                      <a:pt x="530" y="277"/>
                      <a:pt x="526" y="278"/>
                      <a:pt x="526" y="271"/>
                    </a:cubicBezTo>
                    <a:cubicBezTo>
                      <a:pt x="526" y="267"/>
                      <a:pt x="525" y="265"/>
                      <a:pt x="522" y="265"/>
                    </a:cubicBezTo>
                    <a:cubicBezTo>
                      <a:pt x="519" y="265"/>
                      <a:pt x="518" y="264"/>
                      <a:pt x="518" y="262"/>
                    </a:cubicBezTo>
                    <a:cubicBezTo>
                      <a:pt x="518" y="261"/>
                      <a:pt x="520" y="260"/>
                      <a:pt x="521" y="259"/>
                    </a:cubicBezTo>
                    <a:cubicBezTo>
                      <a:pt x="522" y="258"/>
                      <a:pt x="523" y="256"/>
                      <a:pt x="519" y="256"/>
                    </a:cubicBezTo>
                    <a:cubicBezTo>
                      <a:pt x="517" y="256"/>
                      <a:pt x="513" y="252"/>
                      <a:pt x="513" y="250"/>
                    </a:cubicBezTo>
                    <a:cubicBezTo>
                      <a:pt x="513" y="248"/>
                      <a:pt x="514" y="247"/>
                      <a:pt x="514" y="243"/>
                    </a:cubicBezTo>
                    <a:cubicBezTo>
                      <a:pt x="514" y="240"/>
                      <a:pt x="513" y="237"/>
                      <a:pt x="517" y="237"/>
                    </a:cubicBezTo>
                    <a:cubicBezTo>
                      <a:pt x="521" y="237"/>
                      <a:pt x="531" y="245"/>
                      <a:pt x="534" y="248"/>
                    </a:cubicBezTo>
                    <a:cubicBezTo>
                      <a:pt x="537" y="252"/>
                      <a:pt x="537" y="254"/>
                      <a:pt x="539" y="254"/>
                    </a:cubicBezTo>
                    <a:cubicBezTo>
                      <a:pt x="543" y="254"/>
                      <a:pt x="547" y="266"/>
                      <a:pt x="547" y="270"/>
                    </a:cubicBezTo>
                    <a:cubicBezTo>
                      <a:pt x="547" y="275"/>
                      <a:pt x="548" y="275"/>
                      <a:pt x="548" y="279"/>
                    </a:cubicBezTo>
                    <a:cubicBezTo>
                      <a:pt x="548" y="287"/>
                      <a:pt x="541" y="286"/>
                      <a:pt x="541" y="297"/>
                    </a:cubicBezTo>
                    <a:cubicBezTo>
                      <a:pt x="541" y="303"/>
                      <a:pt x="547" y="306"/>
                      <a:pt x="549" y="313"/>
                    </a:cubicBezTo>
                    <a:cubicBezTo>
                      <a:pt x="550" y="317"/>
                      <a:pt x="554" y="323"/>
                      <a:pt x="556" y="323"/>
                    </a:cubicBezTo>
                    <a:cubicBezTo>
                      <a:pt x="559" y="323"/>
                      <a:pt x="559" y="320"/>
                      <a:pt x="559" y="318"/>
                    </a:cubicBezTo>
                    <a:cubicBezTo>
                      <a:pt x="559" y="316"/>
                      <a:pt x="562" y="315"/>
                      <a:pt x="562" y="313"/>
                    </a:cubicBezTo>
                    <a:cubicBezTo>
                      <a:pt x="562" y="311"/>
                      <a:pt x="559" y="308"/>
                      <a:pt x="562" y="307"/>
                    </a:cubicBezTo>
                    <a:cubicBezTo>
                      <a:pt x="565" y="305"/>
                      <a:pt x="566" y="302"/>
                      <a:pt x="566" y="299"/>
                    </a:cubicBezTo>
                    <a:cubicBezTo>
                      <a:pt x="566" y="296"/>
                      <a:pt x="567" y="294"/>
                      <a:pt x="564" y="291"/>
                    </a:cubicBezTo>
                    <a:cubicBezTo>
                      <a:pt x="562" y="288"/>
                      <a:pt x="565" y="287"/>
                      <a:pt x="566" y="285"/>
                    </a:cubicBezTo>
                    <a:cubicBezTo>
                      <a:pt x="568" y="283"/>
                      <a:pt x="565" y="283"/>
                      <a:pt x="568" y="280"/>
                    </a:cubicBezTo>
                    <a:cubicBezTo>
                      <a:pt x="571" y="276"/>
                      <a:pt x="569" y="273"/>
                      <a:pt x="570" y="270"/>
                    </a:cubicBezTo>
                    <a:cubicBezTo>
                      <a:pt x="571" y="267"/>
                      <a:pt x="570" y="265"/>
                      <a:pt x="568" y="265"/>
                    </a:cubicBezTo>
                    <a:cubicBezTo>
                      <a:pt x="565" y="265"/>
                      <a:pt x="563" y="263"/>
                      <a:pt x="563" y="261"/>
                    </a:cubicBezTo>
                    <a:cubicBezTo>
                      <a:pt x="563" y="258"/>
                      <a:pt x="561" y="256"/>
                      <a:pt x="561" y="253"/>
                    </a:cubicBezTo>
                    <a:cubicBezTo>
                      <a:pt x="561" y="250"/>
                      <a:pt x="560" y="246"/>
                      <a:pt x="560" y="242"/>
                    </a:cubicBezTo>
                    <a:cubicBezTo>
                      <a:pt x="560" y="237"/>
                      <a:pt x="557" y="234"/>
                      <a:pt x="553" y="230"/>
                    </a:cubicBezTo>
                    <a:cubicBezTo>
                      <a:pt x="549" y="226"/>
                      <a:pt x="548" y="221"/>
                      <a:pt x="548" y="215"/>
                    </a:cubicBezTo>
                    <a:cubicBezTo>
                      <a:pt x="548" y="210"/>
                      <a:pt x="545" y="206"/>
                      <a:pt x="542" y="204"/>
                    </a:cubicBezTo>
                    <a:cubicBezTo>
                      <a:pt x="539" y="202"/>
                      <a:pt x="538" y="198"/>
                      <a:pt x="535" y="198"/>
                    </a:cubicBezTo>
                    <a:cubicBezTo>
                      <a:pt x="525" y="198"/>
                      <a:pt x="525" y="198"/>
                      <a:pt x="525" y="198"/>
                    </a:cubicBezTo>
                    <a:cubicBezTo>
                      <a:pt x="520" y="198"/>
                      <a:pt x="519" y="202"/>
                      <a:pt x="514" y="202"/>
                    </a:cubicBezTo>
                    <a:cubicBezTo>
                      <a:pt x="510" y="202"/>
                      <a:pt x="507" y="200"/>
                      <a:pt x="503" y="200"/>
                    </a:cubicBezTo>
                    <a:cubicBezTo>
                      <a:pt x="499" y="200"/>
                      <a:pt x="499" y="204"/>
                      <a:pt x="496" y="204"/>
                    </a:cubicBezTo>
                    <a:cubicBezTo>
                      <a:pt x="493" y="204"/>
                      <a:pt x="491" y="205"/>
                      <a:pt x="487" y="209"/>
                    </a:cubicBezTo>
                    <a:cubicBezTo>
                      <a:pt x="482" y="213"/>
                      <a:pt x="478" y="218"/>
                      <a:pt x="476" y="222"/>
                    </a:cubicBezTo>
                    <a:cubicBezTo>
                      <a:pt x="474" y="225"/>
                      <a:pt x="474" y="227"/>
                      <a:pt x="472" y="227"/>
                    </a:cubicBezTo>
                    <a:cubicBezTo>
                      <a:pt x="470" y="227"/>
                      <a:pt x="469" y="227"/>
                      <a:pt x="469" y="223"/>
                    </a:cubicBezTo>
                    <a:cubicBezTo>
                      <a:pt x="469" y="220"/>
                      <a:pt x="467" y="220"/>
                      <a:pt x="467" y="216"/>
                    </a:cubicBezTo>
                    <a:cubicBezTo>
                      <a:pt x="467" y="213"/>
                      <a:pt x="469" y="209"/>
                      <a:pt x="471" y="204"/>
                    </a:cubicBezTo>
                    <a:cubicBezTo>
                      <a:pt x="473" y="199"/>
                      <a:pt x="476" y="195"/>
                      <a:pt x="480" y="194"/>
                    </a:cubicBezTo>
                    <a:cubicBezTo>
                      <a:pt x="483" y="194"/>
                      <a:pt x="485" y="191"/>
                      <a:pt x="489" y="188"/>
                    </a:cubicBezTo>
                    <a:cubicBezTo>
                      <a:pt x="493" y="186"/>
                      <a:pt x="496" y="184"/>
                      <a:pt x="500" y="184"/>
                    </a:cubicBezTo>
                    <a:cubicBezTo>
                      <a:pt x="505" y="184"/>
                      <a:pt x="510" y="176"/>
                      <a:pt x="513" y="172"/>
                    </a:cubicBezTo>
                    <a:cubicBezTo>
                      <a:pt x="515" y="167"/>
                      <a:pt x="513" y="163"/>
                      <a:pt x="513" y="157"/>
                    </a:cubicBezTo>
                    <a:cubicBezTo>
                      <a:pt x="513" y="151"/>
                      <a:pt x="510" y="147"/>
                      <a:pt x="507" y="143"/>
                    </a:cubicBezTo>
                    <a:cubicBezTo>
                      <a:pt x="504" y="138"/>
                      <a:pt x="500" y="136"/>
                      <a:pt x="496" y="136"/>
                    </a:cubicBezTo>
                    <a:cubicBezTo>
                      <a:pt x="493" y="136"/>
                      <a:pt x="490" y="137"/>
                      <a:pt x="490" y="140"/>
                    </a:cubicBezTo>
                    <a:cubicBezTo>
                      <a:pt x="490" y="144"/>
                      <a:pt x="501" y="151"/>
                      <a:pt x="503" y="154"/>
                    </a:cubicBezTo>
                    <a:cubicBezTo>
                      <a:pt x="506" y="158"/>
                      <a:pt x="507" y="162"/>
                      <a:pt x="505" y="162"/>
                    </a:cubicBezTo>
                    <a:cubicBezTo>
                      <a:pt x="503" y="162"/>
                      <a:pt x="504" y="159"/>
                      <a:pt x="502" y="156"/>
                    </a:cubicBezTo>
                    <a:cubicBezTo>
                      <a:pt x="500" y="154"/>
                      <a:pt x="499" y="152"/>
                      <a:pt x="493" y="152"/>
                    </a:cubicBezTo>
                    <a:cubicBezTo>
                      <a:pt x="485" y="152"/>
                      <a:pt x="487" y="144"/>
                      <a:pt x="487" y="138"/>
                    </a:cubicBezTo>
                    <a:cubicBezTo>
                      <a:pt x="487" y="133"/>
                      <a:pt x="485" y="131"/>
                      <a:pt x="482" y="128"/>
                    </a:cubicBezTo>
                    <a:cubicBezTo>
                      <a:pt x="480" y="126"/>
                      <a:pt x="480" y="122"/>
                      <a:pt x="478" y="121"/>
                    </a:cubicBezTo>
                    <a:cubicBezTo>
                      <a:pt x="476" y="119"/>
                      <a:pt x="472" y="118"/>
                      <a:pt x="472" y="116"/>
                    </a:cubicBezTo>
                    <a:cubicBezTo>
                      <a:pt x="472" y="113"/>
                      <a:pt x="471" y="111"/>
                      <a:pt x="468" y="106"/>
                    </a:cubicBezTo>
                    <a:cubicBezTo>
                      <a:pt x="464" y="100"/>
                      <a:pt x="462" y="96"/>
                      <a:pt x="460" y="96"/>
                    </a:cubicBezTo>
                    <a:cubicBezTo>
                      <a:pt x="457" y="96"/>
                      <a:pt x="456" y="96"/>
                      <a:pt x="454" y="94"/>
                    </a:cubicBezTo>
                    <a:cubicBezTo>
                      <a:pt x="452" y="92"/>
                      <a:pt x="448" y="94"/>
                      <a:pt x="448" y="90"/>
                    </a:cubicBezTo>
                    <a:cubicBezTo>
                      <a:pt x="448" y="85"/>
                      <a:pt x="453" y="84"/>
                      <a:pt x="453" y="74"/>
                    </a:cubicBezTo>
                    <a:cubicBezTo>
                      <a:pt x="453" y="69"/>
                      <a:pt x="450" y="66"/>
                      <a:pt x="447" y="66"/>
                    </a:cubicBezTo>
                    <a:cubicBezTo>
                      <a:pt x="444" y="66"/>
                      <a:pt x="444" y="64"/>
                      <a:pt x="441" y="64"/>
                    </a:cubicBezTo>
                    <a:cubicBezTo>
                      <a:pt x="437" y="64"/>
                      <a:pt x="438" y="67"/>
                      <a:pt x="436" y="67"/>
                    </a:cubicBezTo>
                    <a:cubicBezTo>
                      <a:pt x="434" y="67"/>
                      <a:pt x="434" y="67"/>
                      <a:pt x="434" y="61"/>
                    </a:cubicBezTo>
                    <a:cubicBezTo>
                      <a:pt x="434" y="56"/>
                      <a:pt x="436" y="51"/>
                      <a:pt x="436" y="45"/>
                    </a:cubicBezTo>
                    <a:cubicBezTo>
                      <a:pt x="436" y="39"/>
                      <a:pt x="436" y="38"/>
                      <a:pt x="437" y="33"/>
                    </a:cubicBezTo>
                    <a:cubicBezTo>
                      <a:pt x="438" y="28"/>
                      <a:pt x="436" y="26"/>
                      <a:pt x="434" y="23"/>
                    </a:cubicBezTo>
                    <a:cubicBezTo>
                      <a:pt x="431" y="21"/>
                      <a:pt x="432" y="17"/>
                      <a:pt x="429" y="15"/>
                    </a:cubicBezTo>
                    <a:cubicBezTo>
                      <a:pt x="425" y="13"/>
                      <a:pt x="425" y="11"/>
                      <a:pt x="422" y="10"/>
                    </a:cubicBezTo>
                    <a:cubicBezTo>
                      <a:pt x="418" y="10"/>
                      <a:pt x="416" y="7"/>
                      <a:pt x="411" y="7"/>
                    </a:cubicBezTo>
                    <a:cubicBezTo>
                      <a:pt x="406" y="7"/>
                      <a:pt x="405" y="11"/>
                      <a:pt x="402" y="11"/>
                    </a:cubicBezTo>
                    <a:cubicBezTo>
                      <a:pt x="399" y="11"/>
                      <a:pt x="398" y="14"/>
                      <a:pt x="395" y="14"/>
                    </a:cubicBezTo>
                    <a:cubicBezTo>
                      <a:pt x="393" y="14"/>
                      <a:pt x="392" y="12"/>
                      <a:pt x="389" y="9"/>
                    </a:cubicBezTo>
                    <a:cubicBezTo>
                      <a:pt x="385" y="6"/>
                      <a:pt x="382" y="6"/>
                      <a:pt x="377" y="6"/>
                    </a:cubicBezTo>
                    <a:cubicBezTo>
                      <a:pt x="372" y="6"/>
                      <a:pt x="371" y="1"/>
                      <a:pt x="367" y="1"/>
                    </a:cubicBezTo>
                    <a:cubicBezTo>
                      <a:pt x="363" y="1"/>
                      <a:pt x="360" y="4"/>
                      <a:pt x="356" y="4"/>
                    </a:cubicBezTo>
                    <a:cubicBezTo>
                      <a:pt x="347" y="4"/>
                      <a:pt x="346" y="0"/>
                      <a:pt x="342" y="0"/>
                    </a:cubicBezTo>
                    <a:cubicBezTo>
                      <a:pt x="339" y="0"/>
                      <a:pt x="338" y="4"/>
                      <a:pt x="335" y="6"/>
                    </a:cubicBezTo>
                    <a:cubicBezTo>
                      <a:pt x="331" y="7"/>
                      <a:pt x="330" y="11"/>
                      <a:pt x="328" y="11"/>
                    </a:cubicBezTo>
                    <a:cubicBezTo>
                      <a:pt x="325" y="11"/>
                      <a:pt x="322" y="15"/>
                      <a:pt x="315" y="15"/>
                    </a:cubicBezTo>
                    <a:cubicBezTo>
                      <a:pt x="307" y="15"/>
                      <a:pt x="306" y="20"/>
                      <a:pt x="301" y="20"/>
                    </a:cubicBezTo>
                    <a:cubicBezTo>
                      <a:pt x="295" y="20"/>
                      <a:pt x="291" y="27"/>
                      <a:pt x="291" y="27"/>
                    </a:cubicBezTo>
                    <a:cubicBezTo>
                      <a:pt x="284" y="27"/>
                      <a:pt x="284" y="27"/>
                      <a:pt x="284" y="27"/>
                    </a:cubicBezTo>
                    <a:cubicBezTo>
                      <a:pt x="280" y="27"/>
                      <a:pt x="277" y="29"/>
                      <a:pt x="266" y="29"/>
                    </a:cubicBezTo>
                    <a:cubicBezTo>
                      <a:pt x="256" y="29"/>
                      <a:pt x="251" y="22"/>
                      <a:pt x="247" y="22"/>
                    </a:cubicBezTo>
                    <a:cubicBezTo>
                      <a:pt x="244" y="22"/>
                      <a:pt x="245" y="29"/>
                      <a:pt x="245" y="33"/>
                    </a:cubicBezTo>
                    <a:cubicBezTo>
                      <a:pt x="245" y="36"/>
                      <a:pt x="242" y="40"/>
                      <a:pt x="242" y="44"/>
                    </a:cubicBezTo>
                    <a:cubicBezTo>
                      <a:pt x="242" y="47"/>
                      <a:pt x="239" y="53"/>
                      <a:pt x="236" y="56"/>
                    </a:cubicBezTo>
                    <a:cubicBezTo>
                      <a:pt x="233" y="58"/>
                      <a:pt x="234" y="62"/>
                      <a:pt x="234" y="65"/>
                    </a:cubicBezTo>
                    <a:cubicBezTo>
                      <a:pt x="234" y="68"/>
                      <a:pt x="230" y="77"/>
                      <a:pt x="219" y="77"/>
                    </a:cubicBezTo>
                    <a:cubicBezTo>
                      <a:pt x="208" y="77"/>
                      <a:pt x="207" y="70"/>
                      <a:pt x="202" y="70"/>
                    </a:cubicBezTo>
                    <a:cubicBezTo>
                      <a:pt x="198" y="70"/>
                      <a:pt x="192" y="74"/>
                      <a:pt x="190" y="74"/>
                    </a:cubicBezTo>
                    <a:cubicBezTo>
                      <a:pt x="188" y="74"/>
                      <a:pt x="188" y="73"/>
                      <a:pt x="187" y="71"/>
                    </a:cubicBezTo>
                  </a:path>
                </a:pathLst>
              </a:custGeom>
              <a:noFill/>
              <a:ln w="3175" cap="rnd">
                <a:solidFill>
                  <a:schemeClr val="tx2">
                    <a:lumMod val="75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dirty="0"/>
              </a:p>
            </p:txBody>
          </p:sp>
        </p:grpSp>
      </p:grpSp>
      <p:graphicFrame>
        <p:nvGraphicFramePr>
          <p:cNvPr id="7" name="Chart 6"/>
          <p:cNvGraphicFramePr/>
          <p:nvPr>
            <p:extLst/>
          </p:nvPr>
        </p:nvGraphicFramePr>
        <p:xfrm>
          <a:off x="539260" y="1473889"/>
          <a:ext cx="4247198" cy="3952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1" name="Oval 50"/>
          <p:cNvSpPr/>
          <p:nvPr/>
        </p:nvSpPr>
        <p:spPr>
          <a:xfrm>
            <a:off x="6765771" y="1818640"/>
            <a:ext cx="946262" cy="946628"/>
          </a:xfrm>
          <a:prstGeom prst="ellipse">
            <a:avLst/>
          </a:prstGeom>
          <a:gradFill>
            <a:gsLst>
              <a:gs pos="81000">
                <a:schemeClr val="bg2">
                  <a:lumMod val="75000"/>
                </a:schemeClr>
              </a:gs>
              <a:gs pos="0">
                <a:schemeClr val="bg2"/>
              </a:gs>
            </a:gsLst>
            <a:lin ang="10800000" scaled="1"/>
          </a:gradFill>
          <a:ln w="19050">
            <a:solidFill>
              <a:schemeClr val="bg1">
                <a:lumMod val="95000"/>
              </a:schemeClr>
            </a:solidFill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North</a:t>
            </a:r>
          </a:p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West</a:t>
            </a:r>
          </a:p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+9</a:t>
            </a: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%</a:t>
            </a:r>
            <a:endParaRPr kumimoji="0" lang="en-IE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3" name="Oval 52"/>
          <p:cNvSpPr/>
          <p:nvPr/>
        </p:nvSpPr>
        <p:spPr>
          <a:xfrm>
            <a:off x="5947590" y="2904902"/>
            <a:ext cx="946262" cy="946628"/>
          </a:xfrm>
          <a:prstGeom prst="ellipse">
            <a:avLst/>
          </a:prstGeom>
          <a:gradFill>
            <a:gsLst>
              <a:gs pos="81000">
                <a:schemeClr val="bg2">
                  <a:lumMod val="75000"/>
                </a:schemeClr>
              </a:gs>
              <a:gs pos="0">
                <a:schemeClr val="bg2"/>
              </a:gs>
            </a:gsLst>
            <a:lin ang="10800000" scaled="1"/>
          </a:gradFill>
          <a:ln w="19050">
            <a:solidFill>
              <a:schemeClr val="bg1">
                <a:lumMod val="95000"/>
              </a:schemeClr>
            </a:solidFill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West</a:t>
            </a:r>
          </a:p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+5</a:t>
            </a: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%</a:t>
            </a:r>
            <a:endParaRPr kumimoji="0" lang="en-IE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4" name="Oval 53"/>
          <p:cNvSpPr/>
          <p:nvPr/>
        </p:nvSpPr>
        <p:spPr>
          <a:xfrm>
            <a:off x="6346607" y="4470361"/>
            <a:ext cx="946262" cy="946628"/>
          </a:xfrm>
          <a:prstGeom prst="ellipse">
            <a:avLst/>
          </a:prstGeom>
          <a:gradFill>
            <a:gsLst>
              <a:gs pos="81000">
                <a:schemeClr val="bg2">
                  <a:lumMod val="75000"/>
                </a:schemeClr>
              </a:gs>
              <a:gs pos="0">
                <a:schemeClr val="bg2"/>
              </a:gs>
            </a:gsLst>
            <a:lin ang="10800000" scaled="1"/>
          </a:gradFill>
          <a:ln w="19050">
            <a:solidFill>
              <a:schemeClr val="bg1">
                <a:lumMod val="95000"/>
              </a:schemeClr>
            </a:solidFill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Mid West</a:t>
            </a:r>
          </a:p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+5</a:t>
            </a: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%</a:t>
            </a:r>
            <a:endParaRPr kumimoji="0" lang="en-IE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5" name="Oval 54"/>
          <p:cNvSpPr/>
          <p:nvPr/>
        </p:nvSpPr>
        <p:spPr>
          <a:xfrm>
            <a:off x="6438984" y="5802706"/>
            <a:ext cx="946262" cy="946628"/>
          </a:xfrm>
          <a:prstGeom prst="ellipse">
            <a:avLst/>
          </a:prstGeom>
          <a:gradFill>
            <a:gsLst>
              <a:gs pos="81000">
                <a:schemeClr val="bg2">
                  <a:lumMod val="75000"/>
                </a:schemeClr>
              </a:gs>
              <a:gs pos="0">
                <a:schemeClr val="bg2"/>
              </a:gs>
            </a:gsLst>
            <a:lin ang="10800000" scaled="1"/>
          </a:gradFill>
          <a:ln w="19050">
            <a:solidFill>
              <a:schemeClr val="bg1">
                <a:lumMod val="95000"/>
              </a:schemeClr>
            </a:solidFill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South</a:t>
            </a:r>
          </a:p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+2</a:t>
            </a: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%</a:t>
            </a:r>
            <a:endParaRPr kumimoji="0" lang="en-IE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6" name="Oval 55"/>
          <p:cNvSpPr/>
          <p:nvPr/>
        </p:nvSpPr>
        <p:spPr>
          <a:xfrm>
            <a:off x="8086390" y="5095814"/>
            <a:ext cx="946262" cy="946628"/>
          </a:xfrm>
          <a:prstGeom prst="ellipse">
            <a:avLst/>
          </a:prstGeom>
          <a:gradFill>
            <a:gsLst>
              <a:gs pos="81000">
                <a:schemeClr val="bg2">
                  <a:lumMod val="75000"/>
                </a:schemeClr>
              </a:gs>
              <a:gs pos="0">
                <a:schemeClr val="bg2"/>
              </a:gs>
            </a:gsLst>
            <a:lin ang="10800000" scaled="1"/>
          </a:gradFill>
          <a:ln w="19050">
            <a:solidFill>
              <a:schemeClr val="bg1">
                <a:lumMod val="95000"/>
              </a:schemeClr>
            </a:solidFill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South East</a:t>
            </a:r>
          </a:p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+5</a:t>
            </a: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%</a:t>
            </a:r>
            <a:endParaRPr kumimoji="0" lang="en-IE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7" name="Oval 56"/>
          <p:cNvSpPr/>
          <p:nvPr/>
        </p:nvSpPr>
        <p:spPr>
          <a:xfrm>
            <a:off x="7583167" y="4148084"/>
            <a:ext cx="946262" cy="932525"/>
          </a:xfrm>
          <a:prstGeom prst="ellipse">
            <a:avLst/>
          </a:prstGeom>
          <a:gradFill>
            <a:gsLst>
              <a:gs pos="81000">
                <a:schemeClr val="bg2">
                  <a:lumMod val="75000"/>
                </a:schemeClr>
              </a:gs>
              <a:gs pos="0">
                <a:schemeClr val="bg2"/>
              </a:gs>
            </a:gsLst>
            <a:lin ang="10800000" scaled="1"/>
          </a:gradFill>
          <a:ln w="19050">
            <a:solidFill>
              <a:schemeClr val="bg1">
                <a:lumMod val="95000"/>
              </a:schemeClr>
            </a:solidFill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Mid East</a:t>
            </a:r>
          </a:p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+2</a:t>
            </a: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%</a:t>
            </a:r>
            <a:endParaRPr kumimoji="0" lang="en-IE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8" name="Oval 57"/>
          <p:cNvSpPr/>
          <p:nvPr/>
        </p:nvSpPr>
        <p:spPr>
          <a:xfrm>
            <a:off x="7144777" y="3097388"/>
            <a:ext cx="946262" cy="946628"/>
          </a:xfrm>
          <a:prstGeom prst="ellipse">
            <a:avLst/>
          </a:prstGeom>
          <a:gradFill>
            <a:gsLst>
              <a:gs pos="81000">
                <a:schemeClr val="bg2">
                  <a:lumMod val="75000"/>
                </a:schemeClr>
              </a:gs>
              <a:gs pos="0">
                <a:schemeClr val="bg2"/>
              </a:gs>
            </a:gsLst>
            <a:lin ang="10800000" scaled="1"/>
          </a:gradFill>
          <a:ln w="19050">
            <a:solidFill>
              <a:schemeClr val="bg1">
                <a:lumMod val="95000"/>
              </a:schemeClr>
            </a:solidFill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Midlands</a:t>
            </a:r>
          </a:p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+4</a:t>
            </a: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%</a:t>
            </a:r>
            <a:endParaRPr kumimoji="0" lang="en-IE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9" name="Oval 58"/>
          <p:cNvSpPr/>
          <p:nvPr/>
        </p:nvSpPr>
        <p:spPr>
          <a:xfrm>
            <a:off x="8147546" y="2414093"/>
            <a:ext cx="946262" cy="946628"/>
          </a:xfrm>
          <a:prstGeom prst="ellipse">
            <a:avLst/>
          </a:prstGeom>
          <a:gradFill>
            <a:gsLst>
              <a:gs pos="81000">
                <a:schemeClr val="bg2">
                  <a:lumMod val="75000"/>
                </a:schemeClr>
              </a:gs>
              <a:gs pos="0">
                <a:schemeClr val="bg2"/>
              </a:gs>
            </a:gsLst>
            <a:lin ang="10800000" scaled="1"/>
          </a:gradFill>
          <a:ln w="19050">
            <a:solidFill>
              <a:schemeClr val="bg1">
                <a:lumMod val="95000"/>
              </a:schemeClr>
            </a:solidFill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North</a:t>
            </a:r>
          </a:p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East</a:t>
            </a:r>
          </a:p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+3</a:t>
            </a: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%</a:t>
            </a:r>
            <a:endParaRPr kumimoji="0" lang="en-IE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0" name="Oval 59"/>
          <p:cNvSpPr/>
          <p:nvPr/>
        </p:nvSpPr>
        <p:spPr>
          <a:xfrm>
            <a:off x="8652722" y="3445395"/>
            <a:ext cx="946262" cy="946628"/>
          </a:xfrm>
          <a:prstGeom prst="ellipse">
            <a:avLst/>
          </a:prstGeom>
          <a:gradFill flip="none" rotWithShape="1">
            <a:gsLst>
              <a:gs pos="81000">
                <a:schemeClr val="accent4"/>
              </a:gs>
              <a:gs pos="0">
                <a:schemeClr val="accent4">
                  <a:lumMod val="60000"/>
                  <a:lumOff val="40000"/>
                </a:schemeClr>
              </a:gs>
            </a:gsLst>
            <a:lin ang="10800000" scaled="1"/>
            <a:tileRect/>
          </a:gradFill>
          <a:ln w="19050">
            <a:solidFill>
              <a:schemeClr val="bg1">
                <a:lumMod val="95000"/>
              </a:schemeClr>
            </a:solidFill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Dublin</a:t>
            </a:r>
          </a:p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+5</a:t>
            </a: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%</a:t>
            </a:r>
            <a:endParaRPr kumimoji="0" lang="en-IE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346202" y="3397244"/>
            <a:ext cx="2923100" cy="15327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kumimoji="0" lang="en-IE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61%</a:t>
            </a:r>
            <a:br>
              <a:rPr kumimoji="0" lang="en-IE" sz="4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</a:br>
            <a:r>
              <a:rPr kumimoji="0" lang="en-I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of </a:t>
            </a:r>
            <a:r>
              <a:rPr lang="en-IE" sz="2000" dirty="0">
                <a:solidFill>
                  <a:prstClr val="white"/>
                </a:solidFill>
                <a:latin typeface="Arial Black" panose="020B0A04020102020204" pitchFamily="34" charset="0"/>
              </a:rPr>
              <a:t>growth in </a:t>
            </a:r>
            <a:r>
              <a:rPr lang="en-IE" sz="2000" noProof="0" dirty="0">
                <a:solidFill>
                  <a:prstClr val="white"/>
                </a:solidFill>
                <a:latin typeface="Arial Black" panose="020B0A04020102020204" pitchFamily="34" charset="0"/>
              </a:rPr>
              <a:t>employment</a:t>
            </a:r>
            <a:br>
              <a:rPr lang="en-IE" sz="2000" dirty="0">
                <a:solidFill>
                  <a:prstClr val="white"/>
                </a:solidFill>
                <a:latin typeface="Arial Black" panose="020B0A04020102020204" pitchFamily="34" charset="0"/>
              </a:rPr>
            </a:br>
            <a:r>
              <a:rPr lang="en-IE" sz="2000" dirty="0">
                <a:solidFill>
                  <a:prstClr val="white"/>
                </a:solidFill>
                <a:latin typeface="Arial Black" panose="020B0A04020102020204" pitchFamily="34" charset="0"/>
              </a:rPr>
              <a:t>Outside Dublin</a:t>
            </a:r>
            <a:endParaRPr lang="en-IE" sz="2400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CD4F2028-C7B6-465E-A757-0D04AC584FAA}"/>
              </a:ext>
            </a:extLst>
          </p:cNvPr>
          <p:cNvSpPr/>
          <p:nvPr/>
        </p:nvSpPr>
        <p:spPr>
          <a:xfrm>
            <a:off x="4998984" y="1017300"/>
            <a:ext cx="1440000" cy="1440000"/>
          </a:xfrm>
          <a:prstGeom prst="ellipse">
            <a:avLst/>
          </a:prstGeom>
          <a:gradFill flip="none" rotWithShape="1">
            <a:gsLst>
              <a:gs pos="0">
                <a:schemeClr val="accent6">
                  <a:lumMod val="40000"/>
                  <a:lumOff val="60000"/>
                </a:schemeClr>
              </a:gs>
              <a:gs pos="46000">
                <a:schemeClr val="accent6">
                  <a:lumMod val="95000"/>
                  <a:lumOff val="5000"/>
                </a:schemeClr>
              </a:gs>
              <a:gs pos="100000">
                <a:schemeClr val="accent6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19050">
            <a:solidFill>
              <a:schemeClr val="bg1">
                <a:lumMod val="95000"/>
              </a:schemeClr>
            </a:solidFill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Employment </a:t>
            </a:r>
          </a:p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Growth overall</a:t>
            </a:r>
          </a:p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+4.4</a:t>
            </a: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%</a:t>
            </a:r>
            <a:endParaRPr kumimoji="0" lang="en-IE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92074"/>
            <a:ext cx="10972800" cy="962439"/>
          </a:xfrm>
        </p:spPr>
        <p:txBody>
          <a:bodyPr>
            <a:normAutofit fontScale="90000"/>
          </a:bodyPr>
          <a:lstStyle/>
          <a:p>
            <a:pPr lvl="0"/>
            <a:r>
              <a:rPr lang="en-IE" dirty="0">
                <a:solidFill>
                  <a:schemeClr val="tx1"/>
                </a:solidFill>
              </a:rPr>
              <a:t>Record levels of Employment Growth in every region</a:t>
            </a:r>
          </a:p>
        </p:txBody>
      </p:sp>
      <p:sp>
        <p:nvSpPr>
          <p:cNvPr id="20" name="Freeform 17"/>
          <p:cNvSpPr>
            <a:spLocks noEditPoints="1"/>
          </p:cNvSpPr>
          <p:nvPr/>
        </p:nvSpPr>
        <p:spPr bwMode="auto">
          <a:xfrm>
            <a:off x="1337176" y="2079438"/>
            <a:ext cx="1130300" cy="1166812"/>
          </a:xfrm>
          <a:custGeom>
            <a:avLst/>
            <a:gdLst>
              <a:gd name="T0" fmla="*/ 69 w 156"/>
              <a:gd name="T1" fmla="*/ 160 h 161"/>
              <a:gd name="T2" fmla="*/ 0 w 156"/>
              <a:gd name="T3" fmla="*/ 89 h 161"/>
              <a:gd name="T4" fmla="*/ 0 w 156"/>
              <a:gd name="T5" fmla="*/ 89 h 161"/>
              <a:gd name="T6" fmla="*/ 71 w 156"/>
              <a:gd name="T7" fmla="*/ 17 h 161"/>
              <a:gd name="T8" fmla="*/ 109 w 156"/>
              <a:gd name="T9" fmla="*/ 0 h 161"/>
              <a:gd name="T10" fmla="*/ 142 w 156"/>
              <a:gd name="T11" fmla="*/ 78 h 161"/>
              <a:gd name="T12" fmla="*/ 143 w 156"/>
              <a:gd name="T13" fmla="*/ 89 h 161"/>
              <a:gd name="T14" fmla="*/ 71 w 156"/>
              <a:gd name="T15" fmla="*/ 161 h 161"/>
              <a:gd name="T16" fmla="*/ 69 w 156"/>
              <a:gd name="T17" fmla="*/ 156 h 161"/>
              <a:gd name="T18" fmla="*/ 36 w 156"/>
              <a:gd name="T19" fmla="*/ 116 h 161"/>
              <a:gd name="T20" fmla="*/ 73 w 156"/>
              <a:gd name="T21" fmla="*/ 156 h 161"/>
              <a:gd name="T22" fmla="*/ 73 w 156"/>
              <a:gd name="T23" fmla="*/ 116 h 161"/>
              <a:gd name="T24" fmla="*/ 54 w 156"/>
              <a:gd name="T25" fmla="*/ 154 h 161"/>
              <a:gd name="T26" fmla="*/ 9 w 156"/>
              <a:gd name="T27" fmla="*/ 116 h 161"/>
              <a:gd name="T28" fmla="*/ 89 w 156"/>
              <a:gd name="T29" fmla="*/ 154 h 161"/>
              <a:gd name="T30" fmla="*/ 111 w 156"/>
              <a:gd name="T31" fmla="*/ 116 h 161"/>
              <a:gd name="T32" fmla="*/ 135 w 156"/>
              <a:gd name="T33" fmla="*/ 112 h 161"/>
              <a:gd name="T34" fmla="*/ 139 w 156"/>
              <a:gd name="T35" fmla="*/ 89 h 161"/>
              <a:gd name="T36" fmla="*/ 139 w 156"/>
              <a:gd name="T37" fmla="*/ 82 h 161"/>
              <a:gd name="T38" fmla="*/ 112 w 156"/>
              <a:gd name="T39" fmla="*/ 110 h 161"/>
              <a:gd name="T40" fmla="*/ 73 w 156"/>
              <a:gd name="T41" fmla="*/ 112 h 161"/>
              <a:gd name="T42" fmla="*/ 108 w 156"/>
              <a:gd name="T43" fmla="*/ 111 h 161"/>
              <a:gd name="T44" fmla="*/ 73 w 156"/>
              <a:gd name="T45" fmla="*/ 112 h 161"/>
              <a:gd name="T46" fmla="*/ 69 w 156"/>
              <a:gd name="T47" fmla="*/ 112 h 161"/>
              <a:gd name="T48" fmla="*/ 69 w 156"/>
              <a:gd name="T49" fmla="*/ 66 h 161"/>
              <a:gd name="T50" fmla="*/ 33 w 156"/>
              <a:gd name="T51" fmla="*/ 89 h 161"/>
              <a:gd name="T52" fmla="*/ 8 w 156"/>
              <a:gd name="T53" fmla="*/ 112 h 161"/>
              <a:gd name="T54" fmla="*/ 29 w 156"/>
              <a:gd name="T55" fmla="*/ 89 h 161"/>
              <a:gd name="T56" fmla="*/ 8 w 156"/>
              <a:gd name="T57" fmla="*/ 66 h 161"/>
              <a:gd name="T58" fmla="*/ 4 w 156"/>
              <a:gd name="T59" fmla="*/ 89 h 161"/>
              <a:gd name="T60" fmla="*/ 4 w 156"/>
              <a:gd name="T61" fmla="*/ 89 h 161"/>
              <a:gd name="T62" fmla="*/ 8 w 156"/>
              <a:gd name="T63" fmla="*/ 112 h 161"/>
              <a:gd name="T64" fmla="*/ 67 w 156"/>
              <a:gd name="T65" fmla="*/ 46 h 161"/>
              <a:gd name="T66" fmla="*/ 152 w 156"/>
              <a:gd name="T67" fmla="*/ 46 h 161"/>
              <a:gd name="T68" fmla="*/ 36 w 156"/>
              <a:gd name="T69" fmla="*/ 62 h 161"/>
              <a:gd name="T70" fmla="*/ 63 w 156"/>
              <a:gd name="T71" fmla="*/ 46 h 161"/>
              <a:gd name="T72" fmla="*/ 36 w 156"/>
              <a:gd name="T73" fmla="*/ 62 h 161"/>
              <a:gd name="T74" fmla="*/ 32 w 156"/>
              <a:gd name="T75" fmla="*/ 62 h 161"/>
              <a:gd name="T76" fmla="*/ 9 w 156"/>
              <a:gd name="T77" fmla="*/ 62 h 161"/>
              <a:gd name="T78" fmla="*/ 85 w 156"/>
              <a:gd name="T79" fmla="*/ 46 h 161"/>
              <a:gd name="T80" fmla="*/ 133 w 156"/>
              <a:gd name="T81" fmla="*/ 46 h 161"/>
              <a:gd name="T82" fmla="*/ 89 w 156"/>
              <a:gd name="T83" fmla="*/ 46 h 161"/>
              <a:gd name="T84" fmla="*/ 129 w 156"/>
              <a:gd name="T85" fmla="*/ 46 h 161"/>
              <a:gd name="T86" fmla="*/ 89 w 156"/>
              <a:gd name="T87" fmla="*/ 46 h 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6" h="161">
                <a:moveTo>
                  <a:pt x="71" y="161"/>
                </a:moveTo>
                <a:cubicBezTo>
                  <a:pt x="69" y="160"/>
                  <a:pt x="69" y="160"/>
                  <a:pt x="69" y="160"/>
                </a:cubicBezTo>
                <a:cubicBezTo>
                  <a:pt x="31" y="159"/>
                  <a:pt x="0" y="128"/>
                  <a:pt x="0" y="89"/>
                </a:cubicBezTo>
                <a:cubicBezTo>
                  <a:pt x="0" y="89"/>
                  <a:pt x="0" y="89"/>
                  <a:pt x="0" y="89"/>
                </a:cubicBezTo>
                <a:cubicBezTo>
                  <a:pt x="0" y="89"/>
                  <a:pt x="0" y="89"/>
                  <a:pt x="0" y="89"/>
                </a:cubicBezTo>
                <a:cubicBezTo>
                  <a:pt x="0" y="89"/>
                  <a:pt x="0" y="89"/>
                  <a:pt x="0" y="89"/>
                </a:cubicBezTo>
                <a:cubicBezTo>
                  <a:pt x="0" y="89"/>
                  <a:pt x="0" y="89"/>
                  <a:pt x="0" y="89"/>
                </a:cubicBezTo>
                <a:cubicBezTo>
                  <a:pt x="0" y="50"/>
                  <a:pt x="32" y="17"/>
                  <a:pt x="71" y="17"/>
                </a:cubicBezTo>
                <a:cubicBezTo>
                  <a:pt x="71" y="19"/>
                  <a:pt x="71" y="19"/>
                  <a:pt x="71" y="19"/>
                </a:cubicBezTo>
                <a:cubicBezTo>
                  <a:pt x="80" y="7"/>
                  <a:pt x="94" y="0"/>
                  <a:pt x="109" y="0"/>
                </a:cubicBezTo>
                <a:cubicBezTo>
                  <a:pt x="135" y="0"/>
                  <a:pt x="156" y="21"/>
                  <a:pt x="156" y="46"/>
                </a:cubicBezTo>
                <a:cubicBezTo>
                  <a:pt x="156" y="56"/>
                  <a:pt x="150" y="67"/>
                  <a:pt x="142" y="78"/>
                </a:cubicBezTo>
                <a:cubicBezTo>
                  <a:pt x="143" y="81"/>
                  <a:pt x="143" y="85"/>
                  <a:pt x="143" y="89"/>
                </a:cubicBezTo>
                <a:cubicBezTo>
                  <a:pt x="143" y="89"/>
                  <a:pt x="143" y="89"/>
                  <a:pt x="143" y="89"/>
                </a:cubicBezTo>
                <a:cubicBezTo>
                  <a:pt x="143" y="89"/>
                  <a:pt x="143" y="89"/>
                  <a:pt x="143" y="89"/>
                </a:cubicBezTo>
                <a:cubicBezTo>
                  <a:pt x="143" y="128"/>
                  <a:pt x="111" y="161"/>
                  <a:pt x="71" y="161"/>
                </a:cubicBezTo>
                <a:close/>
                <a:moveTo>
                  <a:pt x="36" y="116"/>
                </a:moveTo>
                <a:cubicBezTo>
                  <a:pt x="42" y="139"/>
                  <a:pt x="55" y="155"/>
                  <a:pt x="69" y="156"/>
                </a:cubicBezTo>
                <a:cubicBezTo>
                  <a:pt x="69" y="116"/>
                  <a:pt x="69" y="116"/>
                  <a:pt x="69" y="116"/>
                </a:cubicBezTo>
                <a:lnTo>
                  <a:pt x="36" y="116"/>
                </a:lnTo>
                <a:close/>
                <a:moveTo>
                  <a:pt x="73" y="116"/>
                </a:moveTo>
                <a:cubicBezTo>
                  <a:pt x="73" y="156"/>
                  <a:pt x="73" y="156"/>
                  <a:pt x="73" y="156"/>
                </a:cubicBezTo>
                <a:cubicBezTo>
                  <a:pt x="88" y="155"/>
                  <a:pt x="101" y="139"/>
                  <a:pt x="107" y="116"/>
                </a:cubicBezTo>
                <a:lnTo>
                  <a:pt x="73" y="116"/>
                </a:lnTo>
                <a:close/>
                <a:moveTo>
                  <a:pt x="9" y="116"/>
                </a:moveTo>
                <a:cubicBezTo>
                  <a:pt x="18" y="134"/>
                  <a:pt x="34" y="149"/>
                  <a:pt x="54" y="154"/>
                </a:cubicBezTo>
                <a:cubicBezTo>
                  <a:pt x="44" y="147"/>
                  <a:pt x="36" y="133"/>
                  <a:pt x="32" y="116"/>
                </a:cubicBezTo>
                <a:lnTo>
                  <a:pt x="9" y="116"/>
                </a:lnTo>
                <a:close/>
                <a:moveTo>
                  <a:pt x="111" y="116"/>
                </a:moveTo>
                <a:cubicBezTo>
                  <a:pt x="107" y="133"/>
                  <a:pt x="99" y="147"/>
                  <a:pt x="89" y="154"/>
                </a:cubicBezTo>
                <a:cubicBezTo>
                  <a:pt x="109" y="149"/>
                  <a:pt x="126" y="134"/>
                  <a:pt x="134" y="116"/>
                </a:cubicBezTo>
                <a:lnTo>
                  <a:pt x="111" y="116"/>
                </a:lnTo>
                <a:close/>
                <a:moveTo>
                  <a:pt x="112" y="112"/>
                </a:moveTo>
                <a:cubicBezTo>
                  <a:pt x="135" y="112"/>
                  <a:pt x="135" y="112"/>
                  <a:pt x="135" y="112"/>
                </a:cubicBezTo>
                <a:cubicBezTo>
                  <a:pt x="138" y="104"/>
                  <a:pt x="139" y="97"/>
                  <a:pt x="139" y="89"/>
                </a:cubicBezTo>
                <a:cubicBezTo>
                  <a:pt x="139" y="89"/>
                  <a:pt x="139" y="89"/>
                  <a:pt x="139" y="89"/>
                </a:cubicBezTo>
                <a:cubicBezTo>
                  <a:pt x="139" y="89"/>
                  <a:pt x="139" y="89"/>
                  <a:pt x="139" y="89"/>
                </a:cubicBezTo>
                <a:cubicBezTo>
                  <a:pt x="139" y="87"/>
                  <a:pt x="139" y="84"/>
                  <a:pt x="139" y="82"/>
                </a:cubicBezTo>
                <a:cubicBezTo>
                  <a:pt x="128" y="95"/>
                  <a:pt x="115" y="107"/>
                  <a:pt x="112" y="110"/>
                </a:cubicBezTo>
                <a:cubicBezTo>
                  <a:pt x="112" y="110"/>
                  <a:pt x="112" y="110"/>
                  <a:pt x="112" y="110"/>
                </a:cubicBezTo>
                <a:cubicBezTo>
                  <a:pt x="112" y="111"/>
                  <a:pt x="112" y="111"/>
                  <a:pt x="112" y="112"/>
                </a:cubicBezTo>
                <a:close/>
                <a:moveTo>
                  <a:pt x="73" y="112"/>
                </a:moveTo>
                <a:cubicBezTo>
                  <a:pt x="107" y="112"/>
                  <a:pt x="107" y="112"/>
                  <a:pt x="107" y="112"/>
                </a:cubicBezTo>
                <a:cubicBezTo>
                  <a:pt x="108" y="111"/>
                  <a:pt x="108" y="111"/>
                  <a:pt x="108" y="111"/>
                </a:cubicBezTo>
                <a:cubicBezTo>
                  <a:pt x="105" y="108"/>
                  <a:pt x="86" y="92"/>
                  <a:pt x="73" y="73"/>
                </a:cubicBezTo>
                <a:lnTo>
                  <a:pt x="73" y="112"/>
                </a:lnTo>
                <a:close/>
                <a:moveTo>
                  <a:pt x="35" y="112"/>
                </a:moveTo>
                <a:cubicBezTo>
                  <a:pt x="69" y="112"/>
                  <a:pt x="69" y="112"/>
                  <a:pt x="69" y="112"/>
                </a:cubicBezTo>
                <a:cubicBezTo>
                  <a:pt x="69" y="67"/>
                  <a:pt x="69" y="67"/>
                  <a:pt x="69" y="67"/>
                </a:cubicBezTo>
                <a:cubicBezTo>
                  <a:pt x="69" y="67"/>
                  <a:pt x="69" y="67"/>
                  <a:pt x="69" y="66"/>
                </a:cubicBezTo>
                <a:cubicBezTo>
                  <a:pt x="35" y="66"/>
                  <a:pt x="35" y="66"/>
                  <a:pt x="35" y="66"/>
                </a:cubicBezTo>
                <a:cubicBezTo>
                  <a:pt x="34" y="74"/>
                  <a:pt x="33" y="81"/>
                  <a:pt x="33" y="89"/>
                </a:cubicBezTo>
                <a:cubicBezTo>
                  <a:pt x="33" y="97"/>
                  <a:pt x="34" y="104"/>
                  <a:pt x="35" y="112"/>
                </a:cubicBezTo>
                <a:close/>
                <a:moveTo>
                  <a:pt x="8" y="112"/>
                </a:moveTo>
                <a:cubicBezTo>
                  <a:pt x="31" y="112"/>
                  <a:pt x="31" y="112"/>
                  <a:pt x="31" y="112"/>
                </a:cubicBezTo>
                <a:cubicBezTo>
                  <a:pt x="30" y="104"/>
                  <a:pt x="29" y="97"/>
                  <a:pt x="29" y="89"/>
                </a:cubicBezTo>
                <a:cubicBezTo>
                  <a:pt x="29" y="81"/>
                  <a:pt x="30" y="74"/>
                  <a:pt x="31" y="66"/>
                </a:cubicBezTo>
                <a:cubicBezTo>
                  <a:pt x="8" y="66"/>
                  <a:pt x="8" y="66"/>
                  <a:pt x="8" y="66"/>
                </a:cubicBezTo>
                <a:cubicBezTo>
                  <a:pt x="5" y="74"/>
                  <a:pt x="4" y="81"/>
                  <a:pt x="4" y="89"/>
                </a:cubicBezTo>
                <a:cubicBezTo>
                  <a:pt x="4" y="89"/>
                  <a:pt x="4" y="89"/>
                  <a:pt x="4" y="89"/>
                </a:cubicBezTo>
                <a:cubicBezTo>
                  <a:pt x="4" y="89"/>
                  <a:pt x="4" y="89"/>
                  <a:pt x="4" y="89"/>
                </a:cubicBezTo>
                <a:cubicBezTo>
                  <a:pt x="4" y="89"/>
                  <a:pt x="4" y="89"/>
                  <a:pt x="4" y="89"/>
                </a:cubicBezTo>
                <a:cubicBezTo>
                  <a:pt x="4" y="89"/>
                  <a:pt x="4" y="89"/>
                  <a:pt x="4" y="89"/>
                </a:cubicBezTo>
                <a:cubicBezTo>
                  <a:pt x="4" y="97"/>
                  <a:pt x="5" y="104"/>
                  <a:pt x="8" y="112"/>
                </a:cubicBezTo>
                <a:close/>
                <a:moveTo>
                  <a:pt x="109" y="4"/>
                </a:moveTo>
                <a:cubicBezTo>
                  <a:pt x="86" y="4"/>
                  <a:pt x="67" y="23"/>
                  <a:pt x="67" y="46"/>
                </a:cubicBezTo>
                <a:cubicBezTo>
                  <a:pt x="67" y="68"/>
                  <a:pt x="102" y="100"/>
                  <a:pt x="109" y="107"/>
                </a:cubicBezTo>
                <a:cubicBezTo>
                  <a:pt x="117" y="100"/>
                  <a:pt x="152" y="68"/>
                  <a:pt x="152" y="46"/>
                </a:cubicBezTo>
                <a:cubicBezTo>
                  <a:pt x="152" y="23"/>
                  <a:pt x="133" y="4"/>
                  <a:pt x="109" y="4"/>
                </a:cubicBezTo>
                <a:close/>
                <a:moveTo>
                  <a:pt x="36" y="62"/>
                </a:moveTo>
                <a:cubicBezTo>
                  <a:pt x="67" y="62"/>
                  <a:pt x="67" y="62"/>
                  <a:pt x="67" y="62"/>
                </a:cubicBezTo>
                <a:cubicBezTo>
                  <a:pt x="64" y="57"/>
                  <a:pt x="63" y="51"/>
                  <a:pt x="63" y="46"/>
                </a:cubicBezTo>
                <a:cubicBezTo>
                  <a:pt x="63" y="37"/>
                  <a:pt x="65" y="29"/>
                  <a:pt x="70" y="22"/>
                </a:cubicBezTo>
                <a:cubicBezTo>
                  <a:pt x="55" y="23"/>
                  <a:pt x="42" y="39"/>
                  <a:pt x="36" y="62"/>
                </a:cubicBezTo>
                <a:close/>
                <a:moveTo>
                  <a:pt x="9" y="62"/>
                </a:moveTo>
                <a:cubicBezTo>
                  <a:pt x="32" y="62"/>
                  <a:pt x="32" y="62"/>
                  <a:pt x="32" y="62"/>
                </a:cubicBezTo>
                <a:cubicBezTo>
                  <a:pt x="36" y="45"/>
                  <a:pt x="44" y="31"/>
                  <a:pt x="54" y="24"/>
                </a:cubicBezTo>
                <a:cubicBezTo>
                  <a:pt x="34" y="29"/>
                  <a:pt x="18" y="44"/>
                  <a:pt x="9" y="62"/>
                </a:cubicBezTo>
                <a:close/>
                <a:moveTo>
                  <a:pt x="109" y="71"/>
                </a:moveTo>
                <a:cubicBezTo>
                  <a:pt x="96" y="71"/>
                  <a:pt x="85" y="60"/>
                  <a:pt x="85" y="46"/>
                </a:cubicBezTo>
                <a:cubicBezTo>
                  <a:pt x="85" y="33"/>
                  <a:pt x="96" y="22"/>
                  <a:pt x="109" y="22"/>
                </a:cubicBezTo>
                <a:cubicBezTo>
                  <a:pt x="123" y="22"/>
                  <a:pt x="133" y="33"/>
                  <a:pt x="133" y="46"/>
                </a:cubicBezTo>
                <a:cubicBezTo>
                  <a:pt x="133" y="60"/>
                  <a:pt x="123" y="71"/>
                  <a:pt x="109" y="71"/>
                </a:cubicBezTo>
                <a:close/>
                <a:moveTo>
                  <a:pt x="89" y="46"/>
                </a:moveTo>
                <a:cubicBezTo>
                  <a:pt x="89" y="58"/>
                  <a:pt x="98" y="67"/>
                  <a:pt x="109" y="67"/>
                </a:cubicBezTo>
                <a:cubicBezTo>
                  <a:pt x="120" y="67"/>
                  <a:pt x="129" y="58"/>
                  <a:pt x="129" y="46"/>
                </a:cubicBezTo>
                <a:cubicBezTo>
                  <a:pt x="129" y="35"/>
                  <a:pt x="120" y="26"/>
                  <a:pt x="109" y="26"/>
                </a:cubicBezTo>
                <a:cubicBezTo>
                  <a:pt x="98" y="26"/>
                  <a:pt x="89" y="35"/>
                  <a:pt x="89" y="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465874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7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7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7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7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7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7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16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3" presetClass="entr" presetSubtype="16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6" presetClass="entr" presetSubtype="4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6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 uiExpand="1">
        <p:bldSub>
          <a:bldChart bld="category"/>
        </p:bldSub>
      </p:bldGraphic>
      <p:bldP spid="51" grpId="0" animBg="1"/>
      <p:bldP spid="53" grpId="0" animBg="1"/>
      <p:bldP spid="54" grpId="0" animBg="1"/>
      <p:bldP spid="55" grpId="0" animBg="1"/>
      <p:bldP spid="56" grpId="0" animBg="1"/>
      <p:bldP spid="57" grpId="0" animBg="1"/>
      <p:bldP spid="58" grpId="0" animBg="1"/>
      <p:bldP spid="59" grpId="0" animBg="1"/>
      <p:bldP spid="60" grpId="0" animBg="1"/>
      <p:bldP spid="5" grpId="0"/>
      <p:bldP spid="1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Isosceles Triangle 2">
            <a:extLst>
              <a:ext uri="{FF2B5EF4-FFF2-40B4-BE49-F238E27FC236}">
                <a16:creationId xmlns:a16="http://schemas.microsoft.com/office/drawing/2014/main" id="{30CFC048-9E29-44C7-A2E9-4DA71706C1CA}"/>
              </a:ext>
            </a:extLst>
          </p:cNvPr>
          <p:cNvSpPr/>
          <p:nvPr/>
        </p:nvSpPr>
        <p:spPr>
          <a:xfrm rot="15623771" flipH="1">
            <a:off x="7325467" y="3946490"/>
            <a:ext cx="1690682" cy="4411206"/>
          </a:xfrm>
          <a:custGeom>
            <a:avLst/>
            <a:gdLst>
              <a:gd name="connsiteX0" fmla="*/ 0 w 2027070"/>
              <a:gd name="connsiteY0" fmla="*/ 1589829 h 1589829"/>
              <a:gd name="connsiteX1" fmla="*/ 1013535 w 2027070"/>
              <a:gd name="connsiteY1" fmla="*/ 0 h 1589829"/>
              <a:gd name="connsiteX2" fmla="*/ 2027070 w 2027070"/>
              <a:gd name="connsiteY2" fmla="*/ 1589829 h 1589829"/>
              <a:gd name="connsiteX3" fmla="*/ 0 w 2027070"/>
              <a:gd name="connsiteY3" fmla="*/ 1589829 h 1589829"/>
              <a:gd name="connsiteX0" fmla="*/ 0 w 3028876"/>
              <a:gd name="connsiteY0" fmla="*/ 4751671 h 4751671"/>
              <a:gd name="connsiteX1" fmla="*/ 3028876 w 3028876"/>
              <a:gd name="connsiteY1" fmla="*/ 0 h 4751671"/>
              <a:gd name="connsiteX2" fmla="*/ 2027070 w 3028876"/>
              <a:gd name="connsiteY2" fmla="*/ 4751671 h 4751671"/>
              <a:gd name="connsiteX3" fmla="*/ 0 w 3028876"/>
              <a:gd name="connsiteY3" fmla="*/ 4751671 h 4751671"/>
              <a:gd name="connsiteX0" fmla="*/ 0 w 3028876"/>
              <a:gd name="connsiteY0" fmla="*/ 4751671 h 4751671"/>
              <a:gd name="connsiteX1" fmla="*/ 3028876 w 3028876"/>
              <a:gd name="connsiteY1" fmla="*/ 0 h 4751671"/>
              <a:gd name="connsiteX2" fmla="*/ 2027070 w 3028876"/>
              <a:gd name="connsiteY2" fmla="*/ 4751671 h 4751671"/>
              <a:gd name="connsiteX3" fmla="*/ 0 w 3028876"/>
              <a:gd name="connsiteY3" fmla="*/ 4751671 h 4751671"/>
              <a:gd name="connsiteX0" fmla="*/ 0 w 3028876"/>
              <a:gd name="connsiteY0" fmla="*/ 4751671 h 4751671"/>
              <a:gd name="connsiteX1" fmla="*/ 3028876 w 3028876"/>
              <a:gd name="connsiteY1" fmla="*/ 0 h 4751671"/>
              <a:gd name="connsiteX2" fmla="*/ 2027070 w 3028876"/>
              <a:gd name="connsiteY2" fmla="*/ 4751671 h 4751671"/>
              <a:gd name="connsiteX3" fmla="*/ 0 w 3028876"/>
              <a:gd name="connsiteY3" fmla="*/ 4751671 h 4751671"/>
              <a:gd name="connsiteX0" fmla="*/ 0 w 3028876"/>
              <a:gd name="connsiteY0" fmla="*/ 4751671 h 4751671"/>
              <a:gd name="connsiteX1" fmla="*/ 3028876 w 3028876"/>
              <a:gd name="connsiteY1" fmla="*/ 0 h 4751671"/>
              <a:gd name="connsiteX2" fmla="*/ 2027070 w 3028876"/>
              <a:gd name="connsiteY2" fmla="*/ 4751671 h 4751671"/>
              <a:gd name="connsiteX3" fmla="*/ 0 w 3028876"/>
              <a:gd name="connsiteY3" fmla="*/ 4751671 h 4751671"/>
              <a:gd name="connsiteX0" fmla="*/ 647 w 3029523"/>
              <a:gd name="connsiteY0" fmla="*/ 4751671 h 4751671"/>
              <a:gd name="connsiteX1" fmla="*/ 3029523 w 3029523"/>
              <a:gd name="connsiteY1" fmla="*/ 0 h 4751671"/>
              <a:gd name="connsiteX2" fmla="*/ 2027717 w 3029523"/>
              <a:gd name="connsiteY2" fmla="*/ 4751671 h 4751671"/>
              <a:gd name="connsiteX3" fmla="*/ 647 w 3029523"/>
              <a:gd name="connsiteY3" fmla="*/ 4751671 h 4751671"/>
              <a:gd name="connsiteX0" fmla="*/ 647 w 3029523"/>
              <a:gd name="connsiteY0" fmla="*/ 4751671 h 4751671"/>
              <a:gd name="connsiteX1" fmla="*/ 3029523 w 3029523"/>
              <a:gd name="connsiteY1" fmla="*/ 0 h 4751671"/>
              <a:gd name="connsiteX2" fmla="*/ 2027717 w 3029523"/>
              <a:gd name="connsiteY2" fmla="*/ 4751671 h 4751671"/>
              <a:gd name="connsiteX3" fmla="*/ 647 w 3029523"/>
              <a:gd name="connsiteY3" fmla="*/ 4751671 h 4751671"/>
              <a:gd name="connsiteX0" fmla="*/ 655 w 3015166"/>
              <a:gd name="connsiteY0" fmla="*/ 4771320 h 4771320"/>
              <a:gd name="connsiteX1" fmla="*/ 3015166 w 3015166"/>
              <a:gd name="connsiteY1" fmla="*/ 0 h 4771320"/>
              <a:gd name="connsiteX2" fmla="*/ 2013360 w 3015166"/>
              <a:gd name="connsiteY2" fmla="*/ 4751671 h 4771320"/>
              <a:gd name="connsiteX3" fmla="*/ 655 w 3015166"/>
              <a:gd name="connsiteY3" fmla="*/ 4771320 h 4771320"/>
              <a:gd name="connsiteX0" fmla="*/ 655 w 3015166"/>
              <a:gd name="connsiteY0" fmla="*/ 4771320 h 4771320"/>
              <a:gd name="connsiteX1" fmla="*/ 3015166 w 3015166"/>
              <a:gd name="connsiteY1" fmla="*/ 0 h 4771320"/>
              <a:gd name="connsiteX2" fmla="*/ 2013360 w 3015166"/>
              <a:gd name="connsiteY2" fmla="*/ 4751671 h 4771320"/>
              <a:gd name="connsiteX3" fmla="*/ 655 w 3015166"/>
              <a:gd name="connsiteY3" fmla="*/ 4771320 h 4771320"/>
              <a:gd name="connsiteX0" fmla="*/ 404 w 3014915"/>
              <a:gd name="connsiteY0" fmla="*/ 4771320 h 4771320"/>
              <a:gd name="connsiteX1" fmla="*/ 3014915 w 3014915"/>
              <a:gd name="connsiteY1" fmla="*/ 0 h 4771320"/>
              <a:gd name="connsiteX2" fmla="*/ 2013109 w 3014915"/>
              <a:gd name="connsiteY2" fmla="*/ 4751671 h 4771320"/>
              <a:gd name="connsiteX3" fmla="*/ 404 w 3014915"/>
              <a:gd name="connsiteY3" fmla="*/ 4771320 h 4771320"/>
              <a:gd name="connsiteX0" fmla="*/ 580 w 2320742"/>
              <a:gd name="connsiteY0" fmla="*/ 4764236 h 4764236"/>
              <a:gd name="connsiteX1" fmla="*/ 2320742 w 2320742"/>
              <a:gd name="connsiteY1" fmla="*/ 0 h 4764236"/>
              <a:gd name="connsiteX2" fmla="*/ 2013285 w 2320742"/>
              <a:gd name="connsiteY2" fmla="*/ 4744587 h 4764236"/>
              <a:gd name="connsiteX3" fmla="*/ 580 w 2320742"/>
              <a:gd name="connsiteY3" fmla="*/ 4764236 h 4764236"/>
              <a:gd name="connsiteX0" fmla="*/ 628 w 2320790"/>
              <a:gd name="connsiteY0" fmla="*/ 4764236 h 4764236"/>
              <a:gd name="connsiteX1" fmla="*/ 2320790 w 2320790"/>
              <a:gd name="connsiteY1" fmla="*/ 0 h 4764236"/>
              <a:gd name="connsiteX2" fmla="*/ 2013333 w 2320790"/>
              <a:gd name="connsiteY2" fmla="*/ 4744587 h 4764236"/>
              <a:gd name="connsiteX3" fmla="*/ 628 w 2320790"/>
              <a:gd name="connsiteY3" fmla="*/ 4764236 h 4764236"/>
              <a:gd name="connsiteX0" fmla="*/ 628 w 2320790"/>
              <a:gd name="connsiteY0" fmla="*/ 4764236 h 4764236"/>
              <a:gd name="connsiteX1" fmla="*/ 2320790 w 2320790"/>
              <a:gd name="connsiteY1" fmla="*/ 0 h 4764236"/>
              <a:gd name="connsiteX2" fmla="*/ 2013333 w 2320790"/>
              <a:gd name="connsiteY2" fmla="*/ 4744587 h 4764236"/>
              <a:gd name="connsiteX3" fmla="*/ 628 w 2320790"/>
              <a:gd name="connsiteY3" fmla="*/ 4764236 h 4764236"/>
              <a:gd name="connsiteX0" fmla="*/ 730 w 2320892"/>
              <a:gd name="connsiteY0" fmla="*/ 4764236 h 4764236"/>
              <a:gd name="connsiteX1" fmla="*/ 2320892 w 2320892"/>
              <a:gd name="connsiteY1" fmla="*/ 0 h 4764236"/>
              <a:gd name="connsiteX2" fmla="*/ 2013435 w 2320892"/>
              <a:gd name="connsiteY2" fmla="*/ 4744587 h 4764236"/>
              <a:gd name="connsiteX3" fmla="*/ 730 w 2320892"/>
              <a:gd name="connsiteY3" fmla="*/ 4764236 h 4764236"/>
              <a:gd name="connsiteX0" fmla="*/ 842 w 2321004"/>
              <a:gd name="connsiteY0" fmla="*/ 4764236 h 4764236"/>
              <a:gd name="connsiteX1" fmla="*/ 2321004 w 2321004"/>
              <a:gd name="connsiteY1" fmla="*/ 0 h 4764236"/>
              <a:gd name="connsiteX2" fmla="*/ 2013547 w 2321004"/>
              <a:gd name="connsiteY2" fmla="*/ 4744587 h 4764236"/>
              <a:gd name="connsiteX3" fmla="*/ 842 w 2321004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221075"/>
              <a:gd name="connsiteY0" fmla="*/ 4305853 h 4744587"/>
              <a:gd name="connsiteX1" fmla="*/ 2221075 w 2221075"/>
              <a:gd name="connsiteY1" fmla="*/ 0 h 4744587"/>
              <a:gd name="connsiteX2" fmla="*/ 1913618 w 2221075"/>
              <a:gd name="connsiteY2" fmla="*/ 4744587 h 4744587"/>
              <a:gd name="connsiteX3" fmla="*/ 0 w 2221075"/>
              <a:gd name="connsiteY3" fmla="*/ 4305853 h 4744587"/>
              <a:gd name="connsiteX0" fmla="*/ 0 w 2221075"/>
              <a:gd name="connsiteY0" fmla="*/ 4305853 h 4744587"/>
              <a:gd name="connsiteX1" fmla="*/ 2221075 w 2221075"/>
              <a:gd name="connsiteY1" fmla="*/ 0 h 4744587"/>
              <a:gd name="connsiteX2" fmla="*/ 1913618 w 2221075"/>
              <a:gd name="connsiteY2" fmla="*/ 4744587 h 4744587"/>
              <a:gd name="connsiteX3" fmla="*/ 0 w 2221075"/>
              <a:gd name="connsiteY3" fmla="*/ 4305853 h 4744587"/>
              <a:gd name="connsiteX0" fmla="*/ 0 w 2221075"/>
              <a:gd name="connsiteY0" fmla="*/ 4305853 h 4744587"/>
              <a:gd name="connsiteX1" fmla="*/ 2221075 w 2221075"/>
              <a:gd name="connsiteY1" fmla="*/ 0 h 4744587"/>
              <a:gd name="connsiteX2" fmla="*/ 1913618 w 2221075"/>
              <a:gd name="connsiteY2" fmla="*/ 4744587 h 4744587"/>
              <a:gd name="connsiteX3" fmla="*/ 0 w 2221075"/>
              <a:gd name="connsiteY3" fmla="*/ 4305853 h 4744587"/>
              <a:gd name="connsiteX0" fmla="*/ 0 w 1983293"/>
              <a:gd name="connsiteY0" fmla="*/ 4210417 h 4649151"/>
              <a:gd name="connsiteX1" fmla="*/ 1983293 w 1983293"/>
              <a:gd name="connsiteY1" fmla="*/ 0 h 4649151"/>
              <a:gd name="connsiteX2" fmla="*/ 1913618 w 1983293"/>
              <a:gd name="connsiteY2" fmla="*/ 4649151 h 4649151"/>
              <a:gd name="connsiteX3" fmla="*/ 0 w 1983293"/>
              <a:gd name="connsiteY3" fmla="*/ 4210417 h 4649151"/>
              <a:gd name="connsiteX0" fmla="*/ 0 w 1983293"/>
              <a:gd name="connsiteY0" fmla="*/ 4210417 h 4649151"/>
              <a:gd name="connsiteX1" fmla="*/ 1983293 w 1983293"/>
              <a:gd name="connsiteY1" fmla="*/ 0 h 4649151"/>
              <a:gd name="connsiteX2" fmla="*/ 1913618 w 1983293"/>
              <a:gd name="connsiteY2" fmla="*/ 4649151 h 4649151"/>
              <a:gd name="connsiteX3" fmla="*/ 0 w 1983293"/>
              <a:gd name="connsiteY3" fmla="*/ 4210417 h 4649151"/>
              <a:gd name="connsiteX0" fmla="*/ 0 w 1983293"/>
              <a:gd name="connsiteY0" fmla="*/ 4210417 h 4649151"/>
              <a:gd name="connsiteX1" fmla="*/ 1983293 w 1983293"/>
              <a:gd name="connsiteY1" fmla="*/ 0 h 4649151"/>
              <a:gd name="connsiteX2" fmla="*/ 1913618 w 1983293"/>
              <a:gd name="connsiteY2" fmla="*/ 4649151 h 4649151"/>
              <a:gd name="connsiteX3" fmla="*/ 0 w 1983293"/>
              <a:gd name="connsiteY3" fmla="*/ 4210417 h 4649151"/>
              <a:gd name="connsiteX0" fmla="*/ 0 w 1703068"/>
              <a:gd name="connsiteY0" fmla="*/ 3909072 h 4649151"/>
              <a:gd name="connsiteX1" fmla="*/ 1703068 w 1703068"/>
              <a:gd name="connsiteY1" fmla="*/ 0 h 4649151"/>
              <a:gd name="connsiteX2" fmla="*/ 1633393 w 1703068"/>
              <a:gd name="connsiteY2" fmla="*/ 4649151 h 4649151"/>
              <a:gd name="connsiteX3" fmla="*/ 0 w 1703068"/>
              <a:gd name="connsiteY3" fmla="*/ 3909072 h 4649151"/>
              <a:gd name="connsiteX0" fmla="*/ 0 w 1703068"/>
              <a:gd name="connsiteY0" fmla="*/ 3909072 h 4649151"/>
              <a:gd name="connsiteX1" fmla="*/ 1703068 w 1703068"/>
              <a:gd name="connsiteY1" fmla="*/ 0 h 4649151"/>
              <a:gd name="connsiteX2" fmla="*/ 1633393 w 1703068"/>
              <a:gd name="connsiteY2" fmla="*/ 4649151 h 4649151"/>
              <a:gd name="connsiteX3" fmla="*/ 0 w 1703068"/>
              <a:gd name="connsiteY3" fmla="*/ 3909072 h 4649151"/>
              <a:gd name="connsiteX0" fmla="*/ 0 w 1703068"/>
              <a:gd name="connsiteY0" fmla="*/ 3909072 h 4649151"/>
              <a:gd name="connsiteX1" fmla="*/ 1703068 w 1703068"/>
              <a:gd name="connsiteY1" fmla="*/ 0 h 4649151"/>
              <a:gd name="connsiteX2" fmla="*/ 1633393 w 1703068"/>
              <a:gd name="connsiteY2" fmla="*/ 4649151 h 4649151"/>
              <a:gd name="connsiteX3" fmla="*/ 0 w 1703068"/>
              <a:gd name="connsiteY3" fmla="*/ 3909072 h 4649151"/>
              <a:gd name="connsiteX0" fmla="*/ 0 w 1703068"/>
              <a:gd name="connsiteY0" fmla="*/ 3909072 h 4411206"/>
              <a:gd name="connsiteX1" fmla="*/ 1703068 w 1703068"/>
              <a:gd name="connsiteY1" fmla="*/ 0 h 4411206"/>
              <a:gd name="connsiteX2" fmla="*/ 1604172 w 1703068"/>
              <a:gd name="connsiteY2" fmla="*/ 4411206 h 4411206"/>
              <a:gd name="connsiteX3" fmla="*/ 0 w 1703068"/>
              <a:gd name="connsiteY3" fmla="*/ 3909072 h 4411206"/>
              <a:gd name="connsiteX0" fmla="*/ 0 w 1690682"/>
              <a:gd name="connsiteY0" fmla="*/ 3851774 h 4411206"/>
              <a:gd name="connsiteX1" fmla="*/ 1690682 w 1690682"/>
              <a:gd name="connsiteY1" fmla="*/ 0 h 4411206"/>
              <a:gd name="connsiteX2" fmla="*/ 1591786 w 1690682"/>
              <a:gd name="connsiteY2" fmla="*/ 4411206 h 4411206"/>
              <a:gd name="connsiteX3" fmla="*/ 0 w 1690682"/>
              <a:gd name="connsiteY3" fmla="*/ 3851774 h 4411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90682" h="4411206">
                <a:moveTo>
                  <a:pt x="0" y="3851774"/>
                </a:moveTo>
                <a:cubicBezTo>
                  <a:pt x="1447866" y="2182693"/>
                  <a:pt x="8356" y="935924"/>
                  <a:pt x="1690682" y="0"/>
                </a:cubicBezTo>
                <a:cubicBezTo>
                  <a:pt x="224007" y="892319"/>
                  <a:pt x="1596299" y="2772652"/>
                  <a:pt x="1591786" y="4411206"/>
                </a:cubicBezTo>
                <a:lnTo>
                  <a:pt x="0" y="3851774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0" name="Isosceles Triangle 2">
            <a:extLst>
              <a:ext uri="{FF2B5EF4-FFF2-40B4-BE49-F238E27FC236}">
                <a16:creationId xmlns:a16="http://schemas.microsoft.com/office/drawing/2014/main" id="{85ABF9FA-6A1B-4643-A63B-513BF9395F56}"/>
              </a:ext>
            </a:extLst>
          </p:cNvPr>
          <p:cNvSpPr/>
          <p:nvPr/>
        </p:nvSpPr>
        <p:spPr>
          <a:xfrm rot="14578504" flipH="1">
            <a:off x="5891325" y="4378419"/>
            <a:ext cx="2078561" cy="2605577"/>
          </a:xfrm>
          <a:custGeom>
            <a:avLst/>
            <a:gdLst>
              <a:gd name="connsiteX0" fmla="*/ 0 w 2027070"/>
              <a:gd name="connsiteY0" fmla="*/ 1589829 h 1589829"/>
              <a:gd name="connsiteX1" fmla="*/ 1013535 w 2027070"/>
              <a:gd name="connsiteY1" fmla="*/ 0 h 1589829"/>
              <a:gd name="connsiteX2" fmla="*/ 2027070 w 2027070"/>
              <a:gd name="connsiteY2" fmla="*/ 1589829 h 1589829"/>
              <a:gd name="connsiteX3" fmla="*/ 0 w 2027070"/>
              <a:gd name="connsiteY3" fmla="*/ 1589829 h 1589829"/>
              <a:gd name="connsiteX0" fmla="*/ 0 w 3028876"/>
              <a:gd name="connsiteY0" fmla="*/ 4751671 h 4751671"/>
              <a:gd name="connsiteX1" fmla="*/ 3028876 w 3028876"/>
              <a:gd name="connsiteY1" fmla="*/ 0 h 4751671"/>
              <a:gd name="connsiteX2" fmla="*/ 2027070 w 3028876"/>
              <a:gd name="connsiteY2" fmla="*/ 4751671 h 4751671"/>
              <a:gd name="connsiteX3" fmla="*/ 0 w 3028876"/>
              <a:gd name="connsiteY3" fmla="*/ 4751671 h 4751671"/>
              <a:gd name="connsiteX0" fmla="*/ 0 w 3028876"/>
              <a:gd name="connsiteY0" fmla="*/ 4751671 h 4751671"/>
              <a:gd name="connsiteX1" fmla="*/ 3028876 w 3028876"/>
              <a:gd name="connsiteY1" fmla="*/ 0 h 4751671"/>
              <a:gd name="connsiteX2" fmla="*/ 2027070 w 3028876"/>
              <a:gd name="connsiteY2" fmla="*/ 4751671 h 4751671"/>
              <a:gd name="connsiteX3" fmla="*/ 0 w 3028876"/>
              <a:gd name="connsiteY3" fmla="*/ 4751671 h 4751671"/>
              <a:gd name="connsiteX0" fmla="*/ 0 w 3028876"/>
              <a:gd name="connsiteY0" fmla="*/ 4751671 h 4751671"/>
              <a:gd name="connsiteX1" fmla="*/ 3028876 w 3028876"/>
              <a:gd name="connsiteY1" fmla="*/ 0 h 4751671"/>
              <a:gd name="connsiteX2" fmla="*/ 2027070 w 3028876"/>
              <a:gd name="connsiteY2" fmla="*/ 4751671 h 4751671"/>
              <a:gd name="connsiteX3" fmla="*/ 0 w 3028876"/>
              <a:gd name="connsiteY3" fmla="*/ 4751671 h 4751671"/>
              <a:gd name="connsiteX0" fmla="*/ 0 w 3028876"/>
              <a:gd name="connsiteY0" fmla="*/ 4751671 h 4751671"/>
              <a:gd name="connsiteX1" fmla="*/ 3028876 w 3028876"/>
              <a:gd name="connsiteY1" fmla="*/ 0 h 4751671"/>
              <a:gd name="connsiteX2" fmla="*/ 2027070 w 3028876"/>
              <a:gd name="connsiteY2" fmla="*/ 4751671 h 4751671"/>
              <a:gd name="connsiteX3" fmla="*/ 0 w 3028876"/>
              <a:gd name="connsiteY3" fmla="*/ 4751671 h 4751671"/>
              <a:gd name="connsiteX0" fmla="*/ 647 w 3029523"/>
              <a:gd name="connsiteY0" fmla="*/ 4751671 h 4751671"/>
              <a:gd name="connsiteX1" fmla="*/ 3029523 w 3029523"/>
              <a:gd name="connsiteY1" fmla="*/ 0 h 4751671"/>
              <a:gd name="connsiteX2" fmla="*/ 2027717 w 3029523"/>
              <a:gd name="connsiteY2" fmla="*/ 4751671 h 4751671"/>
              <a:gd name="connsiteX3" fmla="*/ 647 w 3029523"/>
              <a:gd name="connsiteY3" fmla="*/ 4751671 h 4751671"/>
              <a:gd name="connsiteX0" fmla="*/ 647 w 3029523"/>
              <a:gd name="connsiteY0" fmla="*/ 4751671 h 4751671"/>
              <a:gd name="connsiteX1" fmla="*/ 3029523 w 3029523"/>
              <a:gd name="connsiteY1" fmla="*/ 0 h 4751671"/>
              <a:gd name="connsiteX2" fmla="*/ 2027717 w 3029523"/>
              <a:gd name="connsiteY2" fmla="*/ 4751671 h 4751671"/>
              <a:gd name="connsiteX3" fmla="*/ 647 w 3029523"/>
              <a:gd name="connsiteY3" fmla="*/ 4751671 h 4751671"/>
              <a:gd name="connsiteX0" fmla="*/ 655 w 3015166"/>
              <a:gd name="connsiteY0" fmla="*/ 4771320 h 4771320"/>
              <a:gd name="connsiteX1" fmla="*/ 3015166 w 3015166"/>
              <a:gd name="connsiteY1" fmla="*/ 0 h 4771320"/>
              <a:gd name="connsiteX2" fmla="*/ 2013360 w 3015166"/>
              <a:gd name="connsiteY2" fmla="*/ 4751671 h 4771320"/>
              <a:gd name="connsiteX3" fmla="*/ 655 w 3015166"/>
              <a:gd name="connsiteY3" fmla="*/ 4771320 h 4771320"/>
              <a:gd name="connsiteX0" fmla="*/ 655 w 3015166"/>
              <a:gd name="connsiteY0" fmla="*/ 4771320 h 4771320"/>
              <a:gd name="connsiteX1" fmla="*/ 3015166 w 3015166"/>
              <a:gd name="connsiteY1" fmla="*/ 0 h 4771320"/>
              <a:gd name="connsiteX2" fmla="*/ 2013360 w 3015166"/>
              <a:gd name="connsiteY2" fmla="*/ 4751671 h 4771320"/>
              <a:gd name="connsiteX3" fmla="*/ 655 w 3015166"/>
              <a:gd name="connsiteY3" fmla="*/ 4771320 h 4771320"/>
              <a:gd name="connsiteX0" fmla="*/ 404 w 3014915"/>
              <a:gd name="connsiteY0" fmla="*/ 4771320 h 4771320"/>
              <a:gd name="connsiteX1" fmla="*/ 3014915 w 3014915"/>
              <a:gd name="connsiteY1" fmla="*/ 0 h 4771320"/>
              <a:gd name="connsiteX2" fmla="*/ 2013109 w 3014915"/>
              <a:gd name="connsiteY2" fmla="*/ 4751671 h 4771320"/>
              <a:gd name="connsiteX3" fmla="*/ 404 w 3014915"/>
              <a:gd name="connsiteY3" fmla="*/ 4771320 h 4771320"/>
              <a:gd name="connsiteX0" fmla="*/ 580 w 2320742"/>
              <a:gd name="connsiteY0" fmla="*/ 4764236 h 4764236"/>
              <a:gd name="connsiteX1" fmla="*/ 2320742 w 2320742"/>
              <a:gd name="connsiteY1" fmla="*/ 0 h 4764236"/>
              <a:gd name="connsiteX2" fmla="*/ 2013285 w 2320742"/>
              <a:gd name="connsiteY2" fmla="*/ 4744587 h 4764236"/>
              <a:gd name="connsiteX3" fmla="*/ 580 w 2320742"/>
              <a:gd name="connsiteY3" fmla="*/ 4764236 h 4764236"/>
              <a:gd name="connsiteX0" fmla="*/ 628 w 2320790"/>
              <a:gd name="connsiteY0" fmla="*/ 4764236 h 4764236"/>
              <a:gd name="connsiteX1" fmla="*/ 2320790 w 2320790"/>
              <a:gd name="connsiteY1" fmla="*/ 0 h 4764236"/>
              <a:gd name="connsiteX2" fmla="*/ 2013333 w 2320790"/>
              <a:gd name="connsiteY2" fmla="*/ 4744587 h 4764236"/>
              <a:gd name="connsiteX3" fmla="*/ 628 w 2320790"/>
              <a:gd name="connsiteY3" fmla="*/ 4764236 h 4764236"/>
              <a:gd name="connsiteX0" fmla="*/ 628 w 2320790"/>
              <a:gd name="connsiteY0" fmla="*/ 4764236 h 4764236"/>
              <a:gd name="connsiteX1" fmla="*/ 2320790 w 2320790"/>
              <a:gd name="connsiteY1" fmla="*/ 0 h 4764236"/>
              <a:gd name="connsiteX2" fmla="*/ 2013333 w 2320790"/>
              <a:gd name="connsiteY2" fmla="*/ 4744587 h 4764236"/>
              <a:gd name="connsiteX3" fmla="*/ 628 w 2320790"/>
              <a:gd name="connsiteY3" fmla="*/ 4764236 h 4764236"/>
              <a:gd name="connsiteX0" fmla="*/ 730 w 2320892"/>
              <a:gd name="connsiteY0" fmla="*/ 4764236 h 4764236"/>
              <a:gd name="connsiteX1" fmla="*/ 2320892 w 2320892"/>
              <a:gd name="connsiteY1" fmla="*/ 0 h 4764236"/>
              <a:gd name="connsiteX2" fmla="*/ 2013435 w 2320892"/>
              <a:gd name="connsiteY2" fmla="*/ 4744587 h 4764236"/>
              <a:gd name="connsiteX3" fmla="*/ 730 w 2320892"/>
              <a:gd name="connsiteY3" fmla="*/ 4764236 h 4764236"/>
              <a:gd name="connsiteX0" fmla="*/ 842 w 2321004"/>
              <a:gd name="connsiteY0" fmla="*/ 4764236 h 4764236"/>
              <a:gd name="connsiteX1" fmla="*/ 2321004 w 2321004"/>
              <a:gd name="connsiteY1" fmla="*/ 0 h 4764236"/>
              <a:gd name="connsiteX2" fmla="*/ 2013547 w 2321004"/>
              <a:gd name="connsiteY2" fmla="*/ 4744587 h 4764236"/>
              <a:gd name="connsiteX3" fmla="*/ 842 w 2321004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221075"/>
              <a:gd name="connsiteY0" fmla="*/ 4305853 h 4744587"/>
              <a:gd name="connsiteX1" fmla="*/ 2221075 w 2221075"/>
              <a:gd name="connsiteY1" fmla="*/ 0 h 4744587"/>
              <a:gd name="connsiteX2" fmla="*/ 1913618 w 2221075"/>
              <a:gd name="connsiteY2" fmla="*/ 4744587 h 4744587"/>
              <a:gd name="connsiteX3" fmla="*/ 0 w 2221075"/>
              <a:gd name="connsiteY3" fmla="*/ 4305853 h 4744587"/>
              <a:gd name="connsiteX0" fmla="*/ 0 w 2297521"/>
              <a:gd name="connsiteY0" fmla="*/ 5562522 h 6001256"/>
              <a:gd name="connsiteX1" fmla="*/ 2297521 w 2297521"/>
              <a:gd name="connsiteY1" fmla="*/ 0 h 6001256"/>
              <a:gd name="connsiteX2" fmla="*/ 1913618 w 2297521"/>
              <a:gd name="connsiteY2" fmla="*/ 6001256 h 6001256"/>
              <a:gd name="connsiteX3" fmla="*/ 0 w 2297521"/>
              <a:gd name="connsiteY3" fmla="*/ 5562522 h 6001256"/>
              <a:gd name="connsiteX0" fmla="*/ 0 w 2297521"/>
              <a:gd name="connsiteY0" fmla="*/ 5562522 h 6001256"/>
              <a:gd name="connsiteX1" fmla="*/ 2297521 w 2297521"/>
              <a:gd name="connsiteY1" fmla="*/ 0 h 6001256"/>
              <a:gd name="connsiteX2" fmla="*/ 1913618 w 2297521"/>
              <a:gd name="connsiteY2" fmla="*/ 6001256 h 6001256"/>
              <a:gd name="connsiteX3" fmla="*/ 0 w 2297521"/>
              <a:gd name="connsiteY3" fmla="*/ 5562522 h 6001256"/>
              <a:gd name="connsiteX0" fmla="*/ 0 w 2297521"/>
              <a:gd name="connsiteY0" fmla="*/ 5562522 h 6001256"/>
              <a:gd name="connsiteX1" fmla="*/ 2297521 w 2297521"/>
              <a:gd name="connsiteY1" fmla="*/ 0 h 6001256"/>
              <a:gd name="connsiteX2" fmla="*/ 1913618 w 2297521"/>
              <a:gd name="connsiteY2" fmla="*/ 6001256 h 6001256"/>
              <a:gd name="connsiteX3" fmla="*/ 0 w 2297521"/>
              <a:gd name="connsiteY3" fmla="*/ 5562522 h 6001256"/>
              <a:gd name="connsiteX0" fmla="*/ 0 w 2236743"/>
              <a:gd name="connsiteY0" fmla="*/ 5289963 h 6001256"/>
              <a:gd name="connsiteX1" fmla="*/ 2236743 w 2236743"/>
              <a:gd name="connsiteY1" fmla="*/ 0 h 6001256"/>
              <a:gd name="connsiteX2" fmla="*/ 1852840 w 2236743"/>
              <a:gd name="connsiteY2" fmla="*/ 6001256 h 6001256"/>
              <a:gd name="connsiteX3" fmla="*/ 0 w 2236743"/>
              <a:gd name="connsiteY3" fmla="*/ 5289963 h 6001256"/>
              <a:gd name="connsiteX0" fmla="*/ 0 w 2236743"/>
              <a:gd name="connsiteY0" fmla="*/ 5289963 h 6091870"/>
              <a:gd name="connsiteX1" fmla="*/ 2236743 w 2236743"/>
              <a:gd name="connsiteY1" fmla="*/ 0 h 6091870"/>
              <a:gd name="connsiteX2" fmla="*/ 1845009 w 2236743"/>
              <a:gd name="connsiteY2" fmla="*/ 6091871 h 6091870"/>
              <a:gd name="connsiteX3" fmla="*/ 0 w 2236743"/>
              <a:gd name="connsiteY3" fmla="*/ 5289963 h 6091870"/>
              <a:gd name="connsiteX0" fmla="*/ 0 w 2236743"/>
              <a:gd name="connsiteY0" fmla="*/ 5289963 h 6091870"/>
              <a:gd name="connsiteX1" fmla="*/ 2236743 w 2236743"/>
              <a:gd name="connsiteY1" fmla="*/ 0 h 6091870"/>
              <a:gd name="connsiteX2" fmla="*/ 1845009 w 2236743"/>
              <a:gd name="connsiteY2" fmla="*/ 6091871 h 6091870"/>
              <a:gd name="connsiteX3" fmla="*/ 0 w 2236743"/>
              <a:gd name="connsiteY3" fmla="*/ 5289963 h 6091870"/>
              <a:gd name="connsiteX0" fmla="*/ 0 w 2177759"/>
              <a:gd name="connsiteY0" fmla="*/ 5088522 h 6091870"/>
              <a:gd name="connsiteX1" fmla="*/ 2177759 w 2177759"/>
              <a:gd name="connsiteY1" fmla="*/ 0 h 6091870"/>
              <a:gd name="connsiteX2" fmla="*/ 1786025 w 2177759"/>
              <a:gd name="connsiteY2" fmla="*/ 6091871 h 6091870"/>
              <a:gd name="connsiteX3" fmla="*/ 0 w 2177759"/>
              <a:gd name="connsiteY3" fmla="*/ 5088522 h 6091870"/>
              <a:gd name="connsiteX0" fmla="*/ 0 w 2177759"/>
              <a:gd name="connsiteY0" fmla="*/ 5088522 h 6091870"/>
              <a:gd name="connsiteX1" fmla="*/ 2177759 w 2177759"/>
              <a:gd name="connsiteY1" fmla="*/ 0 h 6091870"/>
              <a:gd name="connsiteX2" fmla="*/ 1786025 w 2177759"/>
              <a:gd name="connsiteY2" fmla="*/ 6091871 h 6091870"/>
              <a:gd name="connsiteX3" fmla="*/ 0 w 2177759"/>
              <a:gd name="connsiteY3" fmla="*/ 5088522 h 6091870"/>
              <a:gd name="connsiteX0" fmla="*/ 0 w 2271691"/>
              <a:gd name="connsiteY0" fmla="*/ 5381101 h 6384449"/>
              <a:gd name="connsiteX1" fmla="*/ 2271691 w 2271691"/>
              <a:gd name="connsiteY1" fmla="*/ -1 h 6384449"/>
              <a:gd name="connsiteX2" fmla="*/ 1786025 w 2271691"/>
              <a:gd name="connsiteY2" fmla="*/ 6384450 h 6384449"/>
              <a:gd name="connsiteX3" fmla="*/ 0 w 2271691"/>
              <a:gd name="connsiteY3" fmla="*/ 5381101 h 6384449"/>
              <a:gd name="connsiteX0" fmla="*/ 0 w 2252948"/>
              <a:gd name="connsiteY0" fmla="*/ 5309663 h 6384449"/>
              <a:gd name="connsiteX1" fmla="*/ 2252948 w 2252948"/>
              <a:gd name="connsiteY1" fmla="*/ -1 h 6384449"/>
              <a:gd name="connsiteX2" fmla="*/ 1767282 w 2252948"/>
              <a:gd name="connsiteY2" fmla="*/ 6384450 h 6384449"/>
              <a:gd name="connsiteX3" fmla="*/ 0 w 2252948"/>
              <a:gd name="connsiteY3" fmla="*/ 5309663 h 6384449"/>
              <a:gd name="connsiteX0" fmla="*/ 0 w 2252948"/>
              <a:gd name="connsiteY0" fmla="*/ 5309663 h 6384449"/>
              <a:gd name="connsiteX1" fmla="*/ 2252948 w 2252948"/>
              <a:gd name="connsiteY1" fmla="*/ -1 h 6384449"/>
              <a:gd name="connsiteX2" fmla="*/ 1767282 w 2252948"/>
              <a:gd name="connsiteY2" fmla="*/ 6384450 h 6384449"/>
              <a:gd name="connsiteX3" fmla="*/ 0 w 2252948"/>
              <a:gd name="connsiteY3" fmla="*/ 5309663 h 6384449"/>
              <a:gd name="connsiteX0" fmla="*/ 0 w 2252948"/>
              <a:gd name="connsiteY0" fmla="*/ 5309663 h 6384449"/>
              <a:gd name="connsiteX1" fmla="*/ 2252948 w 2252948"/>
              <a:gd name="connsiteY1" fmla="*/ -1 h 6384449"/>
              <a:gd name="connsiteX2" fmla="*/ 1767282 w 2252948"/>
              <a:gd name="connsiteY2" fmla="*/ 6384450 h 6384449"/>
              <a:gd name="connsiteX3" fmla="*/ 0 w 2252948"/>
              <a:gd name="connsiteY3" fmla="*/ 5309663 h 6384449"/>
              <a:gd name="connsiteX0" fmla="*/ 0 w 2252948"/>
              <a:gd name="connsiteY0" fmla="*/ 5309663 h 6384449"/>
              <a:gd name="connsiteX1" fmla="*/ 2252948 w 2252948"/>
              <a:gd name="connsiteY1" fmla="*/ -1 h 6384449"/>
              <a:gd name="connsiteX2" fmla="*/ 1767282 w 2252948"/>
              <a:gd name="connsiteY2" fmla="*/ 6384450 h 6384449"/>
              <a:gd name="connsiteX3" fmla="*/ 0 w 2252948"/>
              <a:gd name="connsiteY3" fmla="*/ 5309663 h 6384449"/>
              <a:gd name="connsiteX0" fmla="*/ 0 w 2252948"/>
              <a:gd name="connsiteY0" fmla="*/ 5309663 h 6384449"/>
              <a:gd name="connsiteX1" fmla="*/ 2252948 w 2252948"/>
              <a:gd name="connsiteY1" fmla="*/ -1 h 6384449"/>
              <a:gd name="connsiteX2" fmla="*/ 1767282 w 2252948"/>
              <a:gd name="connsiteY2" fmla="*/ 6384450 h 6384449"/>
              <a:gd name="connsiteX3" fmla="*/ 0 w 2252948"/>
              <a:gd name="connsiteY3" fmla="*/ 5309663 h 6384449"/>
              <a:gd name="connsiteX0" fmla="*/ 0 w 2252948"/>
              <a:gd name="connsiteY0" fmla="*/ 5309663 h 6384449"/>
              <a:gd name="connsiteX1" fmla="*/ 2252948 w 2252948"/>
              <a:gd name="connsiteY1" fmla="*/ -1 h 6384449"/>
              <a:gd name="connsiteX2" fmla="*/ 1767282 w 2252948"/>
              <a:gd name="connsiteY2" fmla="*/ 6384450 h 6384449"/>
              <a:gd name="connsiteX3" fmla="*/ 0 w 2252948"/>
              <a:gd name="connsiteY3" fmla="*/ 5309663 h 6384449"/>
              <a:gd name="connsiteX0" fmla="*/ 0 w 2026263"/>
              <a:gd name="connsiteY0" fmla="*/ 4977390 h 6052176"/>
              <a:gd name="connsiteX1" fmla="*/ 2026263 w 2026263"/>
              <a:gd name="connsiteY1" fmla="*/ 0 h 6052176"/>
              <a:gd name="connsiteX2" fmla="*/ 1767282 w 2026263"/>
              <a:gd name="connsiteY2" fmla="*/ 6052177 h 6052176"/>
              <a:gd name="connsiteX3" fmla="*/ 0 w 2026263"/>
              <a:gd name="connsiteY3" fmla="*/ 4977390 h 6052176"/>
              <a:gd name="connsiteX0" fmla="*/ 0 w 2026263"/>
              <a:gd name="connsiteY0" fmla="*/ 4977390 h 6052176"/>
              <a:gd name="connsiteX1" fmla="*/ 2026263 w 2026263"/>
              <a:gd name="connsiteY1" fmla="*/ 0 h 6052176"/>
              <a:gd name="connsiteX2" fmla="*/ 1767282 w 2026263"/>
              <a:gd name="connsiteY2" fmla="*/ 6052177 h 6052176"/>
              <a:gd name="connsiteX3" fmla="*/ 0 w 2026263"/>
              <a:gd name="connsiteY3" fmla="*/ 4977390 h 605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26263" h="6052176">
                <a:moveTo>
                  <a:pt x="0" y="4977390"/>
                </a:moveTo>
                <a:cubicBezTo>
                  <a:pt x="915034" y="2962684"/>
                  <a:pt x="651825" y="2067263"/>
                  <a:pt x="2026263" y="0"/>
                </a:cubicBezTo>
                <a:cubicBezTo>
                  <a:pt x="583523" y="2954432"/>
                  <a:pt x="1695952" y="4440921"/>
                  <a:pt x="1767282" y="6052177"/>
                </a:cubicBezTo>
                <a:lnTo>
                  <a:pt x="0" y="4977390"/>
                </a:lnTo>
                <a:close/>
              </a:path>
            </a:pathLst>
          </a:custGeom>
          <a:gradFill flip="none" rotWithShape="1">
            <a:gsLst>
              <a:gs pos="9000">
                <a:schemeClr val="bg1">
                  <a:alpha val="0"/>
                </a:schemeClr>
              </a:gs>
              <a:gs pos="100000">
                <a:schemeClr val="bg1">
                  <a:alpha val="6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8" name="Isosceles Triangle 2">
            <a:extLst>
              <a:ext uri="{FF2B5EF4-FFF2-40B4-BE49-F238E27FC236}">
                <a16:creationId xmlns:a16="http://schemas.microsoft.com/office/drawing/2014/main" id="{8977BA82-3B81-428D-BCCE-F1BA22A8CA2A}"/>
              </a:ext>
            </a:extLst>
          </p:cNvPr>
          <p:cNvSpPr/>
          <p:nvPr/>
        </p:nvSpPr>
        <p:spPr>
          <a:xfrm rot="15688831" flipH="1">
            <a:off x="4995192" y="2866225"/>
            <a:ext cx="5026774" cy="3430610"/>
          </a:xfrm>
          <a:custGeom>
            <a:avLst/>
            <a:gdLst>
              <a:gd name="connsiteX0" fmla="*/ 0 w 2027070"/>
              <a:gd name="connsiteY0" fmla="*/ 1589829 h 1589829"/>
              <a:gd name="connsiteX1" fmla="*/ 1013535 w 2027070"/>
              <a:gd name="connsiteY1" fmla="*/ 0 h 1589829"/>
              <a:gd name="connsiteX2" fmla="*/ 2027070 w 2027070"/>
              <a:gd name="connsiteY2" fmla="*/ 1589829 h 1589829"/>
              <a:gd name="connsiteX3" fmla="*/ 0 w 2027070"/>
              <a:gd name="connsiteY3" fmla="*/ 1589829 h 1589829"/>
              <a:gd name="connsiteX0" fmla="*/ 0 w 3028876"/>
              <a:gd name="connsiteY0" fmla="*/ 4751671 h 4751671"/>
              <a:gd name="connsiteX1" fmla="*/ 3028876 w 3028876"/>
              <a:gd name="connsiteY1" fmla="*/ 0 h 4751671"/>
              <a:gd name="connsiteX2" fmla="*/ 2027070 w 3028876"/>
              <a:gd name="connsiteY2" fmla="*/ 4751671 h 4751671"/>
              <a:gd name="connsiteX3" fmla="*/ 0 w 3028876"/>
              <a:gd name="connsiteY3" fmla="*/ 4751671 h 4751671"/>
              <a:gd name="connsiteX0" fmla="*/ 0 w 3028876"/>
              <a:gd name="connsiteY0" fmla="*/ 4751671 h 4751671"/>
              <a:gd name="connsiteX1" fmla="*/ 3028876 w 3028876"/>
              <a:gd name="connsiteY1" fmla="*/ 0 h 4751671"/>
              <a:gd name="connsiteX2" fmla="*/ 2027070 w 3028876"/>
              <a:gd name="connsiteY2" fmla="*/ 4751671 h 4751671"/>
              <a:gd name="connsiteX3" fmla="*/ 0 w 3028876"/>
              <a:gd name="connsiteY3" fmla="*/ 4751671 h 4751671"/>
              <a:gd name="connsiteX0" fmla="*/ 0 w 3028876"/>
              <a:gd name="connsiteY0" fmla="*/ 4751671 h 4751671"/>
              <a:gd name="connsiteX1" fmla="*/ 3028876 w 3028876"/>
              <a:gd name="connsiteY1" fmla="*/ 0 h 4751671"/>
              <a:gd name="connsiteX2" fmla="*/ 2027070 w 3028876"/>
              <a:gd name="connsiteY2" fmla="*/ 4751671 h 4751671"/>
              <a:gd name="connsiteX3" fmla="*/ 0 w 3028876"/>
              <a:gd name="connsiteY3" fmla="*/ 4751671 h 4751671"/>
              <a:gd name="connsiteX0" fmla="*/ 0 w 3028876"/>
              <a:gd name="connsiteY0" fmla="*/ 4751671 h 4751671"/>
              <a:gd name="connsiteX1" fmla="*/ 3028876 w 3028876"/>
              <a:gd name="connsiteY1" fmla="*/ 0 h 4751671"/>
              <a:gd name="connsiteX2" fmla="*/ 2027070 w 3028876"/>
              <a:gd name="connsiteY2" fmla="*/ 4751671 h 4751671"/>
              <a:gd name="connsiteX3" fmla="*/ 0 w 3028876"/>
              <a:gd name="connsiteY3" fmla="*/ 4751671 h 4751671"/>
              <a:gd name="connsiteX0" fmla="*/ 647 w 3029523"/>
              <a:gd name="connsiteY0" fmla="*/ 4751671 h 4751671"/>
              <a:gd name="connsiteX1" fmla="*/ 3029523 w 3029523"/>
              <a:gd name="connsiteY1" fmla="*/ 0 h 4751671"/>
              <a:gd name="connsiteX2" fmla="*/ 2027717 w 3029523"/>
              <a:gd name="connsiteY2" fmla="*/ 4751671 h 4751671"/>
              <a:gd name="connsiteX3" fmla="*/ 647 w 3029523"/>
              <a:gd name="connsiteY3" fmla="*/ 4751671 h 4751671"/>
              <a:gd name="connsiteX0" fmla="*/ 647 w 3029523"/>
              <a:gd name="connsiteY0" fmla="*/ 4751671 h 4751671"/>
              <a:gd name="connsiteX1" fmla="*/ 3029523 w 3029523"/>
              <a:gd name="connsiteY1" fmla="*/ 0 h 4751671"/>
              <a:gd name="connsiteX2" fmla="*/ 2027717 w 3029523"/>
              <a:gd name="connsiteY2" fmla="*/ 4751671 h 4751671"/>
              <a:gd name="connsiteX3" fmla="*/ 647 w 3029523"/>
              <a:gd name="connsiteY3" fmla="*/ 4751671 h 4751671"/>
              <a:gd name="connsiteX0" fmla="*/ 655 w 3015166"/>
              <a:gd name="connsiteY0" fmla="*/ 4771320 h 4771320"/>
              <a:gd name="connsiteX1" fmla="*/ 3015166 w 3015166"/>
              <a:gd name="connsiteY1" fmla="*/ 0 h 4771320"/>
              <a:gd name="connsiteX2" fmla="*/ 2013360 w 3015166"/>
              <a:gd name="connsiteY2" fmla="*/ 4751671 h 4771320"/>
              <a:gd name="connsiteX3" fmla="*/ 655 w 3015166"/>
              <a:gd name="connsiteY3" fmla="*/ 4771320 h 4771320"/>
              <a:gd name="connsiteX0" fmla="*/ 655 w 3015166"/>
              <a:gd name="connsiteY0" fmla="*/ 4771320 h 4771320"/>
              <a:gd name="connsiteX1" fmla="*/ 3015166 w 3015166"/>
              <a:gd name="connsiteY1" fmla="*/ 0 h 4771320"/>
              <a:gd name="connsiteX2" fmla="*/ 2013360 w 3015166"/>
              <a:gd name="connsiteY2" fmla="*/ 4751671 h 4771320"/>
              <a:gd name="connsiteX3" fmla="*/ 655 w 3015166"/>
              <a:gd name="connsiteY3" fmla="*/ 4771320 h 4771320"/>
              <a:gd name="connsiteX0" fmla="*/ 404 w 3014915"/>
              <a:gd name="connsiteY0" fmla="*/ 4771320 h 4771320"/>
              <a:gd name="connsiteX1" fmla="*/ 3014915 w 3014915"/>
              <a:gd name="connsiteY1" fmla="*/ 0 h 4771320"/>
              <a:gd name="connsiteX2" fmla="*/ 2013109 w 3014915"/>
              <a:gd name="connsiteY2" fmla="*/ 4751671 h 4771320"/>
              <a:gd name="connsiteX3" fmla="*/ 404 w 3014915"/>
              <a:gd name="connsiteY3" fmla="*/ 4771320 h 4771320"/>
              <a:gd name="connsiteX0" fmla="*/ 580 w 2320742"/>
              <a:gd name="connsiteY0" fmla="*/ 4764236 h 4764236"/>
              <a:gd name="connsiteX1" fmla="*/ 2320742 w 2320742"/>
              <a:gd name="connsiteY1" fmla="*/ 0 h 4764236"/>
              <a:gd name="connsiteX2" fmla="*/ 2013285 w 2320742"/>
              <a:gd name="connsiteY2" fmla="*/ 4744587 h 4764236"/>
              <a:gd name="connsiteX3" fmla="*/ 580 w 2320742"/>
              <a:gd name="connsiteY3" fmla="*/ 4764236 h 4764236"/>
              <a:gd name="connsiteX0" fmla="*/ 628 w 2320790"/>
              <a:gd name="connsiteY0" fmla="*/ 4764236 h 4764236"/>
              <a:gd name="connsiteX1" fmla="*/ 2320790 w 2320790"/>
              <a:gd name="connsiteY1" fmla="*/ 0 h 4764236"/>
              <a:gd name="connsiteX2" fmla="*/ 2013333 w 2320790"/>
              <a:gd name="connsiteY2" fmla="*/ 4744587 h 4764236"/>
              <a:gd name="connsiteX3" fmla="*/ 628 w 2320790"/>
              <a:gd name="connsiteY3" fmla="*/ 4764236 h 4764236"/>
              <a:gd name="connsiteX0" fmla="*/ 628 w 2320790"/>
              <a:gd name="connsiteY0" fmla="*/ 4764236 h 4764236"/>
              <a:gd name="connsiteX1" fmla="*/ 2320790 w 2320790"/>
              <a:gd name="connsiteY1" fmla="*/ 0 h 4764236"/>
              <a:gd name="connsiteX2" fmla="*/ 2013333 w 2320790"/>
              <a:gd name="connsiteY2" fmla="*/ 4744587 h 4764236"/>
              <a:gd name="connsiteX3" fmla="*/ 628 w 2320790"/>
              <a:gd name="connsiteY3" fmla="*/ 4764236 h 4764236"/>
              <a:gd name="connsiteX0" fmla="*/ 730 w 2320892"/>
              <a:gd name="connsiteY0" fmla="*/ 4764236 h 4764236"/>
              <a:gd name="connsiteX1" fmla="*/ 2320892 w 2320892"/>
              <a:gd name="connsiteY1" fmla="*/ 0 h 4764236"/>
              <a:gd name="connsiteX2" fmla="*/ 2013435 w 2320892"/>
              <a:gd name="connsiteY2" fmla="*/ 4744587 h 4764236"/>
              <a:gd name="connsiteX3" fmla="*/ 730 w 2320892"/>
              <a:gd name="connsiteY3" fmla="*/ 4764236 h 4764236"/>
              <a:gd name="connsiteX0" fmla="*/ 842 w 2321004"/>
              <a:gd name="connsiteY0" fmla="*/ 4764236 h 4764236"/>
              <a:gd name="connsiteX1" fmla="*/ 2321004 w 2321004"/>
              <a:gd name="connsiteY1" fmla="*/ 0 h 4764236"/>
              <a:gd name="connsiteX2" fmla="*/ 2013547 w 2321004"/>
              <a:gd name="connsiteY2" fmla="*/ 4744587 h 4764236"/>
              <a:gd name="connsiteX3" fmla="*/ 842 w 2321004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221075"/>
              <a:gd name="connsiteY0" fmla="*/ 4305853 h 4744587"/>
              <a:gd name="connsiteX1" fmla="*/ 2221075 w 2221075"/>
              <a:gd name="connsiteY1" fmla="*/ 0 h 4744587"/>
              <a:gd name="connsiteX2" fmla="*/ 1913618 w 2221075"/>
              <a:gd name="connsiteY2" fmla="*/ 4744587 h 4744587"/>
              <a:gd name="connsiteX3" fmla="*/ 0 w 2221075"/>
              <a:gd name="connsiteY3" fmla="*/ 4305853 h 4744587"/>
              <a:gd name="connsiteX0" fmla="*/ 0 w 2297521"/>
              <a:gd name="connsiteY0" fmla="*/ 5562522 h 6001256"/>
              <a:gd name="connsiteX1" fmla="*/ 2297521 w 2297521"/>
              <a:gd name="connsiteY1" fmla="*/ 0 h 6001256"/>
              <a:gd name="connsiteX2" fmla="*/ 1913618 w 2297521"/>
              <a:gd name="connsiteY2" fmla="*/ 6001256 h 6001256"/>
              <a:gd name="connsiteX3" fmla="*/ 0 w 2297521"/>
              <a:gd name="connsiteY3" fmla="*/ 5562522 h 6001256"/>
              <a:gd name="connsiteX0" fmla="*/ 0 w 2297521"/>
              <a:gd name="connsiteY0" fmla="*/ 5562522 h 6001256"/>
              <a:gd name="connsiteX1" fmla="*/ 2297521 w 2297521"/>
              <a:gd name="connsiteY1" fmla="*/ 0 h 6001256"/>
              <a:gd name="connsiteX2" fmla="*/ 1913618 w 2297521"/>
              <a:gd name="connsiteY2" fmla="*/ 6001256 h 6001256"/>
              <a:gd name="connsiteX3" fmla="*/ 0 w 2297521"/>
              <a:gd name="connsiteY3" fmla="*/ 5562522 h 6001256"/>
              <a:gd name="connsiteX0" fmla="*/ 0 w 2297521"/>
              <a:gd name="connsiteY0" fmla="*/ 5562522 h 6001256"/>
              <a:gd name="connsiteX1" fmla="*/ 2297521 w 2297521"/>
              <a:gd name="connsiteY1" fmla="*/ 0 h 6001256"/>
              <a:gd name="connsiteX2" fmla="*/ 1913618 w 2297521"/>
              <a:gd name="connsiteY2" fmla="*/ 6001256 h 6001256"/>
              <a:gd name="connsiteX3" fmla="*/ 0 w 2297521"/>
              <a:gd name="connsiteY3" fmla="*/ 5562522 h 6001256"/>
              <a:gd name="connsiteX0" fmla="*/ 0 w 2236743"/>
              <a:gd name="connsiteY0" fmla="*/ 5289963 h 6001256"/>
              <a:gd name="connsiteX1" fmla="*/ 2236743 w 2236743"/>
              <a:gd name="connsiteY1" fmla="*/ 0 h 6001256"/>
              <a:gd name="connsiteX2" fmla="*/ 1852840 w 2236743"/>
              <a:gd name="connsiteY2" fmla="*/ 6001256 h 6001256"/>
              <a:gd name="connsiteX3" fmla="*/ 0 w 2236743"/>
              <a:gd name="connsiteY3" fmla="*/ 5289963 h 6001256"/>
              <a:gd name="connsiteX0" fmla="*/ 0 w 2236743"/>
              <a:gd name="connsiteY0" fmla="*/ 5289963 h 6091870"/>
              <a:gd name="connsiteX1" fmla="*/ 2236743 w 2236743"/>
              <a:gd name="connsiteY1" fmla="*/ 0 h 6091870"/>
              <a:gd name="connsiteX2" fmla="*/ 1845009 w 2236743"/>
              <a:gd name="connsiteY2" fmla="*/ 6091871 h 6091870"/>
              <a:gd name="connsiteX3" fmla="*/ 0 w 2236743"/>
              <a:gd name="connsiteY3" fmla="*/ 5289963 h 6091870"/>
              <a:gd name="connsiteX0" fmla="*/ 0 w 2236743"/>
              <a:gd name="connsiteY0" fmla="*/ 5289963 h 6091870"/>
              <a:gd name="connsiteX1" fmla="*/ 2236743 w 2236743"/>
              <a:gd name="connsiteY1" fmla="*/ 0 h 6091870"/>
              <a:gd name="connsiteX2" fmla="*/ 1845009 w 2236743"/>
              <a:gd name="connsiteY2" fmla="*/ 6091871 h 6091870"/>
              <a:gd name="connsiteX3" fmla="*/ 0 w 2236743"/>
              <a:gd name="connsiteY3" fmla="*/ 5289963 h 6091870"/>
              <a:gd name="connsiteX0" fmla="*/ 0 w 2177759"/>
              <a:gd name="connsiteY0" fmla="*/ 5088522 h 6091870"/>
              <a:gd name="connsiteX1" fmla="*/ 2177759 w 2177759"/>
              <a:gd name="connsiteY1" fmla="*/ 0 h 6091870"/>
              <a:gd name="connsiteX2" fmla="*/ 1786025 w 2177759"/>
              <a:gd name="connsiteY2" fmla="*/ 6091871 h 6091870"/>
              <a:gd name="connsiteX3" fmla="*/ 0 w 2177759"/>
              <a:gd name="connsiteY3" fmla="*/ 5088522 h 6091870"/>
              <a:gd name="connsiteX0" fmla="*/ 0 w 2177759"/>
              <a:gd name="connsiteY0" fmla="*/ 5088522 h 6091870"/>
              <a:gd name="connsiteX1" fmla="*/ 2177759 w 2177759"/>
              <a:gd name="connsiteY1" fmla="*/ 0 h 6091870"/>
              <a:gd name="connsiteX2" fmla="*/ 1786025 w 2177759"/>
              <a:gd name="connsiteY2" fmla="*/ 6091871 h 6091870"/>
              <a:gd name="connsiteX3" fmla="*/ 0 w 2177759"/>
              <a:gd name="connsiteY3" fmla="*/ 5088522 h 6091870"/>
              <a:gd name="connsiteX0" fmla="*/ 0 w 2271691"/>
              <a:gd name="connsiteY0" fmla="*/ 5381101 h 6384449"/>
              <a:gd name="connsiteX1" fmla="*/ 2271691 w 2271691"/>
              <a:gd name="connsiteY1" fmla="*/ -1 h 6384449"/>
              <a:gd name="connsiteX2" fmla="*/ 1786025 w 2271691"/>
              <a:gd name="connsiteY2" fmla="*/ 6384450 h 6384449"/>
              <a:gd name="connsiteX3" fmla="*/ 0 w 2271691"/>
              <a:gd name="connsiteY3" fmla="*/ 5381101 h 6384449"/>
              <a:gd name="connsiteX0" fmla="*/ 0 w 2252948"/>
              <a:gd name="connsiteY0" fmla="*/ 5309663 h 6384449"/>
              <a:gd name="connsiteX1" fmla="*/ 2252948 w 2252948"/>
              <a:gd name="connsiteY1" fmla="*/ -1 h 6384449"/>
              <a:gd name="connsiteX2" fmla="*/ 1767282 w 2252948"/>
              <a:gd name="connsiteY2" fmla="*/ 6384450 h 6384449"/>
              <a:gd name="connsiteX3" fmla="*/ 0 w 2252948"/>
              <a:gd name="connsiteY3" fmla="*/ 5309663 h 6384449"/>
              <a:gd name="connsiteX0" fmla="*/ 0 w 2252948"/>
              <a:gd name="connsiteY0" fmla="*/ 5309663 h 6384449"/>
              <a:gd name="connsiteX1" fmla="*/ 2252948 w 2252948"/>
              <a:gd name="connsiteY1" fmla="*/ -1 h 6384449"/>
              <a:gd name="connsiteX2" fmla="*/ 1767282 w 2252948"/>
              <a:gd name="connsiteY2" fmla="*/ 6384450 h 6384449"/>
              <a:gd name="connsiteX3" fmla="*/ 0 w 2252948"/>
              <a:gd name="connsiteY3" fmla="*/ 5309663 h 6384449"/>
              <a:gd name="connsiteX0" fmla="*/ 0 w 2252948"/>
              <a:gd name="connsiteY0" fmla="*/ 5309663 h 6384449"/>
              <a:gd name="connsiteX1" fmla="*/ 2252948 w 2252948"/>
              <a:gd name="connsiteY1" fmla="*/ -1 h 6384449"/>
              <a:gd name="connsiteX2" fmla="*/ 1767282 w 2252948"/>
              <a:gd name="connsiteY2" fmla="*/ 6384450 h 6384449"/>
              <a:gd name="connsiteX3" fmla="*/ 0 w 2252948"/>
              <a:gd name="connsiteY3" fmla="*/ 5309663 h 6384449"/>
              <a:gd name="connsiteX0" fmla="*/ 0 w 2252948"/>
              <a:gd name="connsiteY0" fmla="*/ 5309663 h 6384449"/>
              <a:gd name="connsiteX1" fmla="*/ 2252948 w 2252948"/>
              <a:gd name="connsiteY1" fmla="*/ -1 h 6384449"/>
              <a:gd name="connsiteX2" fmla="*/ 1767282 w 2252948"/>
              <a:gd name="connsiteY2" fmla="*/ 6384450 h 6384449"/>
              <a:gd name="connsiteX3" fmla="*/ 0 w 2252948"/>
              <a:gd name="connsiteY3" fmla="*/ 5309663 h 6384449"/>
              <a:gd name="connsiteX0" fmla="*/ 0 w 4847312"/>
              <a:gd name="connsiteY0" fmla="*/ 7053818 h 8128604"/>
              <a:gd name="connsiteX1" fmla="*/ 4847312 w 4847312"/>
              <a:gd name="connsiteY1" fmla="*/ 0 h 8128604"/>
              <a:gd name="connsiteX2" fmla="*/ 1767282 w 4847312"/>
              <a:gd name="connsiteY2" fmla="*/ 8128605 h 8128604"/>
              <a:gd name="connsiteX3" fmla="*/ 0 w 4847312"/>
              <a:gd name="connsiteY3" fmla="*/ 7053818 h 8128604"/>
              <a:gd name="connsiteX0" fmla="*/ 0 w 4847312"/>
              <a:gd name="connsiteY0" fmla="*/ 7053818 h 8128604"/>
              <a:gd name="connsiteX1" fmla="*/ 4847312 w 4847312"/>
              <a:gd name="connsiteY1" fmla="*/ 0 h 8128604"/>
              <a:gd name="connsiteX2" fmla="*/ 1767282 w 4847312"/>
              <a:gd name="connsiteY2" fmla="*/ 8128605 h 8128604"/>
              <a:gd name="connsiteX3" fmla="*/ 0 w 4847312"/>
              <a:gd name="connsiteY3" fmla="*/ 7053818 h 8128604"/>
              <a:gd name="connsiteX0" fmla="*/ 0 w 4847312"/>
              <a:gd name="connsiteY0" fmla="*/ 7053818 h 8128604"/>
              <a:gd name="connsiteX1" fmla="*/ 4847312 w 4847312"/>
              <a:gd name="connsiteY1" fmla="*/ 0 h 8128604"/>
              <a:gd name="connsiteX2" fmla="*/ 1767282 w 4847312"/>
              <a:gd name="connsiteY2" fmla="*/ 8128605 h 8128604"/>
              <a:gd name="connsiteX3" fmla="*/ 0 w 4847312"/>
              <a:gd name="connsiteY3" fmla="*/ 7053818 h 8128604"/>
              <a:gd name="connsiteX0" fmla="*/ 0 w 4847312"/>
              <a:gd name="connsiteY0" fmla="*/ 7053818 h 8128604"/>
              <a:gd name="connsiteX1" fmla="*/ 4847312 w 4847312"/>
              <a:gd name="connsiteY1" fmla="*/ 0 h 8128604"/>
              <a:gd name="connsiteX2" fmla="*/ 1767282 w 4847312"/>
              <a:gd name="connsiteY2" fmla="*/ 8128605 h 8128604"/>
              <a:gd name="connsiteX3" fmla="*/ 0 w 4847312"/>
              <a:gd name="connsiteY3" fmla="*/ 7053818 h 8128604"/>
              <a:gd name="connsiteX0" fmla="*/ 0 w 4847312"/>
              <a:gd name="connsiteY0" fmla="*/ 7053818 h 8128604"/>
              <a:gd name="connsiteX1" fmla="*/ 4847312 w 4847312"/>
              <a:gd name="connsiteY1" fmla="*/ 0 h 8128604"/>
              <a:gd name="connsiteX2" fmla="*/ 1767282 w 4847312"/>
              <a:gd name="connsiteY2" fmla="*/ 8128605 h 8128604"/>
              <a:gd name="connsiteX3" fmla="*/ 0 w 4847312"/>
              <a:gd name="connsiteY3" fmla="*/ 7053818 h 8128604"/>
              <a:gd name="connsiteX0" fmla="*/ 0 w 4900296"/>
              <a:gd name="connsiteY0" fmla="*/ 6893758 h 7968544"/>
              <a:gd name="connsiteX1" fmla="*/ 4900296 w 4900296"/>
              <a:gd name="connsiteY1" fmla="*/ 0 h 7968544"/>
              <a:gd name="connsiteX2" fmla="*/ 1767282 w 4900296"/>
              <a:gd name="connsiteY2" fmla="*/ 7968545 h 7968544"/>
              <a:gd name="connsiteX3" fmla="*/ 0 w 4900296"/>
              <a:gd name="connsiteY3" fmla="*/ 6893758 h 7968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00296" h="7968544">
                <a:moveTo>
                  <a:pt x="0" y="6893758"/>
                </a:moveTo>
                <a:cubicBezTo>
                  <a:pt x="915034" y="4879052"/>
                  <a:pt x="1201197" y="1382982"/>
                  <a:pt x="4900296" y="0"/>
                </a:cubicBezTo>
                <a:cubicBezTo>
                  <a:pt x="759694" y="2471437"/>
                  <a:pt x="1695952" y="6357289"/>
                  <a:pt x="1767282" y="7968545"/>
                </a:cubicBezTo>
                <a:lnTo>
                  <a:pt x="0" y="6893758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6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6155EBD4-C097-4350-9407-694DDC82DA58}"/>
              </a:ext>
            </a:extLst>
          </p:cNvPr>
          <p:cNvSpPr/>
          <p:nvPr/>
        </p:nvSpPr>
        <p:spPr>
          <a:xfrm flipV="1">
            <a:off x="5102171" y="2588607"/>
            <a:ext cx="1967389" cy="4766186"/>
          </a:xfrm>
          <a:custGeom>
            <a:avLst/>
            <a:gdLst>
              <a:gd name="connsiteX0" fmla="*/ 0 w 1695246"/>
              <a:gd name="connsiteY0" fmla="*/ 4457211 h 4457211"/>
              <a:gd name="connsiteX1" fmla="*/ 847623 w 1695246"/>
              <a:gd name="connsiteY1" fmla="*/ 0 h 4457211"/>
              <a:gd name="connsiteX2" fmla="*/ 1695246 w 1695246"/>
              <a:gd name="connsiteY2" fmla="*/ 4457211 h 4457211"/>
              <a:gd name="connsiteX3" fmla="*/ 0 w 1695246"/>
              <a:gd name="connsiteY3" fmla="*/ 4457211 h 4457211"/>
              <a:gd name="connsiteX0" fmla="*/ 0 w 1695246"/>
              <a:gd name="connsiteY0" fmla="*/ 4457211 h 4457211"/>
              <a:gd name="connsiteX1" fmla="*/ 847623 w 1695246"/>
              <a:gd name="connsiteY1" fmla="*/ 0 h 4457211"/>
              <a:gd name="connsiteX2" fmla="*/ 1695246 w 1695246"/>
              <a:gd name="connsiteY2" fmla="*/ 4457211 h 4457211"/>
              <a:gd name="connsiteX3" fmla="*/ 0 w 1695246"/>
              <a:gd name="connsiteY3" fmla="*/ 4457211 h 4457211"/>
              <a:gd name="connsiteX0" fmla="*/ 0 w 1814989"/>
              <a:gd name="connsiteY0" fmla="*/ 4740240 h 4740240"/>
              <a:gd name="connsiteX1" fmla="*/ 967366 w 1814989"/>
              <a:gd name="connsiteY1" fmla="*/ 0 h 4740240"/>
              <a:gd name="connsiteX2" fmla="*/ 1814989 w 1814989"/>
              <a:gd name="connsiteY2" fmla="*/ 4457211 h 4740240"/>
              <a:gd name="connsiteX3" fmla="*/ 0 w 1814989"/>
              <a:gd name="connsiteY3" fmla="*/ 4740240 h 4740240"/>
              <a:gd name="connsiteX0" fmla="*/ 0 w 1945618"/>
              <a:gd name="connsiteY0" fmla="*/ 4740240 h 4740240"/>
              <a:gd name="connsiteX1" fmla="*/ 967366 w 1945618"/>
              <a:gd name="connsiteY1" fmla="*/ 0 h 4740240"/>
              <a:gd name="connsiteX2" fmla="*/ 1945618 w 1945618"/>
              <a:gd name="connsiteY2" fmla="*/ 4707582 h 4740240"/>
              <a:gd name="connsiteX3" fmla="*/ 0 w 1945618"/>
              <a:gd name="connsiteY3" fmla="*/ 4740240 h 4740240"/>
              <a:gd name="connsiteX0" fmla="*/ 0 w 1945618"/>
              <a:gd name="connsiteY0" fmla="*/ 4740240 h 4740240"/>
              <a:gd name="connsiteX1" fmla="*/ 967366 w 1945618"/>
              <a:gd name="connsiteY1" fmla="*/ 0 h 4740240"/>
              <a:gd name="connsiteX2" fmla="*/ 1945618 w 1945618"/>
              <a:gd name="connsiteY2" fmla="*/ 4707582 h 4740240"/>
              <a:gd name="connsiteX3" fmla="*/ 0 w 1945618"/>
              <a:gd name="connsiteY3" fmla="*/ 4740240 h 4740240"/>
              <a:gd name="connsiteX0" fmla="*/ 0 w 1945618"/>
              <a:gd name="connsiteY0" fmla="*/ 4740240 h 4740240"/>
              <a:gd name="connsiteX1" fmla="*/ 967366 w 1945618"/>
              <a:gd name="connsiteY1" fmla="*/ 0 h 4740240"/>
              <a:gd name="connsiteX2" fmla="*/ 1945618 w 1945618"/>
              <a:gd name="connsiteY2" fmla="*/ 4707582 h 4740240"/>
              <a:gd name="connsiteX3" fmla="*/ 0 w 1945618"/>
              <a:gd name="connsiteY3" fmla="*/ 4740240 h 4740240"/>
              <a:gd name="connsiteX0" fmla="*/ 0 w 1945618"/>
              <a:gd name="connsiteY0" fmla="*/ 4740240 h 4740240"/>
              <a:gd name="connsiteX1" fmla="*/ 967366 w 1945618"/>
              <a:gd name="connsiteY1" fmla="*/ 0 h 4740240"/>
              <a:gd name="connsiteX2" fmla="*/ 1945618 w 1945618"/>
              <a:gd name="connsiteY2" fmla="*/ 4707582 h 4740240"/>
              <a:gd name="connsiteX3" fmla="*/ 0 w 1945618"/>
              <a:gd name="connsiteY3" fmla="*/ 4740240 h 4740240"/>
              <a:gd name="connsiteX0" fmla="*/ 0 w 1989161"/>
              <a:gd name="connsiteY0" fmla="*/ 4740240 h 4740240"/>
              <a:gd name="connsiteX1" fmla="*/ 967366 w 1989161"/>
              <a:gd name="connsiteY1" fmla="*/ 0 h 4740240"/>
              <a:gd name="connsiteX2" fmla="*/ 1989161 w 1989161"/>
              <a:gd name="connsiteY2" fmla="*/ 4718468 h 4740240"/>
              <a:gd name="connsiteX3" fmla="*/ 0 w 1989161"/>
              <a:gd name="connsiteY3" fmla="*/ 4740240 h 4740240"/>
              <a:gd name="connsiteX0" fmla="*/ 0 w 1989161"/>
              <a:gd name="connsiteY0" fmla="*/ 4740240 h 4740240"/>
              <a:gd name="connsiteX1" fmla="*/ 967366 w 1989161"/>
              <a:gd name="connsiteY1" fmla="*/ 0 h 4740240"/>
              <a:gd name="connsiteX2" fmla="*/ 1989161 w 1989161"/>
              <a:gd name="connsiteY2" fmla="*/ 4718468 h 4740240"/>
              <a:gd name="connsiteX3" fmla="*/ 0 w 1989161"/>
              <a:gd name="connsiteY3" fmla="*/ 4740240 h 4740240"/>
              <a:gd name="connsiteX0" fmla="*/ 0 w 1989161"/>
              <a:gd name="connsiteY0" fmla="*/ 4740240 h 4740240"/>
              <a:gd name="connsiteX1" fmla="*/ 967366 w 1989161"/>
              <a:gd name="connsiteY1" fmla="*/ 0 h 4740240"/>
              <a:gd name="connsiteX2" fmla="*/ 1989161 w 1989161"/>
              <a:gd name="connsiteY2" fmla="*/ 4718468 h 4740240"/>
              <a:gd name="connsiteX3" fmla="*/ 0 w 1989161"/>
              <a:gd name="connsiteY3" fmla="*/ 4740240 h 4740240"/>
              <a:gd name="connsiteX0" fmla="*/ 0 w 1945618"/>
              <a:gd name="connsiteY0" fmla="*/ 4740240 h 4740240"/>
              <a:gd name="connsiteX1" fmla="*/ 967366 w 1945618"/>
              <a:gd name="connsiteY1" fmla="*/ 0 h 4740240"/>
              <a:gd name="connsiteX2" fmla="*/ 1945618 w 1945618"/>
              <a:gd name="connsiteY2" fmla="*/ 4729354 h 4740240"/>
              <a:gd name="connsiteX3" fmla="*/ 0 w 1945618"/>
              <a:gd name="connsiteY3" fmla="*/ 4740240 h 4740240"/>
              <a:gd name="connsiteX0" fmla="*/ 0 w 1967389"/>
              <a:gd name="connsiteY0" fmla="*/ 4740240 h 4740240"/>
              <a:gd name="connsiteX1" fmla="*/ 989137 w 1967389"/>
              <a:gd name="connsiteY1" fmla="*/ 0 h 4740240"/>
              <a:gd name="connsiteX2" fmla="*/ 1967389 w 1967389"/>
              <a:gd name="connsiteY2" fmla="*/ 4729354 h 4740240"/>
              <a:gd name="connsiteX3" fmla="*/ 0 w 1967389"/>
              <a:gd name="connsiteY3" fmla="*/ 4740240 h 474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7389" h="4740240">
                <a:moveTo>
                  <a:pt x="0" y="4740240"/>
                </a:moveTo>
                <a:cubicBezTo>
                  <a:pt x="489370" y="3178303"/>
                  <a:pt x="782796" y="3771737"/>
                  <a:pt x="989137" y="0"/>
                </a:cubicBezTo>
                <a:cubicBezTo>
                  <a:pt x="1151935" y="3757223"/>
                  <a:pt x="1663076" y="3312560"/>
                  <a:pt x="1967389" y="4729354"/>
                </a:cubicBezTo>
                <a:lnTo>
                  <a:pt x="0" y="4740240"/>
                </a:lnTo>
                <a:close/>
              </a:path>
            </a:pathLst>
          </a:custGeom>
          <a:gradFill flip="none" rotWithShape="1">
            <a:gsLst>
              <a:gs pos="15000">
                <a:schemeClr val="bg1">
                  <a:alpha val="0"/>
                </a:schemeClr>
              </a:gs>
              <a:gs pos="100000">
                <a:schemeClr val="bg1">
                  <a:alpha val="5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6" name="Isosceles Triangle 2">
            <a:extLst>
              <a:ext uri="{FF2B5EF4-FFF2-40B4-BE49-F238E27FC236}">
                <a16:creationId xmlns:a16="http://schemas.microsoft.com/office/drawing/2014/main" id="{EA2415AC-5F7E-401D-A04B-2A15DEDFA833}"/>
              </a:ext>
            </a:extLst>
          </p:cNvPr>
          <p:cNvSpPr/>
          <p:nvPr/>
        </p:nvSpPr>
        <p:spPr>
          <a:xfrm rot="5911169">
            <a:off x="2156510" y="2866225"/>
            <a:ext cx="5026774" cy="3430610"/>
          </a:xfrm>
          <a:custGeom>
            <a:avLst/>
            <a:gdLst>
              <a:gd name="connsiteX0" fmla="*/ 0 w 2027070"/>
              <a:gd name="connsiteY0" fmla="*/ 1589829 h 1589829"/>
              <a:gd name="connsiteX1" fmla="*/ 1013535 w 2027070"/>
              <a:gd name="connsiteY1" fmla="*/ 0 h 1589829"/>
              <a:gd name="connsiteX2" fmla="*/ 2027070 w 2027070"/>
              <a:gd name="connsiteY2" fmla="*/ 1589829 h 1589829"/>
              <a:gd name="connsiteX3" fmla="*/ 0 w 2027070"/>
              <a:gd name="connsiteY3" fmla="*/ 1589829 h 1589829"/>
              <a:gd name="connsiteX0" fmla="*/ 0 w 3028876"/>
              <a:gd name="connsiteY0" fmla="*/ 4751671 h 4751671"/>
              <a:gd name="connsiteX1" fmla="*/ 3028876 w 3028876"/>
              <a:gd name="connsiteY1" fmla="*/ 0 h 4751671"/>
              <a:gd name="connsiteX2" fmla="*/ 2027070 w 3028876"/>
              <a:gd name="connsiteY2" fmla="*/ 4751671 h 4751671"/>
              <a:gd name="connsiteX3" fmla="*/ 0 w 3028876"/>
              <a:gd name="connsiteY3" fmla="*/ 4751671 h 4751671"/>
              <a:gd name="connsiteX0" fmla="*/ 0 w 3028876"/>
              <a:gd name="connsiteY0" fmla="*/ 4751671 h 4751671"/>
              <a:gd name="connsiteX1" fmla="*/ 3028876 w 3028876"/>
              <a:gd name="connsiteY1" fmla="*/ 0 h 4751671"/>
              <a:gd name="connsiteX2" fmla="*/ 2027070 w 3028876"/>
              <a:gd name="connsiteY2" fmla="*/ 4751671 h 4751671"/>
              <a:gd name="connsiteX3" fmla="*/ 0 w 3028876"/>
              <a:gd name="connsiteY3" fmla="*/ 4751671 h 4751671"/>
              <a:gd name="connsiteX0" fmla="*/ 0 w 3028876"/>
              <a:gd name="connsiteY0" fmla="*/ 4751671 h 4751671"/>
              <a:gd name="connsiteX1" fmla="*/ 3028876 w 3028876"/>
              <a:gd name="connsiteY1" fmla="*/ 0 h 4751671"/>
              <a:gd name="connsiteX2" fmla="*/ 2027070 w 3028876"/>
              <a:gd name="connsiteY2" fmla="*/ 4751671 h 4751671"/>
              <a:gd name="connsiteX3" fmla="*/ 0 w 3028876"/>
              <a:gd name="connsiteY3" fmla="*/ 4751671 h 4751671"/>
              <a:gd name="connsiteX0" fmla="*/ 0 w 3028876"/>
              <a:gd name="connsiteY0" fmla="*/ 4751671 h 4751671"/>
              <a:gd name="connsiteX1" fmla="*/ 3028876 w 3028876"/>
              <a:gd name="connsiteY1" fmla="*/ 0 h 4751671"/>
              <a:gd name="connsiteX2" fmla="*/ 2027070 w 3028876"/>
              <a:gd name="connsiteY2" fmla="*/ 4751671 h 4751671"/>
              <a:gd name="connsiteX3" fmla="*/ 0 w 3028876"/>
              <a:gd name="connsiteY3" fmla="*/ 4751671 h 4751671"/>
              <a:gd name="connsiteX0" fmla="*/ 647 w 3029523"/>
              <a:gd name="connsiteY0" fmla="*/ 4751671 h 4751671"/>
              <a:gd name="connsiteX1" fmla="*/ 3029523 w 3029523"/>
              <a:gd name="connsiteY1" fmla="*/ 0 h 4751671"/>
              <a:gd name="connsiteX2" fmla="*/ 2027717 w 3029523"/>
              <a:gd name="connsiteY2" fmla="*/ 4751671 h 4751671"/>
              <a:gd name="connsiteX3" fmla="*/ 647 w 3029523"/>
              <a:gd name="connsiteY3" fmla="*/ 4751671 h 4751671"/>
              <a:gd name="connsiteX0" fmla="*/ 647 w 3029523"/>
              <a:gd name="connsiteY0" fmla="*/ 4751671 h 4751671"/>
              <a:gd name="connsiteX1" fmla="*/ 3029523 w 3029523"/>
              <a:gd name="connsiteY1" fmla="*/ 0 h 4751671"/>
              <a:gd name="connsiteX2" fmla="*/ 2027717 w 3029523"/>
              <a:gd name="connsiteY2" fmla="*/ 4751671 h 4751671"/>
              <a:gd name="connsiteX3" fmla="*/ 647 w 3029523"/>
              <a:gd name="connsiteY3" fmla="*/ 4751671 h 4751671"/>
              <a:gd name="connsiteX0" fmla="*/ 655 w 3015166"/>
              <a:gd name="connsiteY0" fmla="*/ 4771320 h 4771320"/>
              <a:gd name="connsiteX1" fmla="*/ 3015166 w 3015166"/>
              <a:gd name="connsiteY1" fmla="*/ 0 h 4771320"/>
              <a:gd name="connsiteX2" fmla="*/ 2013360 w 3015166"/>
              <a:gd name="connsiteY2" fmla="*/ 4751671 h 4771320"/>
              <a:gd name="connsiteX3" fmla="*/ 655 w 3015166"/>
              <a:gd name="connsiteY3" fmla="*/ 4771320 h 4771320"/>
              <a:gd name="connsiteX0" fmla="*/ 655 w 3015166"/>
              <a:gd name="connsiteY0" fmla="*/ 4771320 h 4771320"/>
              <a:gd name="connsiteX1" fmla="*/ 3015166 w 3015166"/>
              <a:gd name="connsiteY1" fmla="*/ 0 h 4771320"/>
              <a:gd name="connsiteX2" fmla="*/ 2013360 w 3015166"/>
              <a:gd name="connsiteY2" fmla="*/ 4751671 h 4771320"/>
              <a:gd name="connsiteX3" fmla="*/ 655 w 3015166"/>
              <a:gd name="connsiteY3" fmla="*/ 4771320 h 4771320"/>
              <a:gd name="connsiteX0" fmla="*/ 404 w 3014915"/>
              <a:gd name="connsiteY0" fmla="*/ 4771320 h 4771320"/>
              <a:gd name="connsiteX1" fmla="*/ 3014915 w 3014915"/>
              <a:gd name="connsiteY1" fmla="*/ 0 h 4771320"/>
              <a:gd name="connsiteX2" fmla="*/ 2013109 w 3014915"/>
              <a:gd name="connsiteY2" fmla="*/ 4751671 h 4771320"/>
              <a:gd name="connsiteX3" fmla="*/ 404 w 3014915"/>
              <a:gd name="connsiteY3" fmla="*/ 4771320 h 4771320"/>
              <a:gd name="connsiteX0" fmla="*/ 580 w 2320742"/>
              <a:gd name="connsiteY0" fmla="*/ 4764236 h 4764236"/>
              <a:gd name="connsiteX1" fmla="*/ 2320742 w 2320742"/>
              <a:gd name="connsiteY1" fmla="*/ 0 h 4764236"/>
              <a:gd name="connsiteX2" fmla="*/ 2013285 w 2320742"/>
              <a:gd name="connsiteY2" fmla="*/ 4744587 h 4764236"/>
              <a:gd name="connsiteX3" fmla="*/ 580 w 2320742"/>
              <a:gd name="connsiteY3" fmla="*/ 4764236 h 4764236"/>
              <a:gd name="connsiteX0" fmla="*/ 628 w 2320790"/>
              <a:gd name="connsiteY0" fmla="*/ 4764236 h 4764236"/>
              <a:gd name="connsiteX1" fmla="*/ 2320790 w 2320790"/>
              <a:gd name="connsiteY1" fmla="*/ 0 h 4764236"/>
              <a:gd name="connsiteX2" fmla="*/ 2013333 w 2320790"/>
              <a:gd name="connsiteY2" fmla="*/ 4744587 h 4764236"/>
              <a:gd name="connsiteX3" fmla="*/ 628 w 2320790"/>
              <a:gd name="connsiteY3" fmla="*/ 4764236 h 4764236"/>
              <a:gd name="connsiteX0" fmla="*/ 628 w 2320790"/>
              <a:gd name="connsiteY0" fmla="*/ 4764236 h 4764236"/>
              <a:gd name="connsiteX1" fmla="*/ 2320790 w 2320790"/>
              <a:gd name="connsiteY1" fmla="*/ 0 h 4764236"/>
              <a:gd name="connsiteX2" fmla="*/ 2013333 w 2320790"/>
              <a:gd name="connsiteY2" fmla="*/ 4744587 h 4764236"/>
              <a:gd name="connsiteX3" fmla="*/ 628 w 2320790"/>
              <a:gd name="connsiteY3" fmla="*/ 4764236 h 4764236"/>
              <a:gd name="connsiteX0" fmla="*/ 730 w 2320892"/>
              <a:gd name="connsiteY0" fmla="*/ 4764236 h 4764236"/>
              <a:gd name="connsiteX1" fmla="*/ 2320892 w 2320892"/>
              <a:gd name="connsiteY1" fmla="*/ 0 h 4764236"/>
              <a:gd name="connsiteX2" fmla="*/ 2013435 w 2320892"/>
              <a:gd name="connsiteY2" fmla="*/ 4744587 h 4764236"/>
              <a:gd name="connsiteX3" fmla="*/ 730 w 2320892"/>
              <a:gd name="connsiteY3" fmla="*/ 4764236 h 4764236"/>
              <a:gd name="connsiteX0" fmla="*/ 842 w 2321004"/>
              <a:gd name="connsiteY0" fmla="*/ 4764236 h 4764236"/>
              <a:gd name="connsiteX1" fmla="*/ 2321004 w 2321004"/>
              <a:gd name="connsiteY1" fmla="*/ 0 h 4764236"/>
              <a:gd name="connsiteX2" fmla="*/ 2013547 w 2321004"/>
              <a:gd name="connsiteY2" fmla="*/ 4744587 h 4764236"/>
              <a:gd name="connsiteX3" fmla="*/ 842 w 2321004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221075"/>
              <a:gd name="connsiteY0" fmla="*/ 4305853 h 4744587"/>
              <a:gd name="connsiteX1" fmla="*/ 2221075 w 2221075"/>
              <a:gd name="connsiteY1" fmla="*/ 0 h 4744587"/>
              <a:gd name="connsiteX2" fmla="*/ 1913618 w 2221075"/>
              <a:gd name="connsiteY2" fmla="*/ 4744587 h 4744587"/>
              <a:gd name="connsiteX3" fmla="*/ 0 w 2221075"/>
              <a:gd name="connsiteY3" fmla="*/ 4305853 h 4744587"/>
              <a:gd name="connsiteX0" fmla="*/ 0 w 2297521"/>
              <a:gd name="connsiteY0" fmla="*/ 5562522 h 6001256"/>
              <a:gd name="connsiteX1" fmla="*/ 2297521 w 2297521"/>
              <a:gd name="connsiteY1" fmla="*/ 0 h 6001256"/>
              <a:gd name="connsiteX2" fmla="*/ 1913618 w 2297521"/>
              <a:gd name="connsiteY2" fmla="*/ 6001256 h 6001256"/>
              <a:gd name="connsiteX3" fmla="*/ 0 w 2297521"/>
              <a:gd name="connsiteY3" fmla="*/ 5562522 h 6001256"/>
              <a:gd name="connsiteX0" fmla="*/ 0 w 2297521"/>
              <a:gd name="connsiteY0" fmla="*/ 5562522 h 6001256"/>
              <a:gd name="connsiteX1" fmla="*/ 2297521 w 2297521"/>
              <a:gd name="connsiteY1" fmla="*/ 0 h 6001256"/>
              <a:gd name="connsiteX2" fmla="*/ 1913618 w 2297521"/>
              <a:gd name="connsiteY2" fmla="*/ 6001256 h 6001256"/>
              <a:gd name="connsiteX3" fmla="*/ 0 w 2297521"/>
              <a:gd name="connsiteY3" fmla="*/ 5562522 h 6001256"/>
              <a:gd name="connsiteX0" fmla="*/ 0 w 2297521"/>
              <a:gd name="connsiteY0" fmla="*/ 5562522 h 6001256"/>
              <a:gd name="connsiteX1" fmla="*/ 2297521 w 2297521"/>
              <a:gd name="connsiteY1" fmla="*/ 0 h 6001256"/>
              <a:gd name="connsiteX2" fmla="*/ 1913618 w 2297521"/>
              <a:gd name="connsiteY2" fmla="*/ 6001256 h 6001256"/>
              <a:gd name="connsiteX3" fmla="*/ 0 w 2297521"/>
              <a:gd name="connsiteY3" fmla="*/ 5562522 h 6001256"/>
              <a:gd name="connsiteX0" fmla="*/ 0 w 2236743"/>
              <a:gd name="connsiteY0" fmla="*/ 5289963 h 6001256"/>
              <a:gd name="connsiteX1" fmla="*/ 2236743 w 2236743"/>
              <a:gd name="connsiteY1" fmla="*/ 0 h 6001256"/>
              <a:gd name="connsiteX2" fmla="*/ 1852840 w 2236743"/>
              <a:gd name="connsiteY2" fmla="*/ 6001256 h 6001256"/>
              <a:gd name="connsiteX3" fmla="*/ 0 w 2236743"/>
              <a:gd name="connsiteY3" fmla="*/ 5289963 h 6001256"/>
              <a:gd name="connsiteX0" fmla="*/ 0 w 2236743"/>
              <a:gd name="connsiteY0" fmla="*/ 5289963 h 6091870"/>
              <a:gd name="connsiteX1" fmla="*/ 2236743 w 2236743"/>
              <a:gd name="connsiteY1" fmla="*/ 0 h 6091870"/>
              <a:gd name="connsiteX2" fmla="*/ 1845009 w 2236743"/>
              <a:gd name="connsiteY2" fmla="*/ 6091871 h 6091870"/>
              <a:gd name="connsiteX3" fmla="*/ 0 w 2236743"/>
              <a:gd name="connsiteY3" fmla="*/ 5289963 h 6091870"/>
              <a:gd name="connsiteX0" fmla="*/ 0 w 2236743"/>
              <a:gd name="connsiteY0" fmla="*/ 5289963 h 6091870"/>
              <a:gd name="connsiteX1" fmla="*/ 2236743 w 2236743"/>
              <a:gd name="connsiteY1" fmla="*/ 0 h 6091870"/>
              <a:gd name="connsiteX2" fmla="*/ 1845009 w 2236743"/>
              <a:gd name="connsiteY2" fmla="*/ 6091871 h 6091870"/>
              <a:gd name="connsiteX3" fmla="*/ 0 w 2236743"/>
              <a:gd name="connsiteY3" fmla="*/ 5289963 h 6091870"/>
              <a:gd name="connsiteX0" fmla="*/ 0 w 2177759"/>
              <a:gd name="connsiteY0" fmla="*/ 5088522 h 6091870"/>
              <a:gd name="connsiteX1" fmla="*/ 2177759 w 2177759"/>
              <a:gd name="connsiteY1" fmla="*/ 0 h 6091870"/>
              <a:gd name="connsiteX2" fmla="*/ 1786025 w 2177759"/>
              <a:gd name="connsiteY2" fmla="*/ 6091871 h 6091870"/>
              <a:gd name="connsiteX3" fmla="*/ 0 w 2177759"/>
              <a:gd name="connsiteY3" fmla="*/ 5088522 h 6091870"/>
              <a:gd name="connsiteX0" fmla="*/ 0 w 2177759"/>
              <a:gd name="connsiteY0" fmla="*/ 5088522 h 6091870"/>
              <a:gd name="connsiteX1" fmla="*/ 2177759 w 2177759"/>
              <a:gd name="connsiteY1" fmla="*/ 0 h 6091870"/>
              <a:gd name="connsiteX2" fmla="*/ 1786025 w 2177759"/>
              <a:gd name="connsiteY2" fmla="*/ 6091871 h 6091870"/>
              <a:gd name="connsiteX3" fmla="*/ 0 w 2177759"/>
              <a:gd name="connsiteY3" fmla="*/ 5088522 h 6091870"/>
              <a:gd name="connsiteX0" fmla="*/ 0 w 2271691"/>
              <a:gd name="connsiteY0" fmla="*/ 5381101 h 6384449"/>
              <a:gd name="connsiteX1" fmla="*/ 2271691 w 2271691"/>
              <a:gd name="connsiteY1" fmla="*/ -1 h 6384449"/>
              <a:gd name="connsiteX2" fmla="*/ 1786025 w 2271691"/>
              <a:gd name="connsiteY2" fmla="*/ 6384450 h 6384449"/>
              <a:gd name="connsiteX3" fmla="*/ 0 w 2271691"/>
              <a:gd name="connsiteY3" fmla="*/ 5381101 h 6384449"/>
              <a:gd name="connsiteX0" fmla="*/ 0 w 2252948"/>
              <a:gd name="connsiteY0" fmla="*/ 5309663 h 6384449"/>
              <a:gd name="connsiteX1" fmla="*/ 2252948 w 2252948"/>
              <a:gd name="connsiteY1" fmla="*/ -1 h 6384449"/>
              <a:gd name="connsiteX2" fmla="*/ 1767282 w 2252948"/>
              <a:gd name="connsiteY2" fmla="*/ 6384450 h 6384449"/>
              <a:gd name="connsiteX3" fmla="*/ 0 w 2252948"/>
              <a:gd name="connsiteY3" fmla="*/ 5309663 h 6384449"/>
              <a:gd name="connsiteX0" fmla="*/ 0 w 2252948"/>
              <a:gd name="connsiteY0" fmla="*/ 5309663 h 6384449"/>
              <a:gd name="connsiteX1" fmla="*/ 2252948 w 2252948"/>
              <a:gd name="connsiteY1" fmla="*/ -1 h 6384449"/>
              <a:gd name="connsiteX2" fmla="*/ 1767282 w 2252948"/>
              <a:gd name="connsiteY2" fmla="*/ 6384450 h 6384449"/>
              <a:gd name="connsiteX3" fmla="*/ 0 w 2252948"/>
              <a:gd name="connsiteY3" fmla="*/ 5309663 h 6384449"/>
              <a:gd name="connsiteX0" fmla="*/ 0 w 2252948"/>
              <a:gd name="connsiteY0" fmla="*/ 5309663 h 6384449"/>
              <a:gd name="connsiteX1" fmla="*/ 2252948 w 2252948"/>
              <a:gd name="connsiteY1" fmla="*/ -1 h 6384449"/>
              <a:gd name="connsiteX2" fmla="*/ 1767282 w 2252948"/>
              <a:gd name="connsiteY2" fmla="*/ 6384450 h 6384449"/>
              <a:gd name="connsiteX3" fmla="*/ 0 w 2252948"/>
              <a:gd name="connsiteY3" fmla="*/ 5309663 h 6384449"/>
              <a:gd name="connsiteX0" fmla="*/ 0 w 2252948"/>
              <a:gd name="connsiteY0" fmla="*/ 5309663 h 6384449"/>
              <a:gd name="connsiteX1" fmla="*/ 2252948 w 2252948"/>
              <a:gd name="connsiteY1" fmla="*/ -1 h 6384449"/>
              <a:gd name="connsiteX2" fmla="*/ 1767282 w 2252948"/>
              <a:gd name="connsiteY2" fmla="*/ 6384450 h 6384449"/>
              <a:gd name="connsiteX3" fmla="*/ 0 w 2252948"/>
              <a:gd name="connsiteY3" fmla="*/ 5309663 h 6384449"/>
              <a:gd name="connsiteX0" fmla="*/ 0 w 4847312"/>
              <a:gd name="connsiteY0" fmla="*/ 7053818 h 8128604"/>
              <a:gd name="connsiteX1" fmla="*/ 4847312 w 4847312"/>
              <a:gd name="connsiteY1" fmla="*/ 0 h 8128604"/>
              <a:gd name="connsiteX2" fmla="*/ 1767282 w 4847312"/>
              <a:gd name="connsiteY2" fmla="*/ 8128605 h 8128604"/>
              <a:gd name="connsiteX3" fmla="*/ 0 w 4847312"/>
              <a:gd name="connsiteY3" fmla="*/ 7053818 h 8128604"/>
              <a:gd name="connsiteX0" fmla="*/ 0 w 4847312"/>
              <a:gd name="connsiteY0" fmla="*/ 7053818 h 8128604"/>
              <a:gd name="connsiteX1" fmla="*/ 4847312 w 4847312"/>
              <a:gd name="connsiteY1" fmla="*/ 0 h 8128604"/>
              <a:gd name="connsiteX2" fmla="*/ 1767282 w 4847312"/>
              <a:gd name="connsiteY2" fmla="*/ 8128605 h 8128604"/>
              <a:gd name="connsiteX3" fmla="*/ 0 w 4847312"/>
              <a:gd name="connsiteY3" fmla="*/ 7053818 h 8128604"/>
              <a:gd name="connsiteX0" fmla="*/ 0 w 4847312"/>
              <a:gd name="connsiteY0" fmla="*/ 7053818 h 8128604"/>
              <a:gd name="connsiteX1" fmla="*/ 4847312 w 4847312"/>
              <a:gd name="connsiteY1" fmla="*/ 0 h 8128604"/>
              <a:gd name="connsiteX2" fmla="*/ 1767282 w 4847312"/>
              <a:gd name="connsiteY2" fmla="*/ 8128605 h 8128604"/>
              <a:gd name="connsiteX3" fmla="*/ 0 w 4847312"/>
              <a:gd name="connsiteY3" fmla="*/ 7053818 h 8128604"/>
              <a:gd name="connsiteX0" fmla="*/ 0 w 4847312"/>
              <a:gd name="connsiteY0" fmla="*/ 7053818 h 8128604"/>
              <a:gd name="connsiteX1" fmla="*/ 4847312 w 4847312"/>
              <a:gd name="connsiteY1" fmla="*/ 0 h 8128604"/>
              <a:gd name="connsiteX2" fmla="*/ 1767282 w 4847312"/>
              <a:gd name="connsiteY2" fmla="*/ 8128605 h 8128604"/>
              <a:gd name="connsiteX3" fmla="*/ 0 w 4847312"/>
              <a:gd name="connsiteY3" fmla="*/ 7053818 h 8128604"/>
              <a:gd name="connsiteX0" fmla="*/ 0 w 4847312"/>
              <a:gd name="connsiteY0" fmla="*/ 7053818 h 8128604"/>
              <a:gd name="connsiteX1" fmla="*/ 4847312 w 4847312"/>
              <a:gd name="connsiteY1" fmla="*/ 0 h 8128604"/>
              <a:gd name="connsiteX2" fmla="*/ 1767282 w 4847312"/>
              <a:gd name="connsiteY2" fmla="*/ 8128605 h 8128604"/>
              <a:gd name="connsiteX3" fmla="*/ 0 w 4847312"/>
              <a:gd name="connsiteY3" fmla="*/ 7053818 h 8128604"/>
              <a:gd name="connsiteX0" fmla="*/ 0 w 4900296"/>
              <a:gd name="connsiteY0" fmla="*/ 6893758 h 7968544"/>
              <a:gd name="connsiteX1" fmla="*/ 4900296 w 4900296"/>
              <a:gd name="connsiteY1" fmla="*/ 0 h 7968544"/>
              <a:gd name="connsiteX2" fmla="*/ 1767282 w 4900296"/>
              <a:gd name="connsiteY2" fmla="*/ 7968545 h 7968544"/>
              <a:gd name="connsiteX3" fmla="*/ 0 w 4900296"/>
              <a:gd name="connsiteY3" fmla="*/ 6893758 h 7968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00296" h="7968544">
                <a:moveTo>
                  <a:pt x="0" y="6893758"/>
                </a:moveTo>
                <a:cubicBezTo>
                  <a:pt x="915034" y="4879052"/>
                  <a:pt x="1201197" y="1382982"/>
                  <a:pt x="4900296" y="0"/>
                </a:cubicBezTo>
                <a:cubicBezTo>
                  <a:pt x="759694" y="2471437"/>
                  <a:pt x="1695952" y="6357289"/>
                  <a:pt x="1767282" y="7968545"/>
                </a:cubicBezTo>
                <a:lnTo>
                  <a:pt x="0" y="6893758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6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5" name="Isosceles Triangle 2">
            <a:extLst>
              <a:ext uri="{FF2B5EF4-FFF2-40B4-BE49-F238E27FC236}">
                <a16:creationId xmlns:a16="http://schemas.microsoft.com/office/drawing/2014/main" id="{EF738477-BF4D-4BE5-A9D5-67E3D25A7937}"/>
              </a:ext>
            </a:extLst>
          </p:cNvPr>
          <p:cNvSpPr/>
          <p:nvPr/>
        </p:nvSpPr>
        <p:spPr>
          <a:xfrm rot="7021496">
            <a:off x="4191498" y="4378418"/>
            <a:ext cx="2078561" cy="2605577"/>
          </a:xfrm>
          <a:custGeom>
            <a:avLst/>
            <a:gdLst>
              <a:gd name="connsiteX0" fmla="*/ 0 w 2027070"/>
              <a:gd name="connsiteY0" fmla="*/ 1589829 h 1589829"/>
              <a:gd name="connsiteX1" fmla="*/ 1013535 w 2027070"/>
              <a:gd name="connsiteY1" fmla="*/ 0 h 1589829"/>
              <a:gd name="connsiteX2" fmla="*/ 2027070 w 2027070"/>
              <a:gd name="connsiteY2" fmla="*/ 1589829 h 1589829"/>
              <a:gd name="connsiteX3" fmla="*/ 0 w 2027070"/>
              <a:gd name="connsiteY3" fmla="*/ 1589829 h 1589829"/>
              <a:gd name="connsiteX0" fmla="*/ 0 w 3028876"/>
              <a:gd name="connsiteY0" fmla="*/ 4751671 h 4751671"/>
              <a:gd name="connsiteX1" fmla="*/ 3028876 w 3028876"/>
              <a:gd name="connsiteY1" fmla="*/ 0 h 4751671"/>
              <a:gd name="connsiteX2" fmla="*/ 2027070 w 3028876"/>
              <a:gd name="connsiteY2" fmla="*/ 4751671 h 4751671"/>
              <a:gd name="connsiteX3" fmla="*/ 0 w 3028876"/>
              <a:gd name="connsiteY3" fmla="*/ 4751671 h 4751671"/>
              <a:gd name="connsiteX0" fmla="*/ 0 w 3028876"/>
              <a:gd name="connsiteY0" fmla="*/ 4751671 h 4751671"/>
              <a:gd name="connsiteX1" fmla="*/ 3028876 w 3028876"/>
              <a:gd name="connsiteY1" fmla="*/ 0 h 4751671"/>
              <a:gd name="connsiteX2" fmla="*/ 2027070 w 3028876"/>
              <a:gd name="connsiteY2" fmla="*/ 4751671 h 4751671"/>
              <a:gd name="connsiteX3" fmla="*/ 0 w 3028876"/>
              <a:gd name="connsiteY3" fmla="*/ 4751671 h 4751671"/>
              <a:gd name="connsiteX0" fmla="*/ 0 w 3028876"/>
              <a:gd name="connsiteY0" fmla="*/ 4751671 h 4751671"/>
              <a:gd name="connsiteX1" fmla="*/ 3028876 w 3028876"/>
              <a:gd name="connsiteY1" fmla="*/ 0 h 4751671"/>
              <a:gd name="connsiteX2" fmla="*/ 2027070 w 3028876"/>
              <a:gd name="connsiteY2" fmla="*/ 4751671 h 4751671"/>
              <a:gd name="connsiteX3" fmla="*/ 0 w 3028876"/>
              <a:gd name="connsiteY3" fmla="*/ 4751671 h 4751671"/>
              <a:gd name="connsiteX0" fmla="*/ 0 w 3028876"/>
              <a:gd name="connsiteY0" fmla="*/ 4751671 h 4751671"/>
              <a:gd name="connsiteX1" fmla="*/ 3028876 w 3028876"/>
              <a:gd name="connsiteY1" fmla="*/ 0 h 4751671"/>
              <a:gd name="connsiteX2" fmla="*/ 2027070 w 3028876"/>
              <a:gd name="connsiteY2" fmla="*/ 4751671 h 4751671"/>
              <a:gd name="connsiteX3" fmla="*/ 0 w 3028876"/>
              <a:gd name="connsiteY3" fmla="*/ 4751671 h 4751671"/>
              <a:gd name="connsiteX0" fmla="*/ 647 w 3029523"/>
              <a:gd name="connsiteY0" fmla="*/ 4751671 h 4751671"/>
              <a:gd name="connsiteX1" fmla="*/ 3029523 w 3029523"/>
              <a:gd name="connsiteY1" fmla="*/ 0 h 4751671"/>
              <a:gd name="connsiteX2" fmla="*/ 2027717 w 3029523"/>
              <a:gd name="connsiteY2" fmla="*/ 4751671 h 4751671"/>
              <a:gd name="connsiteX3" fmla="*/ 647 w 3029523"/>
              <a:gd name="connsiteY3" fmla="*/ 4751671 h 4751671"/>
              <a:gd name="connsiteX0" fmla="*/ 647 w 3029523"/>
              <a:gd name="connsiteY0" fmla="*/ 4751671 h 4751671"/>
              <a:gd name="connsiteX1" fmla="*/ 3029523 w 3029523"/>
              <a:gd name="connsiteY1" fmla="*/ 0 h 4751671"/>
              <a:gd name="connsiteX2" fmla="*/ 2027717 w 3029523"/>
              <a:gd name="connsiteY2" fmla="*/ 4751671 h 4751671"/>
              <a:gd name="connsiteX3" fmla="*/ 647 w 3029523"/>
              <a:gd name="connsiteY3" fmla="*/ 4751671 h 4751671"/>
              <a:gd name="connsiteX0" fmla="*/ 655 w 3015166"/>
              <a:gd name="connsiteY0" fmla="*/ 4771320 h 4771320"/>
              <a:gd name="connsiteX1" fmla="*/ 3015166 w 3015166"/>
              <a:gd name="connsiteY1" fmla="*/ 0 h 4771320"/>
              <a:gd name="connsiteX2" fmla="*/ 2013360 w 3015166"/>
              <a:gd name="connsiteY2" fmla="*/ 4751671 h 4771320"/>
              <a:gd name="connsiteX3" fmla="*/ 655 w 3015166"/>
              <a:gd name="connsiteY3" fmla="*/ 4771320 h 4771320"/>
              <a:gd name="connsiteX0" fmla="*/ 655 w 3015166"/>
              <a:gd name="connsiteY0" fmla="*/ 4771320 h 4771320"/>
              <a:gd name="connsiteX1" fmla="*/ 3015166 w 3015166"/>
              <a:gd name="connsiteY1" fmla="*/ 0 h 4771320"/>
              <a:gd name="connsiteX2" fmla="*/ 2013360 w 3015166"/>
              <a:gd name="connsiteY2" fmla="*/ 4751671 h 4771320"/>
              <a:gd name="connsiteX3" fmla="*/ 655 w 3015166"/>
              <a:gd name="connsiteY3" fmla="*/ 4771320 h 4771320"/>
              <a:gd name="connsiteX0" fmla="*/ 404 w 3014915"/>
              <a:gd name="connsiteY0" fmla="*/ 4771320 h 4771320"/>
              <a:gd name="connsiteX1" fmla="*/ 3014915 w 3014915"/>
              <a:gd name="connsiteY1" fmla="*/ 0 h 4771320"/>
              <a:gd name="connsiteX2" fmla="*/ 2013109 w 3014915"/>
              <a:gd name="connsiteY2" fmla="*/ 4751671 h 4771320"/>
              <a:gd name="connsiteX3" fmla="*/ 404 w 3014915"/>
              <a:gd name="connsiteY3" fmla="*/ 4771320 h 4771320"/>
              <a:gd name="connsiteX0" fmla="*/ 580 w 2320742"/>
              <a:gd name="connsiteY0" fmla="*/ 4764236 h 4764236"/>
              <a:gd name="connsiteX1" fmla="*/ 2320742 w 2320742"/>
              <a:gd name="connsiteY1" fmla="*/ 0 h 4764236"/>
              <a:gd name="connsiteX2" fmla="*/ 2013285 w 2320742"/>
              <a:gd name="connsiteY2" fmla="*/ 4744587 h 4764236"/>
              <a:gd name="connsiteX3" fmla="*/ 580 w 2320742"/>
              <a:gd name="connsiteY3" fmla="*/ 4764236 h 4764236"/>
              <a:gd name="connsiteX0" fmla="*/ 628 w 2320790"/>
              <a:gd name="connsiteY0" fmla="*/ 4764236 h 4764236"/>
              <a:gd name="connsiteX1" fmla="*/ 2320790 w 2320790"/>
              <a:gd name="connsiteY1" fmla="*/ 0 h 4764236"/>
              <a:gd name="connsiteX2" fmla="*/ 2013333 w 2320790"/>
              <a:gd name="connsiteY2" fmla="*/ 4744587 h 4764236"/>
              <a:gd name="connsiteX3" fmla="*/ 628 w 2320790"/>
              <a:gd name="connsiteY3" fmla="*/ 4764236 h 4764236"/>
              <a:gd name="connsiteX0" fmla="*/ 628 w 2320790"/>
              <a:gd name="connsiteY0" fmla="*/ 4764236 h 4764236"/>
              <a:gd name="connsiteX1" fmla="*/ 2320790 w 2320790"/>
              <a:gd name="connsiteY1" fmla="*/ 0 h 4764236"/>
              <a:gd name="connsiteX2" fmla="*/ 2013333 w 2320790"/>
              <a:gd name="connsiteY2" fmla="*/ 4744587 h 4764236"/>
              <a:gd name="connsiteX3" fmla="*/ 628 w 2320790"/>
              <a:gd name="connsiteY3" fmla="*/ 4764236 h 4764236"/>
              <a:gd name="connsiteX0" fmla="*/ 730 w 2320892"/>
              <a:gd name="connsiteY0" fmla="*/ 4764236 h 4764236"/>
              <a:gd name="connsiteX1" fmla="*/ 2320892 w 2320892"/>
              <a:gd name="connsiteY1" fmla="*/ 0 h 4764236"/>
              <a:gd name="connsiteX2" fmla="*/ 2013435 w 2320892"/>
              <a:gd name="connsiteY2" fmla="*/ 4744587 h 4764236"/>
              <a:gd name="connsiteX3" fmla="*/ 730 w 2320892"/>
              <a:gd name="connsiteY3" fmla="*/ 4764236 h 4764236"/>
              <a:gd name="connsiteX0" fmla="*/ 842 w 2321004"/>
              <a:gd name="connsiteY0" fmla="*/ 4764236 h 4764236"/>
              <a:gd name="connsiteX1" fmla="*/ 2321004 w 2321004"/>
              <a:gd name="connsiteY1" fmla="*/ 0 h 4764236"/>
              <a:gd name="connsiteX2" fmla="*/ 2013547 w 2321004"/>
              <a:gd name="connsiteY2" fmla="*/ 4744587 h 4764236"/>
              <a:gd name="connsiteX3" fmla="*/ 842 w 2321004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221075"/>
              <a:gd name="connsiteY0" fmla="*/ 4305853 h 4744587"/>
              <a:gd name="connsiteX1" fmla="*/ 2221075 w 2221075"/>
              <a:gd name="connsiteY1" fmla="*/ 0 h 4744587"/>
              <a:gd name="connsiteX2" fmla="*/ 1913618 w 2221075"/>
              <a:gd name="connsiteY2" fmla="*/ 4744587 h 4744587"/>
              <a:gd name="connsiteX3" fmla="*/ 0 w 2221075"/>
              <a:gd name="connsiteY3" fmla="*/ 4305853 h 4744587"/>
              <a:gd name="connsiteX0" fmla="*/ 0 w 2297521"/>
              <a:gd name="connsiteY0" fmla="*/ 5562522 h 6001256"/>
              <a:gd name="connsiteX1" fmla="*/ 2297521 w 2297521"/>
              <a:gd name="connsiteY1" fmla="*/ 0 h 6001256"/>
              <a:gd name="connsiteX2" fmla="*/ 1913618 w 2297521"/>
              <a:gd name="connsiteY2" fmla="*/ 6001256 h 6001256"/>
              <a:gd name="connsiteX3" fmla="*/ 0 w 2297521"/>
              <a:gd name="connsiteY3" fmla="*/ 5562522 h 6001256"/>
              <a:gd name="connsiteX0" fmla="*/ 0 w 2297521"/>
              <a:gd name="connsiteY0" fmla="*/ 5562522 h 6001256"/>
              <a:gd name="connsiteX1" fmla="*/ 2297521 w 2297521"/>
              <a:gd name="connsiteY1" fmla="*/ 0 h 6001256"/>
              <a:gd name="connsiteX2" fmla="*/ 1913618 w 2297521"/>
              <a:gd name="connsiteY2" fmla="*/ 6001256 h 6001256"/>
              <a:gd name="connsiteX3" fmla="*/ 0 w 2297521"/>
              <a:gd name="connsiteY3" fmla="*/ 5562522 h 6001256"/>
              <a:gd name="connsiteX0" fmla="*/ 0 w 2297521"/>
              <a:gd name="connsiteY0" fmla="*/ 5562522 h 6001256"/>
              <a:gd name="connsiteX1" fmla="*/ 2297521 w 2297521"/>
              <a:gd name="connsiteY1" fmla="*/ 0 h 6001256"/>
              <a:gd name="connsiteX2" fmla="*/ 1913618 w 2297521"/>
              <a:gd name="connsiteY2" fmla="*/ 6001256 h 6001256"/>
              <a:gd name="connsiteX3" fmla="*/ 0 w 2297521"/>
              <a:gd name="connsiteY3" fmla="*/ 5562522 h 6001256"/>
              <a:gd name="connsiteX0" fmla="*/ 0 w 2236743"/>
              <a:gd name="connsiteY0" fmla="*/ 5289963 h 6001256"/>
              <a:gd name="connsiteX1" fmla="*/ 2236743 w 2236743"/>
              <a:gd name="connsiteY1" fmla="*/ 0 h 6001256"/>
              <a:gd name="connsiteX2" fmla="*/ 1852840 w 2236743"/>
              <a:gd name="connsiteY2" fmla="*/ 6001256 h 6001256"/>
              <a:gd name="connsiteX3" fmla="*/ 0 w 2236743"/>
              <a:gd name="connsiteY3" fmla="*/ 5289963 h 6001256"/>
              <a:gd name="connsiteX0" fmla="*/ 0 w 2236743"/>
              <a:gd name="connsiteY0" fmla="*/ 5289963 h 6091870"/>
              <a:gd name="connsiteX1" fmla="*/ 2236743 w 2236743"/>
              <a:gd name="connsiteY1" fmla="*/ 0 h 6091870"/>
              <a:gd name="connsiteX2" fmla="*/ 1845009 w 2236743"/>
              <a:gd name="connsiteY2" fmla="*/ 6091871 h 6091870"/>
              <a:gd name="connsiteX3" fmla="*/ 0 w 2236743"/>
              <a:gd name="connsiteY3" fmla="*/ 5289963 h 6091870"/>
              <a:gd name="connsiteX0" fmla="*/ 0 w 2236743"/>
              <a:gd name="connsiteY0" fmla="*/ 5289963 h 6091870"/>
              <a:gd name="connsiteX1" fmla="*/ 2236743 w 2236743"/>
              <a:gd name="connsiteY1" fmla="*/ 0 h 6091870"/>
              <a:gd name="connsiteX2" fmla="*/ 1845009 w 2236743"/>
              <a:gd name="connsiteY2" fmla="*/ 6091871 h 6091870"/>
              <a:gd name="connsiteX3" fmla="*/ 0 w 2236743"/>
              <a:gd name="connsiteY3" fmla="*/ 5289963 h 6091870"/>
              <a:gd name="connsiteX0" fmla="*/ 0 w 2177759"/>
              <a:gd name="connsiteY0" fmla="*/ 5088522 h 6091870"/>
              <a:gd name="connsiteX1" fmla="*/ 2177759 w 2177759"/>
              <a:gd name="connsiteY1" fmla="*/ 0 h 6091870"/>
              <a:gd name="connsiteX2" fmla="*/ 1786025 w 2177759"/>
              <a:gd name="connsiteY2" fmla="*/ 6091871 h 6091870"/>
              <a:gd name="connsiteX3" fmla="*/ 0 w 2177759"/>
              <a:gd name="connsiteY3" fmla="*/ 5088522 h 6091870"/>
              <a:gd name="connsiteX0" fmla="*/ 0 w 2177759"/>
              <a:gd name="connsiteY0" fmla="*/ 5088522 h 6091870"/>
              <a:gd name="connsiteX1" fmla="*/ 2177759 w 2177759"/>
              <a:gd name="connsiteY1" fmla="*/ 0 h 6091870"/>
              <a:gd name="connsiteX2" fmla="*/ 1786025 w 2177759"/>
              <a:gd name="connsiteY2" fmla="*/ 6091871 h 6091870"/>
              <a:gd name="connsiteX3" fmla="*/ 0 w 2177759"/>
              <a:gd name="connsiteY3" fmla="*/ 5088522 h 6091870"/>
              <a:gd name="connsiteX0" fmla="*/ 0 w 2271691"/>
              <a:gd name="connsiteY0" fmla="*/ 5381101 h 6384449"/>
              <a:gd name="connsiteX1" fmla="*/ 2271691 w 2271691"/>
              <a:gd name="connsiteY1" fmla="*/ -1 h 6384449"/>
              <a:gd name="connsiteX2" fmla="*/ 1786025 w 2271691"/>
              <a:gd name="connsiteY2" fmla="*/ 6384450 h 6384449"/>
              <a:gd name="connsiteX3" fmla="*/ 0 w 2271691"/>
              <a:gd name="connsiteY3" fmla="*/ 5381101 h 6384449"/>
              <a:gd name="connsiteX0" fmla="*/ 0 w 2252948"/>
              <a:gd name="connsiteY0" fmla="*/ 5309663 h 6384449"/>
              <a:gd name="connsiteX1" fmla="*/ 2252948 w 2252948"/>
              <a:gd name="connsiteY1" fmla="*/ -1 h 6384449"/>
              <a:gd name="connsiteX2" fmla="*/ 1767282 w 2252948"/>
              <a:gd name="connsiteY2" fmla="*/ 6384450 h 6384449"/>
              <a:gd name="connsiteX3" fmla="*/ 0 w 2252948"/>
              <a:gd name="connsiteY3" fmla="*/ 5309663 h 6384449"/>
              <a:gd name="connsiteX0" fmla="*/ 0 w 2252948"/>
              <a:gd name="connsiteY0" fmla="*/ 5309663 h 6384449"/>
              <a:gd name="connsiteX1" fmla="*/ 2252948 w 2252948"/>
              <a:gd name="connsiteY1" fmla="*/ -1 h 6384449"/>
              <a:gd name="connsiteX2" fmla="*/ 1767282 w 2252948"/>
              <a:gd name="connsiteY2" fmla="*/ 6384450 h 6384449"/>
              <a:gd name="connsiteX3" fmla="*/ 0 w 2252948"/>
              <a:gd name="connsiteY3" fmla="*/ 5309663 h 6384449"/>
              <a:gd name="connsiteX0" fmla="*/ 0 w 2252948"/>
              <a:gd name="connsiteY0" fmla="*/ 5309663 h 6384449"/>
              <a:gd name="connsiteX1" fmla="*/ 2252948 w 2252948"/>
              <a:gd name="connsiteY1" fmla="*/ -1 h 6384449"/>
              <a:gd name="connsiteX2" fmla="*/ 1767282 w 2252948"/>
              <a:gd name="connsiteY2" fmla="*/ 6384450 h 6384449"/>
              <a:gd name="connsiteX3" fmla="*/ 0 w 2252948"/>
              <a:gd name="connsiteY3" fmla="*/ 5309663 h 6384449"/>
              <a:gd name="connsiteX0" fmla="*/ 0 w 2252948"/>
              <a:gd name="connsiteY0" fmla="*/ 5309663 h 6384449"/>
              <a:gd name="connsiteX1" fmla="*/ 2252948 w 2252948"/>
              <a:gd name="connsiteY1" fmla="*/ -1 h 6384449"/>
              <a:gd name="connsiteX2" fmla="*/ 1767282 w 2252948"/>
              <a:gd name="connsiteY2" fmla="*/ 6384450 h 6384449"/>
              <a:gd name="connsiteX3" fmla="*/ 0 w 2252948"/>
              <a:gd name="connsiteY3" fmla="*/ 5309663 h 6384449"/>
              <a:gd name="connsiteX0" fmla="*/ 0 w 2252948"/>
              <a:gd name="connsiteY0" fmla="*/ 5309663 h 6384449"/>
              <a:gd name="connsiteX1" fmla="*/ 2252948 w 2252948"/>
              <a:gd name="connsiteY1" fmla="*/ -1 h 6384449"/>
              <a:gd name="connsiteX2" fmla="*/ 1767282 w 2252948"/>
              <a:gd name="connsiteY2" fmla="*/ 6384450 h 6384449"/>
              <a:gd name="connsiteX3" fmla="*/ 0 w 2252948"/>
              <a:gd name="connsiteY3" fmla="*/ 5309663 h 6384449"/>
              <a:gd name="connsiteX0" fmla="*/ 0 w 2252948"/>
              <a:gd name="connsiteY0" fmla="*/ 5309663 h 6384449"/>
              <a:gd name="connsiteX1" fmla="*/ 2252948 w 2252948"/>
              <a:gd name="connsiteY1" fmla="*/ -1 h 6384449"/>
              <a:gd name="connsiteX2" fmla="*/ 1767282 w 2252948"/>
              <a:gd name="connsiteY2" fmla="*/ 6384450 h 6384449"/>
              <a:gd name="connsiteX3" fmla="*/ 0 w 2252948"/>
              <a:gd name="connsiteY3" fmla="*/ 5309663 h 6384449"/>
              <a:gd name="connsiteX0" fmla="*/ 0 w 2026263"/>
              <a:gd name="connsiteY0" fmla="*/ 4977390 h 6052176"/>
              <a:gd name="connsiteX1" fmla="*/ 2026263 w 2026263"/>
              <a:gd name="connsiteY1" fmla="*/ 0 h 6052176"/>
              <a:gd name="connsiteX2" fmla="*/ 1767282 w 2026263"/>
              <a:gd name="connsiteY2" fmla="*/ 6052177 h 6052176"/>
              <a:gd name="connsiteX3" fmla="*/ 0 w 2026263"/>
              <a:gd name="connsiteY3" fmla="*/ 4977390 h 6052176"/>
              <a:gd name="connsiteX0" fmla="*/ 0 w 2026263"/>
              <a:gd name="connsiteY0" fmla="*/ 4977390 h 6052176"/>
              <a:gd name="connsiteX1" fmla="*/ 2026263 w 2026263"/>
              <a:gd name="connsiteY1" fmla="*/ 0 h 6052176"/>
              <a:gd name="connsiteX2" fmla="*/ 1767282 w 2026263"/>
              <a:gd name="connsiteY2" fmla="*/ 6052177 h 6052176"/>
              <a:gd name="connsiteX3" fmla="*/ 0 w 2026263"/>
              <a:gd name="connsiteY3" fmla="*/ 4977390 h 605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26263" h="6052176">
                <a:moveTo>
                  <a:pt x="0" y="4977390"/>
                </a:moveTo>
                <a:cubicBezTo>
                  <a:pt x="915034" y="2962684"/>
                  <a:pt x="651825" y="2067263"/>
                  <a:pt x="2026263" y="0"/>
                </a:cubicBezTo>
                <a:cubicBezTo>
                  <a:pt x="583523" y="2954432"/>
                  <a:pt x="1695952" y="4440921"/>
                  <a:pt x="1767282" y="6052177"/>
                </a:cubicBezTo>
                <a:lnTo>
                  <a:pt x="0" y="4977390"/>
                </a:lnTo>
                <a:close/>
              </a:path>
            </a:pathLst>
          </a:custGeom>
          <a:gradFill flip="none" rotWithShape="1">
            <a:gsLst>
              <a:gs pos="9000">
                <a:schemeClr val="bg1">
                  <a:alpha val="0"/>
                </a:schemeClr>
              </a:gs>
              <a:gs pos="100000">
                <a:schemeClr val="bg1">
                  <a:alpha val="6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6CCA842B-909F-45C4-9ABC-EC3A93440DB2}"/>
              </a:ext>
            </a:extLst>
          </p:cNvPr>
          <p:cNvSpPr/>
          <p:nvPr/>
        </p:nvSpPr>
        <p:spPr>
          <a:xfrm rot="5976229">
            <a:off x="3155474" y="3946490"/>
            <a:ext cx="1690682" cy="4411206"/>
          </a:xfrm>
          <a:custGeom>
            <a:avLst/>
            <a:gdLst>
              <a:gd name="connsiteX0" fmla="*/ 0 w 2027070"/>
              <a:gd name="connsiteY0" fmla="*/ 1589829 h 1589829"/>
              <a:gd name="connsiteX1" fmla="*/ 1013535 w 2027070"/>
              <a:gd name="connsiteY1" fmla="*/ 0 h 1589829"/>
              <a:gd name="connsiteX2" fmla="*/ 2027070 w 2027070"/>
              <a:gd name="connsiteY2" fmla="*/ 1589829 h 1589829"/>
              <a:gd name="connsiteX3" fmla="*/ 0 w 2027070"/>
              <a:gd name="connsiteY3" fmla="*/ 1589829 h 1589829"/>
              <a:gd name="connsiteX0" fmla="*/ 0 w 3028876"/>
              <a:gd name="connsiteY0" fmla="*/ 4751671 h 4751671"/>
              <a:gd name="connsiteX1" fmla="*/ 3028876 w 3028876"/>
              <a:gd name="connsiteY1" fmla="*/ 0 h 4751671"/>
              <a:gd name="connsiteX2" fmla="*/ 2027070 w 3028876"/>
              <a:gd name="connsiteY2" fmla="*/ 4751671 h 4751671"/>
              <a:gd name="connsiteX3" fmla="*/ 0 w 3028876"/>
              <a:gd name="connsiteY3" fmla="*/ 4751671 h 4751671"/>
              <a:gd name="connsiteX0" fmla="*/ 0 w 3028876"/>
              <a:gd name="connsiteY0" fmla="*/ 4751671 h 4751671"/>
              <a:gd name="connsiteX1" fmla="*/ 3028876 w 3028876"/>
              <a:gd name="connsiteY1" fmla="*/ 0 h 4751671"/>
              <a:gd name="connsiteX2" fmla="*/ 2027070 w 3028876"/>
              <a:gd name="connsiteY2" fmla="*/ 4751671 h 4751671"/>
              <a:gd name="connsiteX3" fmla="*/ 0 w 3028876"/>
              <a:gd name="connsiteY3" fmla="*/ 4751671 h 4751671"/>
              <a:gd name="connsiteX0" fmla="*/ 0 w 3028876"/>
              <a:gd name="connsiteY0" fmla="*/ 4751671 h 4751671"/>
              <a:gd name="connsiteX1" fmla="*/ 3028876 w 3028876"/>
              <a:gd name="connsiteY1" fmla="*/ 0 h 4751671"/>
              <a:gd name="connsiteX2" fmla="*/ 2027070 w 3028876"/>
              <a:gd name="connsiteY2" fmla="*/ 4751671 h 4751671"/>
              <a:gd name="connsiteX3" fmla="*/ 0 w 3028876"/>
              <a:gd name="connsiteY3" fmla="*/ 4751671 h 4751671"/>
              <a:gd name="connsiteX0" fmla="*/ 0 w 3028876"/>
              <a:gd name="connsiteY0" fmla="*/ 4751671 h 4751671"/>
              <a:gd name="connsiteX1" fmla="*/ 3028876 w 3028876"/>
              <a:gd name="connsiteY1" fmla="*/ 0 h 4751671"/>
              <a:gd name="connsiteX2" fmla="*/ 2027070 w 3028876"/>
              <a:gd name="connsiteY2" fmla="*/ 4751671 h 4751671"/>
              <a:gd name="connsiteX3" fmla="*/ 0 w 3028876"/>
              <a:gd name="connsiteY3" fmla="*/ 4751671 h 4751671"/>
              <a:gd name="connsiteX0" fmla="*/ 647 w 3029523"/>
              <a:gd name="connsiteY0" fmla="*/ 4751671 h 4751671"/>
              <a:gd name="connsiteX1" fmla="*/ 3029523 w 3029523"/>
              <a:gd name="connsiteY1" fmla="*/ 0 h 4751671"/>
              <a:gd name="connsiteX2" fmla="*/ 2027717 w 3029523"/>
              <a:gd name="connsiteY2" fmla="*/ 4751671 h 4751671"/>
              <a:gd name="connsiteX3" fmla="*/ 647 w 3029523"/>
              <a:gd name="connsiteY3" fmla="*/ 4751671 h 4751671"/>
              <a:gd name="connsiteX0" fmla="*/ 647 w 3029523"/>
              <a:gd name="connsiteY0" fmla="*/ 4751671 h 4751671"/>
              <a:gd name="connsiteX1" fmla="*/ 3029523 w 3029523"/>
              <a:gd name="connsiteY1" fmla="*/ 0 h 4751671"/>
              <a:gd name="connsiteX2" fmla="*/ 2027717 w 3029523"/>
              <a:gd name="connsiteY2" fmla="*/ 4751671 h 4751671"/>
              <a:gd name="connsiteX3" fmla="*/ 647 w 3029523"/>
              <a:gd name="connsiteY3" fmla="*/ 4751671 h 4751671"/>
              <a:gd name="connsiteX0" fmla="*/ 655 w 3015166"/>
              <a:gd name="connsiteY0" fmla="*/ 4771320 h 4771320"/>
              <a:gd name="connsiteX1" fmla="*/ 3015166 w 3015166"/>
              <a:gd name="connsiteY1" fmla="*/ 0 h 4771320"/>
              <a:gd name="connsiteX2" fmla="*/ 2013360 w 3015166"/>
              <a:gd name="connsiteY2" fmla="*/ 4751671 h 4771320"/>
              <a:gd name="connsiteX3" fmla="*/ 655 w 3015166"/>
              <a:gd name="connsiteY3" fmla="*/ 4771320 h 4771320"/>
              <a:gd name="connsiteX0" fmla="*/ 655 w 3015166"/>
              <a:gd name="connsiteY0" fmla="*/ 4771320 h 4771320"/>
              <a:gd name="connsiteX1" fmla="*/ 3015166 w 3015166"/>
              <a:gd name="connsiteY1" fmla="*/ 0 h 4771320"/>
              <a:gd name="connsiteX2" fmla="*/ 2013360 w 3015166"/>
              <a:gd name="connsiteY2" fmla="*/ 4751671 h 4771320"/>
              <a:gd name="connsiteX3" fmla="*/ 655 w 3015166"/>
              <a:gd name="connsiteY3" fmla="*/ 4771320 h 4771320"/>
              <a:gd name="connsiteX0" fmla="*/ 404 w 3014915"/>
              <a:gd name="connsiteY0" fmla="*/ 4771320 h 4771320"/>
              <a:gd name="connsiteX1" fmla="*/ 3014915 w 3014915"/>
              <a:gd name="connsiteY1" fmla="*/ 0 h 4771320"/>
              <a:gd name="connsiteX2" fmla="*/ 2013109 w 3014915"/>
              <a:gd name="connsiteY2" fmla="*/ 4751671 h 4771320"/>
              <a:gd name="connsiteX3" fmla="*/ 404 w 3014915"/>
              <a:gd name="connsiteY3" fmla="*/ 4771320 h 4771320"/>
              <a:gd name="connsiteX0" fmla="*/ 580 w 2320742"/>
              <a:gd name="connsiteY0" fmla="*/ 4764236 h 4764236"/>
              <a:gd name="connsiteX1" fmla="*/ 2320742 w 2320742"/>
              <a:gd name="connsiteY1" fmla="*/ 0 h 4764236"/>
              <a:gd name="connsiteX2" fmla="*/ 2013285 w 2320742"/>
              <a:gd name="connsiteY2" fmla="*/ 4744587 h 4764236"/>
              <a:gd name="connsiteX3" fmla="*/ 580 w 2320742"/>
              <a:gd name="connsiteY3" fmla="*/ 4764236 h 4764236"/>
              <a:gd name="connsiteX0" fmla="*/ 628 w 2320790"/>
              <a:gd name="connsiteY0" fmla="*/ 4764236 h 4764236"/>
              <a:gd name="connsiteX1" fmla="*/ 2320790 w 2320790"/>
              <a:gd name="connsiteY1" fmla="*/ 0 h 4764236"/>
              <a:gd name="connsiteX2" fmla="*/ 2013333 w 2320790"/>
              <a:gd name="connsiteY2" fmla="*/ 4744587 h 4764236"/>
              <a:gd name="connsiteX3" fmla="*/ 628 w 2320790"/>
              <a:gd name="connsiteY3" fmla="*/ 4764236 h 4764236"/>
              <a:gd name="connsiteX0" fmla="*/ 628 w 2320790"/>
              <a:gd name="connsiteY0" fmla="*/ 4764236 h 4764236"/>
              <a:gd name="connsiteX1" fmla="*/ 2320790 w 2320790"/>
              <a:gd name="connsiteY1" fmla="*/ 0 h 4764236"/>
              <a:gd name="connsiteX2" fmla="*/ 2013333 w 2320790"/>
              <a:gd name="connsiteY2" fmla="*/ 4744587 h 4764236"/>
              <a:gd name="connsiteX3" fmla="*/ 628 w 2320790"/>
              <a:gd name="connsiteY3" fmla="*/ 4764236 h 4764236"/>
              <a:gd name="connsiteX0" fmla="*/ 730 w 2320892"/>
              <a:gd name="connsiteY0" fmla="*/ 4764236 h 4764236"/>
              <a:gd name="connsiteX1" fmla="*/ 2320892 w 2320892"/>
              <a:gd name="connsiteY1" fmla="*/ 0 h 4764236"/>
              <a:gd name="connsiteX2" fmla="*/ 2013435 w 2320892"/>
              <a:gd name="connsiteY2" fmla="*/ 4744587 h 4764236"/>
              <a:gd name="connsiteX3" fmla="*/ 730 w 2320892"/>
              <a:gd name="connsiteY3" fmla="*/ 4764236 h 4764236"/>
              <a:gd name="connsiteX0" fmla="*/ 842 w 2321004"/>
              <a:gd name="connsiteY0" fmla="*/ 4764236 h 4764236"/>
              <a:gd name="connsiteX1" fmla="*/ 2321004 w 2321004"/>
              <a:gd name="connsiteY1" fmla="*/ 0 h 4764236"/>
              <a:gd name="connsiteX2" fmla="*/ 2013547 w 2321004"/>
              <a:gd name="connsiteY2" fmla="*/ 4744587 h 4764236"/>
              <a:gd name="connsiteX3" fmla="*/ 842 w 2321004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320162"/>
              <a:gd name="connsiteY0" fmla="*/ 4764236 h 4764236"/>
              <a:gd name="connsiteX1" fmla="*/ 2320162 w 2320162"/>
              <a:gd name="connsiteY1" fmla="*/ 0 h 4764236"/>
              <a:gd name="connsiteX2" fmla="*/ 2012705 w 2320162"/>
              <a:gd name="connsiteY2" fmla="*/ 4744587 h 4764236"/>
              <a:gd name="connsiteX3" fmla="*/ 0 w 2320162"/>
              <a:gd name="connsiteY3" fmla="*/ 4764236 h 4764236"/>
              <a:gd name="connsiteX0" fmla="*/ 0 w 2221075"/>
              <a:gd name="connsiteY0" fmla="*/ 4305853 h 4744587"/>
              <a:gd name="connsiteX1" fmla="*/ 2221075 w 2221075"/>
              <a:gd name="connsiteY1" fmla="*/ 0 h 4744587"/>
              <a:gd name="connsiteX2" fmla="*/ 1913618 w 2221075"/>
              <a:gd name="connsiteY2" fmla="*/ 4744587 h 4744587"/>
              <a:gd name="connsiteX3" fmla="*/ 0 w 2221075"/>
              <a:gd name="connsiteY3" fmla="*/ 4305853 h 4744587"/>
              <a:gd name="connsiteX0" fmla="*/ 0 w 2221075"/>
              <a:gd name="connsiteY0" fmla="*/ 4305853 h 4744587"/>
              <a:gd name="connsiteX1" fmla="*/ 2221075 w 2221075"/>
              <a:gd name="connsiteY1" fmla="*/ 0 h 4744587"/>
              <a:gd name="connsiteX2" fmla="*/ 1913618 w 2221075"/>
              <a:gd name="connsiteY2" fmla="*/ 4744587 h 4744587"/>
              <a:gd name="connsiteX3" fmla="*/ 0 w 2221075"/>
              <a:gd name="connsiteY3" fmla="*/ 4305853 h 4744587"/>
              <a:gd name="connsiteX0" fmla="*/ 0 w 2221075"/>
              <a:gd name="connsiteY0" fmla="*/ 4305853 h 4744587"/>
              <a:gd name="connsiteX1" fmla="*/ 2221075 w 2221075"/>
              <a:gd name="connsiteY1" fmla="*/ 0 h 4744587"/>
              <a:gd name="connsiteX2" fmla="*/ 1913618 w 2221075"/>
              <a:gd name="connsiteY2" fmla="*/ 4744587 h 4744587"/>
              <a:gd name="connsiteX3" fmla="*/ 0 w 2221075"/>
              <a:gd name="connsiteY3" fmla="*/ 4305853 h 4744587"/>
              <a:gd name="connsiteX0" fmla="*/ 0 w 1983293"/>
              <a:gd name="connsiteY0" fmla="*/ 4210417 h 4649151"/>
              <a:gd name="connsiteX1" fmla="*/ 1983293 w 1983293"/>
              <a:gd name="connsiteY1" fmla="*/ 0 h 4649151"/>
              <a:gd name="connsiteX2" fmla="*/ 1913618 w 1983293"/>
              <a:gd name="connsiteY2" fmla="*/ 4649151 h 4649151"/>
              <a:gd name="connsiteX3" fmla="*/ 0 w 1983293"/>
              <a:gd name="connsiteY3" fmla="*/ 4210417 h 4649151"/>
              <a:gd name="connsiteX0" fmla="*/ 0 w 1983293"/>
              <a:gd name="connsiteY0" fmla="*/ 4210417 h 4649151"/>
              <a:gd name="connsiteX1" fmla="*/ 1983293 w 1983293"/>
              <a:gd name="connsiteY1" fmla="*/ 0 h 4649151"/>
              <a:gd name="connsiteX2" fmla="*/ 1913618 w 1983293"/>
              <a:gd name="connsiteY2" fmla="*/ 4649151 h 4649151"/>
              <a:gd name="connsiteX3" fmla="*/ 0 w 1983293"/>
              <a:gd name="connsiteY3" fmla="*/ 4210417 h 4649151"/>
              <a:gd name="connsiteX0" fmla="*/ 0 w 1983293"/>
              <a:gd name="connsiteY0" fmla="*/ 4210417 h 4649151"/>
              <a:gd name="connsiteX1" fmla="*/ 1983293 w 1983293"/>
              <a:gd name="connsiteY1" fmla="*/ 0 h 4649151"/>
              <a:gd name="connsiteX2" fmla="*/ 1913618 w 1983293"/>
              <a:gd name="connsiteY2" fmla="*/ 4649151 h 4649151"/>
              <a:gd name="connsiteX3" fmla="*/ 0 w 1983293"/>
              <a:gd name="connsiteY3" fmla="*/ 4210417 h 4649151"/>
              <a:gd name="connsiteX0" fmla="*/ 0 w 1703068"/>
              <a:gd name="connsiteY0" fmla="*/ 3909072 h 4649151"/>
              <a:gd name="connsiteX1" fmla="*/ 1703068 w 1703068"/>
              <a:gd name="connsiteY1" fmla="*/ 0 h 4649151"/>
              <a:gd name="connsiteX2" fmla="*/ 1633393 w 1703068"/>
              <a:gd name="connsiteY2" fmla="*/ 4649151 h 4649151"/>
              <a:gd name="connsiteX3" fmla="*/ 0 w 1703068"/>
              <a:gd name="connsiteY3" fmla="*/ 3909072 h 4649151"/>
              <a:gd name="connsiteX0" fmla="*/ 0 w 1703068"/>
              <a:gd name="connsiteY0" fmla="*/ 3909072 h 4649151"/>
              <a:gd name="connsiteX1" fmla="*/ 1703068 w 1703068"/>
              <a:gd name="connsiteY1" fmla="*/ 0 h 4649151"/>
              <a:gd name="connsiteX2" fmla="*/ 1633393 w 1703068"/>
              <a:gd name="connsiteY2" fmla="*/ 4649151 h 4649151"/>
              <a:gd name="connsiteX3" fmla="*/ 0 w 1703068"/>
              <a:gd name="connsiteY3" fmla="*/ 3909072 h 4649151"/>
              <a:gd name="connsiteX0" fmla="*/ 0 w 1703068"/>
              <a:gd name="connsiteY0" fmla="*/ 3909072 h 4649151"/>
              <a:gd name="connsiteX1" fmla="*/ 1703068 w 1703068"/>
              <a:gd name="connsiteY1" fmla="*/ 0 h 4649151"/>
              <a:gd name="connsiteX2" fmla="*/ 1633393 w 1703068"/>
              <a:gd name="connsiteY2" fmla="*/ 4649151 h 4649151"/>
              <a:gd name="connsiteX3" fmla="*/ 0 w 1703068"/>
              <a:gd name="connsiteY3" fmla="*/ 3909072 h 4649151"/>
              <a:gd name="connsiteX0" fmla="*/ 0 w 1703068"/>
              <a:gd name="connsiteY0" fmla="*/ 3909072 h 4411206"/>
              <a:gd name="connsiteX1" fmla="*/ 1703068 w 1703068"/>
              <a:gd name="connsiteY1" fmla="*/ 0 h 4411206"/>
              <a:gd name="connsiteX2" fmla="*/ 1604172 w 1703068"/>
              <a:gd name="connsiteY2" fmla="*/ 4411206 h 4411206"/>
              <a:gd name="connsiteX3" fmla="*/ 0 w 1703068"/>
              <a:gd name="connsiteY3" fmla="*/ 3909072 h 4411206"/>
              <a:gd name="connsiteX0" fmla="*/ 0 w 1690682"/>
              <a:gd name="connsiteY0" fmla="*/ 3851774 h 4411206"/>
              <a:gd name="connsiteX1" fmla="*/ 1690682 w 1690682"/>
              <a:gd name="connsiteY1" fmla="*/ 0 h 4411206"/>
              <a:gd name="connsiteX2" fmla="*/ 1591786 w 1690682"/>
              <a:gd name="connsiteY2" fmla="*/ 4411206 h 4411206"/>
              <a:gd name="connsiteX3" fmla="*/ 0 w 1690682"/>
              <a:gd name="connsiteY3" fmla="*/ 3851774 h 4411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90682" h="4411206">
                <a:moveTo>
                  <a:pt x="0" y="3851774"/>
                </a:moveTo>
                <a:cubicBezTo>
                  <a:pt x="1447866" y="2182693"/>
                  <a:pt x="8356" y="935924"/>
                  <a:pt x="1690682" y="0"/>
                </a:cubicBezTo>
                <a:cubicBezTo>
                  <a:pt x="224007" y="892319"/>
                  <a:pt x="1596299" y="2772652"/>
                  <a:pt x="1591786" y="4411206"/>
                </a:cubicBezTo>
                <a:lnTo>
                  <a:pt x="0" y="3851774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D3C595-DA0A-47AD-A9E9-AB94C60C7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E" dirty="0"/>
              <a:t>Employment Growth </a:t>
            </a:r>
            <a:r>
              <a:rPr lang="en-IE" dirty="0">
                <a:solidFill>
                  <a:schemeClr val="tx1"/>
                </a:solidFill>
              </a:rPr>
              <a:t>in key Sectors</a:t>
            </a:r>
          </a:p>
        </p:txBody>
      </p:sp>
      <p:sp>
        <p:nvSpPr>
          <p:cNvPr id="47" name="Oval 46"/>
          <p:cNvSpPr/>
          <p:nvPr/>
        </p:nvSpPr>
        <p:spPr>
          <a:xfrm rot="10800000" flipV="1">
            <a:off x="2143829" y="1608526"/>
            <a:ext cx="2027070" cy="2027070"/>
          </a:xfrm>
          <a:prstGeom prst="ellipse">
            <a:avLst/>
          </a:prstGeom>
          <a:gradFill>
            <a:gsLst>
              <a:gs pos="0">
                <a:srgbClr val="00AEEF"/>
              </a:gs>
              <a:gs pos="100000">
                <a:srgbClr val="0088B8"/>
              </a:gs>
            </a:gsLst>
            <a:lin ang="600000" scaled="0"/>
          </a:gradFill>
          <a:ln w="76200">
            <a:noFill/>
          </a:ln>
          <a:effectLst>
            <a:innerShdw blurRad="127000" dist="114300" dir="108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72000" rtlCol="0" anchor="b" anchorCtr="0"/>
          <a:lstStyle/>
          <a:p>
            <a:pPr algn="ctr">
              <a:lnSpc>
                <a:spcPct val="85000"/>
              </a:lnSpc>
            </a:pPr>
            <a:r>
              <a:rPr lang="en-GB" sz="3600" b="1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↑ 8%</a:t>
            </a:r>
            <a:br>
              <a:rPr lang="en-GB" sz="3600" b="1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</a:br>
            <a:r>
              <a:rPr lang="en-GB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ruction</a:t>
            </a:r>
            <a:endParaRPr lang="en-IE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Oval 47"/>
          <p:cNvSpPr/>
          <p:nvPr/>
        </p:nvSpPr>
        <p:spPr>
          <a:xfrm rot="10800000" flipV="1">
            <a:off x="8075004" y="1609395"/>
            <a:ext cx="2027070" cy="2027070"/>
          </a:xfrm>
          <a:prstGeom prst="ellipse">
            <a:avLst/>
          </a:prstGeom>
          <a:gradFill>
            <a:gsLst>
              <a:gs pos="0">
                <a:srgbClr val="00AEEF"/>
              </a:gs>
              <a:gs pos="100000">
                <a:srgbClr val="0088B8"/>
              </a:gs>
            </a:gsLst>
            <a:lin ang="600000" scaled="0"/>
          </a:gradFill>
          <a:ln w="76200">
            <a:noFill/>
          </a:ln>
          <a:effectLst>
            <a:innerShdw blurRad="127000" dist="114300" dir="108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72000" rtlCol="0" anchor="b" anchorCtr="0"/>
          <a:lstStyle/>
          <a:p>
            <a:pPr lvl="0" algn="ctr">
              <a:lnSpc>
                <a:spcPct val="85000"/>
              </a:lnSpc>
            </a:pPr>
            <a:r>
              <a:rPr lang="en-GB" sz="3600" b="1" dirty="0">
                <a:solidFill>
                  <a:srgbClr val="FFFFF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↑ 8%</a:t>
            </a:r>
            <a:br>
              <a:rPr lang="en-GB" sz="3600" b="1" dirty="0">
                <a:solidFill>
                  <a:srgbClr val="FFFFF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</a:br>
            <a:r>
              <a:rPr lang="en-GB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Sciences</a:t>
            </a:r>
            <a:endParaRPr lang="en-IE" sz="2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/>
          <p:cNvSpPr/>
          <p:nvPr/>
        </p:nvSpPr>
        <p:spPr>
          <a:xfrm rot="10800000" flipV="1">
            <a:off x="631687" y="4510560"/>
            <a:ext cx="2027070" cy="2027070"/>
          </a:xfrm>
          <a:prstGeom prst="ellipse">
            <a:avLst/>
          </a:prstGeom>
          <a:gradFill>
            <a:gsLst>
              <a:gs pos="0">
                <a:srgbClr val="00AEEF"/>
              </a:gs>
              <a:gs pos="100000">
                <a:srgbClr val="0088B8"/>
              </a:gs>
            </a:gsLst>
            <a:lin ang="600000" scaled="0"/>
          </a:gradFill>
          <a:ln w="76200">
            <a:noFill/>
          </a:ln>
          <a:effectLst>
            <a:innerShdw blurRad="127000" dist="114300" dir="108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72000" rtlCol="0" anchor="b" anchorCtr="0"/>
          <a:lstStyle/>
          <a:p>
            <a:pPr lvl="0" algn="ctr">
              <a:lnSpc>
                <a:spcPct val="85000"/>
              </a:lnSpc>
            </a:pPr>
            <a:r>
              <a:rPr lang="en-GB" sz="3600" b="1" dirty="0">
                <a:solidFill>
                  <a:srgbClr val="FFFFF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↑ 3%</a:t>
            </a:r>
            <a:br>
              <a:rPr lang="en-GB" sz="3600" b="1" dirty="0">
                <a:solidFill>
                  <a:srgbClr val="FFFFF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</a:br>
            <a:r>
              <a:rPr lang="en-GB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CT</a:t>
            </a:r>
            <a:endParaRPr lang="en-IE" sz="2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Oval 53"/>
          <p:cNvSpPr/>
          <p:nvPr/>
        </p:nvSpPr>
        <p:spPr>
          <a:xfrm rot="10800000" flipV="1">
            <a:off x="9523863" y="4510559"/>
            <a:ext cx="2027070" cy="2027070"/>
          </a:xfrm>
          <a:prstGeom prst="ellipse">
            <a:avLst/>
          </a:prstGeom>
          <a:gradFill>
            <a:gsLst>
              <a:gs pos="0">
                <a:srgbClr val="00AEEF"/>
              </a:gs>
              <a:gs pos="100000">
                <a:srgbClr val="0088B8"/>
              </a:gs>
            </a:gsLst>
            <a:lin ang="600000" scaled="0"/>
          </a:gradFill>
          <a:ln w="76200">
            <a:noFill/>
          </a:ln>
          <a:effectLst>
            <a:innerShdw blurRad="127000" dist="114300" dir="108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72000" rtlCol="0" anchor="b" anchorCtr="0"/>
          <a:lstStyle/>
          <a:p>
            <a:pPr algn="ctr">
              <a:lnSpc>
                <a:spcPct val="85000"/>
              </a:lnSpc>
            </a:pPr>
            <a:r>
              <a:rPr lang="en-GB" sz="3600" b="1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↑ 5%</a:t>
            </a:r>
            <a:br>
              <a:rPr lang="en-GB" sz="3600" b="1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</a:br>
            <a:r>
              <a:rPr lang="en-GB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gineering</a:t>
            </a:r>
            <a:endParaRPr lang="en-IE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Oval 54"/>
          <p:cNvSpPr/>
          <p:nvPr/>
        </p:nvSpPr>
        <p:spPr>
          <a:xfrm rot="10800000" flipV="1">
            <a:off x="3058416" y="3826099"/>
            <a:ext cx="2027070" cy="2027070"/>
          </a:xfrm>
          <a:prstGeom prst="ellipse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lumMod val="75000"/>
                </a:schemeClr>
              </a:gs>
            </a:gsLst>
            <a:lin ang="600000" scaled="0"/>
            <a:tileRect/>
          </a:gradFill>
          <a:ln w="76200">
            <a:noFill/>
          </a:ln>
          <a:effectLst>
            <a:innerShdw blurRad="127000" dist="114300" dir="108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0" rtlCol="0" anchor="b" anchorCtr="0"/>
          <a:lstStyle/>
          <a:p>
            <a:pPr lvl="0" algn="ctr">
              <a:lnSpc>
                <a:spcPct val="85000"/>
              </a:lnSpc>
            </a:pPr>
            <a:r>
              <a:rPr lang="en-GB" sz="3600" b="1" dirty="0">
                <a:solidFill>
                  <a:srgbClr val="FFFFF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↑ 3%</a:t>
            </a:r>
            <a:br>
              <a:rPr lang="en-GB" sz="3600" b="1" dirty="0">
                <a:solidFill>
                  <a:srgbClr val="FFFFF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</a:br>
            <a:r>
              <a:rPr lang="en-GB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od</a:t>
            </a:r>
            <a:endParaRPr lang="en-IE" sz="2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Oval 55"/>
          <p:cNvSpPr/>
          <p:nvPr/>
        </p:nvSpPr>
        <p:spPr>
          <a:xfrm rot="10800000" flipV="1">
            <a:off x="7073545" y="3826098"/>
            <a:ext cx="2027070" cy="2027070"/>
          </a:xfrm>
          <a:prstGeom prst="ellipse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lumMod val="75000"/>
                </a:schemeClr>
              </a:gs>
            </a:gsLst>
            <a:lin ang="600000" scaled="0"/>
            <a:tileRect/>
          </a:gradFill>
          <a:ln w="76200">
            <a:noFill/>
          </a:ln>
          <a:effectLst>
            <a:innerShdw blurRad="127000" dist="114300" dir="108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648000" rIns="0" bIns="0" rtlCol="0" anchor="t" anchorCtr="0"/>
          <a:lstStyle/>
          <a:p>
            <a:pPr algn="ctr">
              <a:lnSpc>
                <a:spcPct val="85000"/>
              </a:lnSpc>
            </a:pPr>
            <a:r>
              <a:rPr lang="en-GB" sz="3600" b="1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↑ 5%</a:t>
            </a:r>
            <a:br>
              <a:rPr lang="en-GB" sz="3600" b="1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</a:br>
            <a:r>
              <a:rPr lang="en-GB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ary </a:t>
            </a:r>
            <a:br>
              <a:rPr lang="en-GB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ts</a:t>
            </a:r>
            <a:endParaRPr lang="en-IE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5523" y="4681749"/>
            <a:ext cx="663750" cy="573750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5933" y="1798293"/>
            <a:ext cx="844461" cy="629995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9501" y="4035031"/>
            <a:ext cx="995158" cy="680780"/>
          </a:xfrm>
          <a:prstGeom prst="rect">
            <a:avLst/>
          </a:prstGeom>
        </p:spPr>
      </p:pic>
      <p:sp>
        <p:nvSpPr>
          <p:cNvPr id="18" name="Oval 17">
            <a:extLst>
              <a:ext uri="{FF2B5EF4-FFF2-40B4-BE49-F238E27FC236}">
                <a16:creationId xmlns:a16="http://schemas.microsoft.com/office/drawing/2014/main" id="{C03403A8-17A4-419C-8A53-DA0083F1273D}"/>
              </a:ext>
            </a:extLst>
          </p:cNvPr>
          <p:cNvSpPr/>
          <p:nvPr/>
        </p:nvSpPr>
        <p:spPr>
          <a:xfrm rot="10800000" flipV="1">
            <a:off x="5077774" y="1370561"/>
            <a:ext cx="2027070" cy="2027070"/>
          </a:xfrm>
          <a:prstGeom prst="ellipse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lumMod val="75000"/>
                </a:schemeClr>
              </a:gs>
            </a:gsLst>
            <a:lin ang="600000" scaled="0"/>
            <a:tileRect/>
          </a:gradFill>
          <a:ln w="76200">
            <a:noFill/>
          </a:ln>
          <a:effectLst>
            <a:innerShdw blurRad="127000" dist="114300" dir="108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72000" rtlCol="0" anchor="b" anchorCtr="0"/>
          <a:lstStyle/>
          <a:p>
            <a:pPr lvl="0" algn="ctr">
              <a:lnSpc>
                <a:spcPct val="85000"/>
              </a:lnSpc>
            </a:pPr>
            <a:r>
              <a:rPr lang="en-GB" sz="3600" b="1" dirty="0">
                <a:solidFill>
                  <a:srgbClr val="FFFFF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↑ 7%</a:t>
            </a:r>
            <a:br>
              <a:rPr lang="en-GB" sz="3600" b="1" dirty="0">
                <a:solidFill>
                  <a:srgbClr val="FFFFF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</a:br>
            <a:r>
              <a:rPr lang="en-GB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ronics</a:t>
            </a:r>
            <a:endParaRPr lang="en-IE" sz="2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2" name="Group 68">
            <a:extLst>
              <a:ext uri="{FF2B5EF4-FFF2-40B4-BE49-F238E27FC236}">
                <a16:creationId xmlns:a16="http://schemas.microsoft.com/office/drawing/2014/main" id="{44A8A394-283E-491C-A85C-D35BE3E8E39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286729" y="4687986"/>
            <a:ext cx="728564" cy="567513"/>
            <a:chOff x="2224" y="902"/>
            <a:chExt cx="3230" cy="2516"/>
          </a:xfrm>
          <a:solidFill>
            <a:schemeClr val="bg1"/>
          </a:solidFill>
        </p:grpSpPr>
        <p:sp>
          <p:nvSpPr>
            <p:cNvPr id="49" name="Freeform 69">
              <a:extLst>
                <a:ext uri="{FF2B5EF4-FFF2-40B4-BE49-F238E27FC236}">
                  <a16:creationId xmlns:a16="http://schemas.microsoft.com/office/drawing/2014/main" id="{65BD7F90-C97B-46EC-B5B9-1D1D98734C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24" y="1376"/>
              <a:ext cx="2969" cy="2042"/>
            </a:xfrm>
            <a:custGeom>
              <a:avLst/>
              <a:gdLst>
                <a:gd name="T0" fmla="*/ 1987 w 2190"/>
                <a:gd name="T1" fmla="*/ 1054 h 1501"/>
                <a:gd name="T2" fmla="*/ 1987 w 2190"/>
                <a:gd name="T3" fmla="*/ 743 h 1501"/>
                <a:gd name="T4" fmla="*/ 1873 w 2190"/>
                <a:gd name="T5" fmla="*/ 743 h 1501"/>
                <a:gd name="T6" fmla="*/ 1873 w 2190"/>
                <a:gd name="T7" fmla="*/ 992 h 1501"/>
                <a:gd name="T8" fmla="*/ 1802 w 2190"/>
                <a:gd name="T9" fmla="*/ 1063 h 1501"/>
                <a:gd name="T10" fmla="*/ 388 w 2190"/>
                <a:gd name="T11" fmla="*/ 1063 h 1501"/>
                <a:gd name="T12" fmla="*/ 317 w 2190"/>
                <a:gd name="T13" fmla="*/ 992 h 1501"/>
                <a:gd name="T14" fmla="*/ 317 w 2190"/>
                <a:gd name="T15" fmla="*/ 144 h 1501"/>
                <a:gd name="T16" fmla="*/ 388 w 2190"/>
                <a:gd name="T17" fmla="*/ 73 h 1501"/>
                <a:gd name="T18" fmla="*/ 1197 w 2190"/>
                <a:gd name="T19" fmla="*/ 73 h 1501"/>
                <a:gd name="T20" fmla="*/ 1197 w 2190"/>
                <a:gd name="T21" fmla="*/ 0 h 1501"/>
                <a:gd name="T22" fmla="*/ 284 w 2190"/>
                <a:gd name="T23" fmla="*/ 0 h 1501"/>
                <a:gd name="T24" fmla="*/ 203 w 2190"/>
                <a:gd name="T25" fmla="*/ 81 h 1501"/>
                <a:gd name="T26" fmla="*/ 203 w 2190"/>
                <a:gd name="T27" fmla="*/ 568 h 1501"/>
                <a:gd name="T28" fmla="*/ 203 w 2190"/>
                <a:gd name="T29" fmla="*/ 1054 h 1501"/>
                <a:gd name="T30" fmla="*/ 203 w 2190"/>
                <a:gd name="T31" fmla="*/ 1135 h 1501"/>
                <a:gd name="T32" fmla="*/ 0 w 2190"/>
                <a:gd name="T33" fmla="*/ 1379 h 1501"/>
                <a:gd name="T34" fmla="*/ 122 w 2190"/>
                <a:gd name="T35" fmla="*/ 1501 h 1501"/>
                <a:gd name="T36" fmla="*/ 2068 w 2190"/>
                <a:gd name="T37" fmla="*/ 1501 h 1501"/>
                <a:gd name="T38" fmla="*/ 2190 w 2190"/>
                <a:gd name="T39" fmla="*/ 1379 h 1501"/>
                <a:gd name="T40" fmla="*/ 1987 w 2190"/>
                <a:gd name="T41" fmla="*/ 1135 h 1501"/>
                <a:gd name="T42" fmla="*/ 1987 w 2190"/>
                <a:gd name="T43" fmla="*/ 1054 h 1501"/>
                <a:gd name="T44" fmla="*/ 1257 w 2190"/>
                <a:gd name="T45" fmla="*/ 1460 h 1501"/>
                <a:gd name="T46" fmla="*/ 933 w 2190"/>
                <a:gd name="T47" fmla="*/ 1460 h 1501"/>
                <a:gd name="T48" fmla="*/ 913 w 2190"/>
                <a:gd name="T49" fmla="*/ 1440 h 1501"/>
                <a:gd name="T50" fmla="*/ 933 w 2190"/>
                <a:gd name="T51" fmla="*/ 1419 h 1501"/>
                <a:gd name="T52" fmla="*/ 1257 w 2190"/>
                <a:gd name="T53" fmla="*/ 1419 h 1501"/>
                <a:gd name="T54" fmla="*/ 1278 w 2190"/>
                <a:gd name="T55" fmla="*/ 1440 h 1501"/>
                <a:gd name="T56" fmla="*/ 1257 w 2190"/>
                <a:gd name="T57" fmla="*/ 1460 h 1501"/>
                <a:gd name="T58" fmla="*/ 761 w 2190"/>
                <a:gd name="T59" fmla="*/ 1379 h 1501"/>
                <a:gd name="T60" fmla="*/ 823 w 2190"/>
                <a:gd name="T61" fmla="*/ 1305 h 1501"/>
                <a:gd name="T62" fmla="*/ 1368 w 2190"/>
                <a:gd name="T63" fmla="*/ 1305 h 1501"/>
                <a:gd name="T64" fmla="*/ 1429 w 2190"/>
                <a:gd name="T65" fmla="*/ 1379 h 1501"/>
                <a:gd name="T66" fmla="*/ 761 w 2190"/>
                <a:gd name="T67" fmla="*/ 1379 h 1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190" h="1501">
                  <a:moveTo>
                    <a:pt x="1987" y="1054"/>
                  </a:moveTo>
                  <a:cubicBezTo>
                    <a:pt x="1987" y="743"/>
                    <a:pt x="1987" y="743"/>
                    <a:pt x="1987" y="743"/>
                  </a:cubicBezTo>
                  <a:cubicBezTo>
                    <a:pt x="1873" y="743"/>
                    <a:pt x="1873" y="743"/>
                    <a:pt x="1873" y="743"/>
                  </a:cubicBezTo>
                  <a:cubicBezTo>
                    <a:pt x="1873" y="992"/>
                    <a:pt x="1873" y="992"/>
                    <a:pt x="1873" y="992"/>
                  </a:cubicBezTo>
                  <a:cubicBezTo>
                    <a:pt x="1873" y="1031"/>
                    <a:pt x="1841" y="1063"/>
                    <a:pt x="1802" y="1063"/>
                  </a:cubicBezTo>
                  <a:cubicBezTo>
                    <a:pt x="388" y="1063"/>
                    <a:pt x="388" y="1063"/>
                    <a:pt x="388" y="1063"/>
                  </a:cubicBezTo>
                  <a:cubicBezTo>
                    <a:pt x="349" y="1063"/>
                    <a:pt x="317" y="1031"/>
                    <a:pt x="317" y="992"/>
                  </a:cubicBezTo>
                  <a:cubicBezTo>
                    <a:pt x="317" y="144"/>
                    <a:pt x="317" y="144"/>
                    <a:pt x="317" y="144"/>
                  </a:cubicBezTo>
                  <a:cubicBezTo>
                    <a:pt x="317" y="105"/>
                    <a:pt x="349" y="73"/>
                    <a:pt x="388" y="73"/>
                  </a:cubicBezTo>
                  <a:cubicBezTo>
                    <a:pt x="1197" y="73"/>
                    <a:pt x="1197" y="73"/>
                    <a:pt x="1197" y="73"/>
                  </a:cubicBezTo>
                  <a:cubicBezTo>
                    <a:pt x="1197" y="0"/>
                    <a:pt x="1197" y="0"/>
                    <a:pt x="1197" y="0"/>
                  </a:cubicBezTo>
                  <a:cubicBezTo>
                    <a:pt x="284" y="0"/>
                    <a:pt x="284" y="0"/>
                    <a:pt x="284" y="0"/>
                  </a:cubicBezTo>
                  <a:cubicBezTo>
                    <a:pt x="240" y="0"/>
                    <a:pt x="203" y="37"/>
                    <a:pt x="203" y="81"/>
                  </a:cubicBezTo>
                  <a:cubicBezTo>
                    <a:pt x="203" y="568"/>
                    <a:pt x="203" y="568"/>
                    <a:pt x="203" y="568"/>
                  </a:cubicBezTo>
                  <a:cubicBezTo>
                    <a:pt x="203" y="1054"/>
                    <a:pt x="203" y="1054"/>
                    <a:pt x="203" y="1054"/>
                  </a:cubicBezTo>
                  <a:cubicBezTo>
                    <a:pt x="203" y="1135"/>
                    <a:pt x="203" y="1135"/>
                    <a:pt x="203" y="1135"/>
                  </a:cubicBezTo>
                  <a:cubicBezTo>
                    <a:pt x="0" y="1379"/>
                    <a:pt x="0" y="1379"/>
                    <a:pt x="0" y="1379"/>
                  </a:cubicBezTo>
                  <a:cubicBezTo>
                    <a:pt x="0" y="1446"/>
                    <a:pt x="55" y="1501"/>
                    <a:pt x="122" y="1501"/>
                  </a:cubicBezTo>
                  <a:cubicBezTo>
                    <a:pt x="2068" y="1501"/>
                    <a:pt x="2068" y="1501"/>
                    <a:pt x="2068" y="1501"/>
                  </a:cubicBezTo>
                  <a:cubicBezTo>
                    <a:pt x="2135" y="1501"/>
                    <a:pt x="2190" y="1446"/>
                    <a:pt x="2190" y="1379"/>
                  </a:cubicBezTo>
                  <a:cubicBezTo>
                    <a:pt x="1987" y="1135"/>
                    <a:pt x="1987" y="1135"/>
                    <a:pt x="1987" y="1135"/>
                  </a:cubicBezTo>
                  <a:cubicBezTo>
                    <a:pt x="1987" y="1054"/>
                    <a:pt x="1987" y="1054"/>
                    <a:pt x="1987" y="1054"/>
                  </a:cubicBezTo>
                  <a:close/>
                  <a:moveTo>
                    <a:pt x="1257" y="1460"/>
                  </a:moveTo>
                  <a:cubicBezTo>
                    <a:pt x="933" y="1460"/>
                    <a:pt x="933" y="1460"/>
                    <a:pt x="933" y="1460"/>
                  </a:cubicBezTo>
                  <a:cubicBezTo>
                    <a:pt x="922" y="1460"/>
                    <a:pt x="913" y="1451"/>
                    <a:pt x="913" y="1440"/>
                  </a:cubicBezTo>
                  <a:cubicBezTo>
                    <a:pt x="913" y="1428"/>
                    <a:pt x="922" y="1419"/>
                    <a:pt x="933" y="1419"/>
                  </a:cubicBezTo>
                  <a:cubicBezTo>
                    <a:pt x="1257" y="1419"/>
                    <a:pt x="1257" y="1419"/>
                    <a:pt x="1257" y="1419"/>
                  </a:cubicBezTo>
                  <a:cubicBezTo>
                    <a:pt x="1268" y="1419"/>
                    <a:pt x="1278" y="1428"/>
                    <a:pt x="1278" y="1440"/>
                  </a:cubicBezTo>
                  <a:cubicBezTo>
                    <a:pt x="1277" y="1451"/>
                    <a:pt x="1269" y="1460"/>
                    <a:pt x="1257" y="1460"/>
                  </a:cubicBezTo>
                  <a:close/>
                  <a:moveTo>
                    <a:pt x="761" y="1379"/>
                  </a:moveTo>
                  <a:cubicBezTo>
                    <a:pt x="823" y="1305"/>
                    <a:pt x="823" y="1305"/>
                    <a:pt x="823" y="1305"/>
                  </a:cubicBezTo>
                  <a:cubicBezTo>
                    <a:pt x="1368" y="1305"/>
                    <a:pt x="1368" y="1305"/>
                    <a:pt x="1368" y="1305"/>
                  </a:cubicBezTo>
                  <a:cubicBezTo>
                    <a:pt x="1429" y="1379"/>
                    <a:pt x="1429" y="1379"/>
                    <a:pt x="1429" y="1379"/>
                  </a:cubicBezTo>
                  <a:lnTo>
                    <a:pt x="761" y="1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0" name="Rectangle 70">
              <a:extLst>
                <a:ext uri="{FF2B5EF4-FFF2-40B4-BE49-F238E27FC236}">
                  <a16:creationId xmlns:a16="http://schemas.microsoft.com/office/drawing/2014/main" id="{EE8CBF41-5F74-44CF-808C-90813EA743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8" y="2189"/>
              <a:ext cx="229" cy="2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1" name="Rectangle 71">
              <a:extLst>
                <a:ext uri="{FF2B5EF4-FFF2-40B4-BE49-F238E27FC236}">
                  <a16:creationId xmlns:a16="http://schemas.microsoft.com/office/drawing/2014/main" id="{8B92BACB-8451-434C-86D4-514DAC48D5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2" y="1874"/>
              <a:ext cx="229" cy="23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2" name="Rectangle 72">
              <a:extLst>
                <a:ext uri="{FF2B5EF4-FFF2-40B4-BE49-F238E27FC236}">
                  <a16:creationId xmlns:a16="http://schemas.microsoft.com/office/drawing/2014/main" id="{E4F09B9B-6B09-4EED-8D35-76B2AC81E9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98" y="2162"/>
              <a:ext cx="229" cy="23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8" name="Rectangle 73">
              <a:extLst>
                <a:ext uri="{FF2B5EF4-FFF2-40B4-BE49-F238E27FC236}">
                  <a16:creationId xmlns:a16="http://schemas.microsoft.com/office/drawing/2014/main" id="{BB0937B6-0D29-4240-8BA0-314E9D9165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0" y="1780"/>
              <a:ext cx="273" cy="27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1" name="Rectangle 74">
              <a:extLst>
                <a:ext uri="{FF2B5EF4-FFF2-40B4-BE49-F238E27FC236}">
                  <a16:creationId xmlns:a16="http://schemas.microsoft.com/office/drawing/2014/main" id="{29FCFFDF-996B-445C-9661-D36DCDD989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5" y="942"/>
              <a:ext cx="273" cy="27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2" name="Rectangle 75">
              <a:extLst>
                <a:ext uri="{FF2B5EF4-FFF2-40B4-BE49-F238E27FC236}">
                  <a16:creationId xmlns:a16="http://schemas.microsoft.com/office/drawing/2014/main" id="{EC58C2D9-FCE8-41D1-AAAD-1F0D90AD96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1" y="1437"/>
              <a:ext cx="273" cy="27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3" name="Rectangle 76">
              <a:extLst>
                <a:ext uri="{FF2B5EF4-FFF2-40B4-BE49-F238E27FC236}">
                  <a16:creationId xmlns:a16="http://schemas.microsoft.com/office/drawing/2014/main" id="{23A519BB-24C8-48BA-9F64-68AD8A4223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0" y="1320"/>
              <a:ext cx="389" cy="38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4" name="Rectangle 77">
              <a:extLst>
                <a:ext uri="{FF2B5EF4-FFF2-40B4-BE49-F238E27FC236}">
                  <a16:creationId xmlns:a16="http://schemas.microsoft.com/office/drawing/2014/main" id="{76B535A5-D656-45E1-8F9A-1E09FA910A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90" y="1789"/>
              <a:ext cx="471" cy="47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5" name="Rectangle 78">
              <a:extLst>
                <a:ext uri="{FF2B5EF4-FFF2-40B4-BE49-F238E27FC236}">
                  <a16:creationId xmlns:a16="http://schemas.microsoft.com/office/drawing/2014/main" id="{1F13437F-4C1D-4F3F-86B8-E1B32B3D9C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8" y="902"/>
              <a:ext cx="586" cy="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6" name="Rectangle 79">
              <a:extLst>
                <a:ext uri="{FF2B5EF4-FFF2-40B4-BE49-F238E27FC236}">
                  <a16:creationId xmlns:a16="http://schemas.microsoft.com/office/drawing/2014/main" id="{7DF52EF3-4A40-48FE-95A0-624D917491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9" y="2085"/>
              <a:ext cx="273" cy="27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pic>
        <p:nvPicPr>
          <p:cNvPr id="68" name="Picture 6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1695" y="1521074"/>
            <a:ext cx="711177" cy="752536"/>
          </a:xfrm>
          <a:prstGeom prst="rect">
            <a:avLst/>
          </a:prstGeom>
        </p:spPr>
      </p:pic>
      <p:pic>
        <p:nvPicPr>
          <p:cNvPr id="70" name="Picture 6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8494" y="3965370"/>
            <a:ext cx="618750" cy="708750"/>
          </a:xfrm>
          <a:prstGeom prst="rect">
            <a:avLst/>
          </a:prstGeom>
        </p:spPr>
      </p:pic>
      <p:grpSp>
        <p:nvGrpSpPr>
          <p:cNvPr id="72" name="Group 82"/>
          <p:cNvGrpSpPr>
            <a:grpSpLocks noChangeAspect="1"/>
          </p:cNvGrpSpPr>
          <p:nvPr/>
        </p:nvGrpSpPr>
        <p:grpSpPr bwMode="auto">
          <a:xfrm>
            <a:off x="8839012" y="1723408"/>
            <a:ext cx="582007" cy="726137"/>
            <a:chOff x="2568" y="574"/>
            <a:chExt cx="2544" cy="3174"/>
          </a:xfrm>
          <a:solidFill>
            <a:schemeClr val="bg1"/>
          </a:solidFill>
        </p:grpSpPr>
        <p:sp>
          <p:nvSpPr>
            <p:cNvPr id="73" name="Freeform 83"/>
            <p:cNvSpPr>
              <a:spLocks/>
            </p:cNvSpPr>
            <p:nvPr/>
          </p:nvSpPr>
          <p:spPr bwMode="auto">
            <a:xfrm>
              <a:off x="2568" y="1831"/>
              <a:ext cx="2544" cy="1531"/>
            </a:xfrm>
            <a:custGeom>
              <a:avLst/>
              <a:gdLst>
                <a:gd name="T0" fmla="*/ 706 w 1876"/>
                <a:gd name="T1" fmla="*/ 15 h 1126"/>
                <a:gd name="T2" fmla="*/ 668 w 1876"/>
                <a:gd name="T3" fmla="*/ 61 h 1126"/>
                <a:gd name="T4" fmla="*/ 553 w 1876"/>
                <a:gd name="T5" fmla="*/ 499 h 1126"/>
                <a:gd name="T6" fmla="*/ 438 w 1876"/>
                <a:gd name="T7" fmla="*/ 501 h 1126"/>
                <a:gd name="T8" fmla="*/ 49 w 1876"/>
                <a:gd name="T9" fmla="*/ 507 h 1126"/>
                <a:gd name="T10" fmla="*/ 45 w 1876"/>
                <a:gd name="T11" fmla="*/ 621 h 1126"/>
                <a:gd name="T12" fmla="*/ 470 w 1876"/>
                <a:gd name="T13" fmla="*/ 628 h 1126"/>
                <a:gd name="T14" fmla="*/ 633 w 1876"/>
                <a:gd name="T15" fmla="*/ 621 h 1126"/>
                <a:gd name="T16" fmla="*/ 694 w 1876"/>
                <a:gd name="T17" fmla="*/ 471 h 1126"/>
                <a:gd name="T18" fmla="*/ 727 w 1876"/>
                <a:gd name="T19" fmla="*/ 348 h 1126"/>
                <a:gd name="T20" fmla="*/ 743 w 1876"/>
                <a:gd name="T21" fmla="*/ 402 h 1126"/>
                <a:gd name="T22" fmla="*/ 908 w 1876"/>
                <a:gd name="T23" fmla="*/ 1087 h 1126"/>
                <a:gd name="T24" fmla="*/ 1007 w 1876"/>
                <a:gd name="T25" fmla="*/ 1097 h 1126"/>
                <a:gd name="T26" fmla="*/ 1119 w 1876"/>
                <a:gd name="T27" fmla="*/ 786 h 1126"/>
                <a:gd name="T28" fmla="*/ 1220 w 1876"/>
                <a:gd name="T29" fmla="*/ 488 h 1126"/>
                <a:gd name="T30" fmla="*/ 1239 w 1876"/>
                <a:gd name="T31" fmla="*/ 542 h 1126"/>
                <a:gd name="T32" fmla="*/ 1270 w 1876"/>
                <a:gd name="T33" fmla="*/ 609 h 1126"/>
                <a:gd name="T34" fmla="*/ 1297 w 1876"/>
                <a:gd name="T35" fmla="*/ 626 h 1126"/>
                <a:gd name="T36" fmla="*/ 1457 w 1876"/>
                <a:gd name="T37" fmla="*/ 629 h 1126"/>
                <a:gd name="T38" fmla="*/ 1832 w 1876"/>
                <a:gd name="T39" fmla="*/ 621 h 1126"/>
                <a:gd name="T40" fmla="*/ 1850 w 1876"/>
                <a:gd name="T41" fmla="*/ 523 h 1126"/>
                <a:gd name="T42" fmla="*/ 1484 w 1876"/>
                <a:gd name="T43" fmla="*/ 501 h 1126"/>
                <a:gd name="T44" fmla="*/ 1361 w 1876"/>
                <a:gd name="T45" fmla="*/ 500 h 1126"/>
                <a:gd name="T46" fmla="*/ 1323 w 1876"/>
                <a:gd name="T47" fmla="*/ 384 h 1126"/>
                <a:gd name="T48" fmla="*/ 1281 w 1876"/>
                <a:gd name="T49" fmla="*/ 257 h 1126"/>
                <a:gd name="T50" fmla="*/ 1221 w 1876"/>
                <a:gd name="T51" fmla="*/ 215 h 1126"/>
                <a:gd name="T52" fmla="*/ 1169 w 1876"/>
                <a:gd name="T53" fmla="*/ 241 h 1126"/>
                <a:gd name="T54" fmla="*/ 1068 w 1876"/>
                <a:gd name="T55" fmla="*/ 533 h 1126"/>
                <a:gd name="T56" fmla="*/ 971 w 1876"/>
                <a:gd name="T57" fmla="*/ 808 h 1126"/>
                <a:gd name="T58" fmla="*/ 882 w 1876"/>
                <a:gd name="T59" fmla="*/ 430 h 1126"/>
                <a:gd name="T60" fmla="*/ 789 w 1876"/>
                <a:gd name="T61" fmla="*/ 47 h 1126"/>
                <a:gd name="T62" fmla="*/ 706 w 1876"/>
                <a:gd name="T63" fmla="*/ 15 h 1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76" h="1126">
                  <a:moveTo>
                    <a:pt x="706" y="15"/>
                  </a:moveTo>
                  <a:cubicBezTo>
                    <a:pt x="689" y="23"/>
                    <a:pt x="674" y="40"/>
                    <a:pt x="668" y="61"/>
                  </a:cubicBezTo>
                  <a:cubicBezTo>
                    <a:pt x="661" y="86"/>
                    <a:pt x="553" y="497"/>
                    <a:pt x="553" y="499"/>
                  </a:cubicBezTo>
                  <a:cubicBezTo>
                    <a:pt x="553" y="500"/>
                    <a:pt x="502" y="501"/>
                    <a:pt x="438" y="501"/>
                  </a:cubicBezTo>
                  <a:cubicBezTo>
                    <a:pt x="333" y="501"/>
                    <a:pt x="61" y="502"/>
                    <a:pt x="49" y="507"/>
                  </a:cubicBezTo>
                  <a:cubicBezTo>
                    <a:pt x="2" y="529"/>
                    <a:pt x="0" y="597"/>
                    <a:pt x="45" y="621"/>
                  </a:cubicBezTo>
                  <a:cubicBezTo>
                    <a:pt x="59" y="628"/>
                    <a:pt x="320" y="628"/>
                    <a:pt x="470" y="628"/>
                  </a:cubicBezTo>
                  <a:cubicBezTo>
                    <a:pt x="619" y="628"/>
                    <a:pt x="619" y="628"/>
                    <a:pt x="633" y="621"/>
                  </a:cubicBezTo>
                  <a:cubicBezTo>
                    <a:pt x="656" y="609"/>
                    <a:pt x="660" y="600"/>
                    <a:pt x="694" y="471"/>
                  </a:cubicBezTo>
                  <a:cubicBezTo>
                    <a:pt x="711" y="405"/>
                    <a:pt x="726" y="349"/>
                    <a:pt x="727" y="348"/>
                  </a:cubicBezTo>
                  <a:cubicBezTo>
                    <a:pt x="728" y="345"/>
                    <a:pt x="735" y="370"/>
                    <a:pt x="743" y="402"/>
                  </a:cubicBezTo>
                  <a:cubicBezTo>
                    <a:pt x="867" y="929"/>
                    <a:pt x="902" y="1077"/>
                    <a:pt x="908" y="1087"/>
                  </a:cubicBezTo>
                  <a:cubicBezTo>
                    <a:pt x="929" y="1120"/>
                    <a:pt x="979" y="1126"/>
                    <a:pt x="1007" y="1097"/>
                  </a:cubicBezTo>
                  <a:cubicBezTo>
                    <a:pt x="1019" y="1085"/>
                    <a:pt x="1023" y="1074"/>
                    <a:pt x="1119" y="786"/>
                  </a:cubicBezTo>
                  <a:cubicBezTo>
                    <a:pt x="1174" y="623"/>
                    <a:pt x="1219" y="488"/>
                    <a:pt x="1220" y="488"/>
                  </a:cubicBezTo>
                  <a:cubicBezTo>
                    <a:pt x="1221" y="488"/>
                    <a:pt x="1230" y="512"/>
                    <a:pt x="1239" y="542"/>
                  </a:cubicBezTo>
                  <a:cubicBezTo>
                    <a:pt x="1255" y="591"/>
                    <a:pt x="1258" y="597"/>
                    <a:pt x="1270" y="609"/>
                  </a:cubicBezTo>
                  <a:cubicBezTo>
                    <a:pt x="1278" y="618"/>
                    <a:pt x="1288" y="624"/>
                    <a:pt x="1297" y="626"/>
                  </a:cubicBezTo>
                  <a:cubicBezTo>
                    <a:pt x="1306" y="629"/>
                    <a:pt x="1355" y="630"/>
                    <a:pt x="1457" y="629"/>
                  </a:cubicBezTo>
                  <a:cubicBezTo>
                    <a:pt x="1603" y="628"/>
                    <a:pt x="1819" y="628"/>
                    <a:pt x="1832" y="621"/>
                  </a:cubicBezTo>
                  <a:cubicBezTo>
                    <a:pt x="1867" y="603"/>
                    <a:pt x="1876" y="554"/>
                    <a:pt x="1850" y="523"/>
                  </a:cubicBezTo>
                  <a:cubicBezTo>
                    <a:pt x="1833" y="503"/>
                    <a:pt x="1620" y="503"/>
                    <a:pt x="1484" y="501"/>
                  </a:cubicBezTo>
                  <a:cubicBezTo>
                    <a:pt x="1361" y="500"/>
                    <a:pt x="1361" y="500"/>
                    <a:pt x="1361" y="500"/>
                  </a:cubicBezTo>
                  <a:cubicBezTo>
                    <a:pt x="1323" y="384"/>
                    <a:pt x="1323" y="384"/>
                    <a:pt x="1323" y="384"/>
                  </a:cubicBezTo>
                  <a:cubicBezTo>
                    <a:pt x="1302" y="320"/>
                    <a:pt x="1283" y="263"/>
                    <a:pt x="1281" y="257"/>
                  </a:cubicBezTo>
                  <a:cubicBezTo>
                    <a:pt x="1272" y="233"/>
                    <a:pt x="1247" y="215"/>
                    <a:pt x="1221" y="215"/>
                  </a:cubicBezTo>
                  <a:cubicBezTo>
                    <a:pt x="1205" y="215"/>
                    <a:pt x="1179" y="228"/>
                    <a:pt x="1169" y="241"/>
                  </a:cubicBezTo>
                  <a:cubicBezTo>
                    <a:pt x="1166" y="246"/>
                    <a:pt x="1120" y="378"/>
                    <a:pt x="1068" y="533"/>
                  </a:cubicBezTo>
                  <a:cubicBezTo>
                    <a:pt x="1003" y="727"/>
                    <a:pt x="973" y="813"/>
                    <a:pt x="971" y="808"/>
                  </a:cubicBezTo>
                  <a:cubicBezTo>
                    <a:pt x="970" y="805"/>
                    <a:pt x="930" y="635"/>
                    <a:pt x="882" y="430"/>
                  </a:cubicBezTo>
                  <a:cubicBezTo>
                    <a:pt x="834" y="226"/>
                    <a:pt x="792" y="53"/>
                    <a:pt x="789" y="47"/>
                  </a:cubicBezTo>
                  <a:cubicBezTo>
                    <a:pt x="776" y="15"/>
                    <a:pt x="738" y="0"/>
                    <a:pt x="70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4" name="Freeform 84"/>
            <p:cNvSpPr>
              <a:spLocks/>
            </p:cNvSpPr>
            <p:nvPr/>
          </p:nvSpPr>
          <p:spPr bwMode="auto">
            <a:xfrm>
              <a:off x="2850" y="574"/>
              <a:ext cx="2099" cy="1884"/>
            </a:xfrm>
            <a:custGeom>
              <a:avLst/>
              <a:gdLst>
                <a:gd name="T0" fmla="*/ 147 w 1548"/>
                <a:gd name="T1" fmla="*/ 1385 h 1385"/>
                <a:gd name="T2" fmla="*/ 165 w 1548"/>
                <a:gd name="T3" fmla="*/ 1320 h 1385"/>
                <a:gd name="T4" fmla="*/ 774 w 1548"/>
                <a:gd name="T5" fmla="*/ 234 h 1385"/>
                <a:gd name="T6" fmla="*/ 1387 w 1548"/>
                <a:gd name="T7" fmla="*/ 1327 h 1385"/>
                <a:gd name="T8" fmla="*/ 1402 w 1548"/>
                <a:gd name="T9" fmla="*/ 1385 h 1385"/>
                <a:gd name="T10" fmla="*/ 1548 w 1548"/>
                <a:gd name="T11" fmla="*/ 1385 h 1385"/>
                <a:gd name="T12" fmla="*/ 1521 w 1548"/>
                <a:gd name="T13" fmla="*/ 1280 h 1385"/>
                <a:gd name="T14" fmla="*/ 829 w 1548"/>
                <a:gd name="T15" fmla="*/ 70 h 1385"/>
                <a:gd name="T16" fmla="*/ 774 w 1548"/>
                <a:gd name="T17" fmla="*/ 0 h 1385"/>
                <a:gd name="T18" fmla="*/ 715 w 1548"/>
                <a:gd name="T19" fmla="*/ 73 h 1385"/>
                <a:gd name="T20" fmla="*/ 26 w 1548"/>
                <a:gd name="T21" fmla="*/ 1280 h 1385"/>
                <a:gd name="T22" fmla="*/ 0 w 1548"/>
                <a:gd name="T23" fmla="*/ 1385 h 1385"/>
                <a:gd name="T24" fmla="*/ 147 w 1548"/>
                <a:gd name="T25" fmla="*/ 1385 h 1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8" h="1385">
                  <a:moveTo>
                    <a:pt x="147" y="1385"/>
                  </a:moveTo>
                  <a:cubicBezTo>
                    <a:pt x="152" y="1364"/>
                    <a:pt x="158" y="1342"/>
                    <a:pt x="165" y="1320"/>
                  </a:cubicBezTo>
                  <a:cubicBezTo>
                    <a:pt x="278" y="923"/>
                    <a:pt x="635" y="420"/>
                    <a:pt x="774" y="234"/>
                  </a:cubicBezTo>
                  <a:cubicBezTo>
                    <a:pt x="913" y="420"/>
                    <a:pt x="1270" y="923"/>
                    <a:pt x="1387" y="1327"/>
                  </a:cubicBezTo>
                  <a:cubicBezTo>
                    <a:pt x="1392" y="1346"/>
                    <a:pt x="1397" y="1365"/>
                    <a:pt x="1402" y="1385"/>
                  </a:cubicBezTo>
                  <a:cubicBezTo>
                    <a:pt x="1548" y="1385"/>
                    <a:pt x="1548" y="1385"/>
                    <a:pt x="1548" y="1385"/>
                  </a:cubicBezTo>
                  <a:cubicBezTo>
                    <a:pt x="1541" y="1349"/>
                    <a:pt x="1532" y="1313"/>
                    <a:pt x="1521" y="1280"/>
                  </a:cubicBezTo>
                  <a:cubicBezTo>
                    <a:pt x="1372" y="759"/>
                    <a:pt x="851" y="99"/>
                    <a:pt x="829" y="70"/>
                  </a:cubicBezTo>
                  <a:cubicBezTo>
                    <a:pt x="774" y="0"/>
                    <a:pt x="774" y="0"/>
                    <a:pt x="774" y="0"/>
                  </a:cubicBezTo>
                  <a:cubicBezTo>
                    <a:pt x="715" y="73"/>
                    <a:pt x="715" y="73"/>
                    <a:pt x="715" y="73"/>
                  </a:cubicBezTo>
                  <a:cubicBezTo>
                    <a:pt x="694" y="99"/>
                    <a:pt x="172" y="759"/>
                    <a:pt x="26" y="1280"/>
                  </a:cubicBezTo>
                  <a:cubicBezTo>
                    <a:pt x="16" y="1313"/>
                    <a:pt x="7" y="1349"/>
                    <a:pt x="0" y="1385"/>
                  </a:cubicBezTo>
                  <a:lnTo>
                    <a:pt x="147" y="13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5" name="Freeform 85"/>
            <p:cNvSpPr>
              <a:spLocks/>
            </p:cNvSpPr>
            <p:nvPr/>
          </p:nvSpPr>
          <p:spPr bwMode="auto">
            <a:xfrm>
              <a:off x="2837" y="2757"/>
              <a:ext cx="2126" cy="991"/>
            </a:xfrm>
            <a:custGeom>
              <a:avLst/>
              <a:gdLst>
                <a:gd name="T0" fmla="*/ 1425 w 1568"/>
                <a:gd name="T1" fmla="*/ 0 h 729"/>
                <a:gd name="T2" fmla="*/ 784 w 1568"/>
                <a:gd name="T3" fmla="*/ 587 h 729"/>
                <a:gd name="T4" fmla="*/ 143 w 1568"/>
                <a:gd name="T5" fmla="*/ 0 h 729"/>
                <a:gd name="T6" fmla="*/ 0 w 1568"/>
                <a:gd name="T7" fmla="*/ 0 h 729"/>
                <a:gd name="T8" fmla="*/ 784 w 1568"/>
                <a:gd name="T9" fmla="*/ 729 h 729"/>
                <a:gd name="T10" fmla="*/ 1568 w 1568"/>
                <a:gd name="T11" fmla="*/ 0 h 729"/>
                <a:gd name="T12" fmla="*/ 1425 w 1568"/>
                <a:gd name="T13" fmla="*/ 0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8" h="729">
                  <a:moveTo>
                    <a:pt x="1425" y="0"/>
                  </a:moveTo>
                  <a:cubicBezTo>
                    <a:pt x="1390" y="330"/>
                    <a:pt x="1117" y="587"/>
                    <a:pt x="784" y="587"/>
                  </a:cubicBezTo>
                  <a:cubicBezTo>
                    <a:pt x="451" y="587"/>
                    <a:pt x="178" y="330"/>
                    <a:pt x="14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6" y="407"/>
                    <a:pt x="375" y="729"/>
                    <a:pt x="784" y="729"/>
                  </a:cubicBezTo>
                  <a:cubicBezTo>
                    <a:pt x="1194" y="729"/>
                    <a:pt x="1532" y="407"/>
                    <a:pt x="1568" y="0"/>
                  </a:cubicBezTo>
                  <a:lnTo>
                    <a:pt x="14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406920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0" presetClass="path" presetSubtype="0" accel="50000" decel="5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4.16667E-6 4.07407E-6 C 0.08894 0.01064 0.23204 0.24722 0.24727 0.70787 " pathEditMode="relative" rAng="0" ptsTypes="AA">
                                      <p:cBhvr>
                                        <p:cTn id="11" dur="20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357" y="35394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0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08333E-6 -1.85185E-6 C 0.08945 0.01134 0.23372 0.27292 0.24909 0.78195 " pathEditMode="relative" rAng="0" ptsTypes="AA">
                                      <p:cBhvr>
                                        <p:cTn id="18" dur="2000" spd="-100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448" y="39097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0" presetClass="path" presetSubtype="0" accel="50000" decel="50000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-2.70833E-6 2.59259E-6 C -0.08633 0.00972 -0.22448 0.24653 -0.23828 0.70764 " pathEditMode="relative" rAng="0" ptsTypes="AA">
                                      <p:cBhvr>
                                        <p:cTn id="25" dur="20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914" y="35370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0" presetClass="path" presetSubtype="0" accel="50000" decel="5000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1.875E-6 3.33333E-6 C -0.08737 0.01064 -0.22735 0.27291 -0.24141 0.7824 " pathEditMode="relative" rAng="0" ptsTypes="AA">
                                      <p:cBhvr>
                                        <p:cTn id="32" dur="20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070" y="39120"/>
                                    </p:animMotion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0" presetClass="path" presetSubtype="0" accel="50000" decel="50000" fill="hold" grpId="1" nodeType="withEffect">
                                  <p:stCondLst>
                                    <p:cond delay="3500"/>
                                  </p:stCondLst>
                                  <p:childTnLst>
                                    <p:animMotion origin="layout" path="M 6.25E-7 -3.7037E-6 C 0.0013 0.01042 0.00352 0.26227 0.00378 0.75255 " pathEditMode="relative" rAng="0" ptsTypes="AA">
                                      <p:cBhvr>
                                        <p:cTn id="39" dur="200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2" y="3761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0" presetClass="path" presetSubtype="0" accel="50000" decel="5000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animMotion origin="layout" path="M -1.45833E-6 -3.7037E-7 C 0.0013 0.01111 0.00352 0.28796 0.00378 0.82546 " pathEditMode="relative" rAng="0" ptsTypes="AA">
                                      <p:cBhvr>
                                        <p:cTn id="46" dur="2000" spd="-100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2" y="41273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53" presetClass="entr" presetSubtype="16" fill="hold" grpId="0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50" presetClass="path" presetSubtype="0" accel="50000" decel="50000" fill="hold" grpId="1" nodeType="withEffect">
                                  <p:stCondLst>
                                    <p:cond delay="5000"/>
                                  </p:stCondLst>
                                  <p:childTnLst>
                                    <p:animMotion origin="layout" path="M 4.16667E-6 -4.07407E-6 C 0.13281 0.0044 0.34635 0.10278 0.36914 0.29306 " pathEditMode="relative" rAng="0" ptsTypes="AA">
                                      <p:cBhvr>
                                        <p:cTn id="53" dur="2000" spd="-100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451" y="14653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53" presetClass="entr" presetSubtype="16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50" presetClass="path" presetSubtype="0" accel="50000" decel="50000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animMotion origin="layout" path="M 3.33333E-6 1.11022E-16 C 0.13255 0.00532 0.34583 0.1294 0.36862 0.37014 " pathEditMode="relative" rAng="0" ptsTypes="AA">
                                      <p:cBhvr>
                                        <p:cTn id="60" dur="20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424" y="18495"/>
                                    </p:animMotion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0" nodeType="withEffect">
                                  <p:stCondLst>
                                    <p:cond delay="6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50" presetClass="path" presetSubtype="0" accel="50000" decel="50000" fill="hold" grpId="1" nodeType="withEffect">
                                  <p:stCondLst>
                                    <p:cond delay="6500"/>
                                  </p:stCondLst>
                                  <p:childTnLst>
                                    <p:animMotion origin="layout" path="M -2.70833E-6 -4.07407E-6 C -0.13008 0.0044 -0.33802 0.10278 -0.35924 0.29468 " pathEditMode="relative" rAng="0" ptsTypes="AA">
                                      <p:cBhvr>
                                        <p:cTn id="67" dur="2000" spd="-100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969" y="14722"/>
                                    </p:animMotion>
                                  </p:childTnLst>
                                </p:cTn>
                              </p:par>
                              <p:par>
                                <p:cTn id="68" presetID="53" presetClass="entr" presetSubtype="16" fill="hold" nodeType="withEffect">
                                  <p:stCondLst>
                                    <p:cond delay="65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50" presetClass="path" presetSubtype="0" accel="50000" decel="50000" fill="hold" nodeType="withEffect">
                                  <p:stCondLst>
                                    <p:cond delay="6500"/>
                                  </p:stCondLst>
                                  <p:childTnLst>
                                    <p:animMotion origin="layout" path="M -2.91667E-6 2.96296E-6 C -0.12942 0.00532 -0.33619 0.13078 -0.35716 0.37546 " pathEditMode="relative" rAng="0" ptsTypes="AA">
                                      <p:cBhvr>
                                        <p:cTn id="74" dur="20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865" y="18773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53" presetClass="entr" presetSubtype="16" fill="hold" grpId="0" nodeType="withEffect">
                                  <p:stCondLst>
                                    <p:cond delay="80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50" presetClass="path" presetSubtype="0" accel="50000" decel="50000" fill="hold" grpId="1" nodeType="withEffect">
                                  <p:stCondLst>
                                    <p:cond delay="8000"/>
                                  </p:stCondLst>
                                  <p:childTnLst>
                                    <p:animMotion origin="layout" path="M -4.375E-6 4.44444E-6 C 0.06368 0.00601 0.16628 0.1375 0.17722 0.39282 " pathEditMode="relative" rAng="0" ptsTypes="AA">
                                      <p:cBhvr>
                                        <p:cTn id="81" dur="2000" spd="-100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4" y="19630"/>
                                    </p:animMotion>
                                  </p:childTnLst>
                                </p:cTn>
                              </p:par>
                              <p:par>
                                <p:cTn id="82" presetID="53" presetClass="entr" presetSubtype="16" fill="hold" nodeType="withEffect">
                                  <p:stCondLst>
                                    <p:cond delay="80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50" presetClass="path" presetSubtype="0" accel="50000" decel="50000" fill="hold" nodeType="withEffect">
                                  <p:stCondLst>
                                    <p:cond delay="8000"/>
                                  </p:stCondLst>
                                  <p:childTnLst>
                                    <p:animMotion origin="layout" path="M -2.5E-6 -1.11111E-6 C 0.06146 0.00671 0.1612 0.1625 0.17214 0.46528 " pathEditMode="relative" rAng="0" ptsTypes="AA">
                                      <p:cBhvr>
                                        <p:cTn id="88" dur="20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607" y="23264"/>
                                    </p:animMotion>
                                  </p:childTnLst>
                                </p:cTn>
                              </p:par>
                              <p:par>
                                <p:cTn id="89" presetID="53" presetClass="entr" presetSubtype="16" fill="hold" grpId="0" nodeType="withEffect">
                                  <p:stCondLst>
                                    <p:cond delay="95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50" presetClass="path" presetSubtype="0" accel="50000" decel="50000" fill="hold" grpId="1" nodeType="withEffect">
                                  <p:stCondLst>
                                    <p:cond delay="9500"/>
                                  </p:stCondLst>
                                  <p:childTnLst>
                                    <p:animMotion origin="layout" path="M -1.25E-6 4.44444E-6 C -0.0595 0.00578 -0.15482 0.13726 -0.16432 0.39328 " pathEditMode="relative" rAng="0" ptsTypes="AA">
                                      <p:cBhvr>
                                        <p:cTn id="95" dur="2000" spd="-100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216" y="19653"/>
                                    </p:animMotion>
                                  </p:childTnLst>
                                </p:cTn>
                              </p:par>
                              <p:par>
                                <p:cTn id="96" presetID="53" presetClass="entr" presetSubtype="16" fill="hold" nodeType="withEffect">
                                  <p:stCondLst>
                                    <p:cond delay="950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0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50" presetClass="path" presetSubtype="0" accel="50000" decel="50000" fill="hold" nodeType="withEffect">
                                  <p:stCondLst>
                                    <p:cond delay="9500"/>
                                  </p:stCondLst>
                                  <p:childTnLst>
                                    <p:animMotion origin="layout" path="M -1.25E-6 -2.96296E-6 C -0.05898 0.00648 -0.15299 0.16019 -0.16237 0.45996 " pathEditMode="relative" rAng="0" ptsTypes="AA">
                                      <p:cBhvr>
                                        <p:cTn id="102" dur="2000" spd="-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125" y="22986"/>
                                    </p:animMotion>
                                  </p:childTnLst>
                                </p:cTn>
                              </p:par>
                              <p:par>
                                <p:cTn id="103" presetID="22" presetClass="entr" presetSubtype="2" fill="hold" grpId="0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5" dur="2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22" presetClass="entr" presetSubtype="4" fill="hold" grpId="0" nodeType="withEffect">
                                  <p:stCondLst>
                                    <p:cond delay="800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8" dur="3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22" presetClass="entr" presetSubtype="4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1" dur="2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22" presetClass="entr" presetSubtype="4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4" dur="2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22" presetClass="entr" presetSubtype="4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7" dur="2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22" presetClass="entr" presetSubtype="4" fill="hold" grpId="0" nodeType="withEffect">
                                  <p:stCondLst>
                                    <p:cond delay="950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0" dur="32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22" presetClass="entr" presetSubtype="8" fill="hold" grpId="0" nodeType="withEffect">
                                  <p:stCondLst>
                                    <p:cond delay="650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3" dur="2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  <p:bldP spid="40" grpId="0" animBg="1"/>
      <p:bldP spid="38" grpId="0" animBg="1"/>
      <p:bldP spid="4" grpId="0" animBg="1"/>
      <p:bldP spid="36" grpId="0" animBg="1"/>
      <p:bldP spid="35" grpId="0" animBg="1"/>
      <p:bldP spid="3" grpId="0" animBg="1"/>
      <p:bldP spid="47" grpId="0" animBg="1"/>
      <p:bldP spid="47" grpId="1" animBg="1"/>
      <p:bldP spid="48" grpId="0" animBg="1"/>
      <p:bldP spid="48" grpId="1" animBg="1"/>
      <p:bldP spid="53" grpId="0" animBg="1"/>
      <p:bldP spid="53" grpId="1" animBg="1"/>
      <p:bldP spid="54" grpId="0" animBg="1"/>
      <p:bldP spid="54" grpId="1" animBg="1"/>
      <p:bldP spid="55" grpId="0" animBg="1"/>
      <p:bldP spid="55" grpId="1" animBg="1"/>
      <p:bldP spid="56" grpId="0" animBg="1"/>
      <p:bldP spid="56" grpId="1" animBg="1"/>
      <p:bldP spid="18" grpId="0" animBg="1"/>
      <p:bldP spid="18" grpId="1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9DD87A6B-B47B-48AD-B75A-BCDA2F9E6C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Slide" r:id="rId24" imgW="395" imgH="394" progId="TCLayout.ActiveDocument.1">
                  <p:embed/>
                </p:oleObj>
              </mc:Choice>
              <mc:Fallback>
                <p:oleObj name="think-cell Slide" r:id="rId24" imgW="395" imgH="39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9DD87A6B-B47B-48AD-B75A-BCDA2F9E6C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E37D5DAD-16C3-4EDE-940C-8BE6518722F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graphicFrame>
        <p:nvGraphicFramePr>
          <p:cNvPr id="53" name="Chart 52">
            <a:extLst>
              <a:ext uri="{FF2B5EF4-FFF2-40B4-BE49-F238E27FC236}">
                <a16:creationId xmlns:a16="http://schemas.microsoft.com/office/drawing/2014/main" id="{965EE909-BC2F-417B-AC22-E6E968913467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7461250" y="2859088"/>
          <a:ext cx="3975100" cy="3355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C7A142B7-2417-4948-A87D-14961FD377F4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494713" y="2513013"/>
            <a:ext cx="1905000" cy="0"/>
          </a:xfrm>
          <a:prstGeom prst="line">
            <a:avLst/>
          </a:prstGeom>
          <a:ln w="12700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4AD24387-C128-4850-8CAE-C40E628908F8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8494713" y="2513013"/>
            <a:ext cx="0" cy="365125"/>
          </a:xfrm>
          <a:prstGeom prst="line">
            <a:avLst/>
          </a:prstGeom>
          <a:ln w="12700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C1962650-E691-4664-A1D3-D14682A98204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10399713" y="2513013"/>
            <a:ext cx="0" cy="152400"/>
          </a:xfrm>
          <a:prstGeom prst="line">
            <a:avLst/>
          </a:prstGeom>
          <a:ln w="12700">
            <a:solidFill>
              <a:schemeClr val="accent6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0008ED8D-CC74-4269-AA47-664E99B9460C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6717416" y="5030788"/>
            <a:ext cx="1105784" cy="41124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IE" altLang="en-US" sz="1400" b="1" dirty="0">
                <a:solidFill>
                  <a:schemeClr val="accent5"/>
                </a:solidFill>
              </a:rPr>
              <a:t>Materials</a:t>
            </a:r>
            <a:br>
              <a:rPr lang="en-IE" altLang="en-US" sz="1400" b="1" dirty="0">
                <a:solidFill>
                  <a:schemeClr val="accent5"/>
                </a:solidFill>
              </a:rPr>
            </a:br>
            <a:r>
              <a:rPr lang="en-IE" altLang="en-US" sz="1400" b="1" dirty="0">
                <a:solidFill>
                  <a:schemeClr val="accent5"/>
                </a:solidFill>
              </a:rPr>
              <a:t>&amp; Services</a:t>
            </a:r>
            <a:endParaRPr lang="en-IE" sz="1400" b="1" dirty="0">
              <a:solidFill>
                <a:schemeClr val="accent5"/>
              </a:solidFill>
              <a:sym typeface="+mn-lt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DB894FE-B4D4-4EB4-AC87-916A5820E08B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307388" y="6191250"/>
            <a:ext cx="3746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533EFB2-4A46-4C91-B774-F8E3EA691E52}" type="datetime'''2''''''''''0''''''''1''''''''6'''''''''''''''''''">
              <a:rPr lang="en-IE" altLang="en-US" sz="1400" b="1" smtClean="0">
                <a:solidFill>
                  <a:schemeClr val="accent5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en-IE" sz="1400" b="1" dirty="0">
              <a:solidFill>
                <a:schemeClr val="accent5"/>
              </a:solidFill>
              <a:sym typeface="+mn-lt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97C15BB-82D6-4092-A85A-1F16345DB28B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10212388" y="6191250"/>
            <a:ext cx="3746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E1D287B-1019-4ED3-850A-29D83FD22254}" type="datetime'''''''''''2''0''''''''''''1''''7'''''''''''''">
              <a:rPr lang="en-IE" altLang="en-US" sz="1400" b="1" smtClean="0">
                <a:solidFill>
                  <a:schemeClr val="accent5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en-IE" sz="1400" b="1" dirty="0">
              <a:solidFill>
                <a:schemeClr val="accent5"/>
              </a:solidFill>
              <a:sym typeface="+mn-lt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4C08081-26C3-43AA-9707-1516612EB84C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7318375" y="3541713"/>
            <a:ext cx="5048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IE" altLang="en-US" sz="1400" b="1" dirty="0">
                <a:solidFill>
                  <a:schemeClr val="accent5"/>
                </a:solidFill>
              </a:rPr>
              <a:t>Payroll</a:t>
            </a:r>
            <a:endParaRPr lang="en-IE" sz="1400" b="1" dirty="0">
              <a:solidFill>
                <a:schemeClr val="accent5"/>
              </a:solidFill>
              <a:sym typeface="+mn-l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B4D485F-9F97-416F-89EF-EA646AA193EA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8310563" y="2916238"/>
            <a:ext cx="3698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E1A9E7C-E049-41F9-9BC8-6D9204ABC1CB}" type="datetime'''''''''''2''''''''''''''''''''''''''''5''''''.0'''''">
              <a:rPr lang="en-IE" altLang="en-US" sz="1400" b="1" smtClean="0">
                <a:solidFill>
                  <a:schemeClr val="accent6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5.0</a:t>
            </a:fld>
            <a:endParaRPr lang="en-IE" sz="1400" b="1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D03BAA2-DC76-4795-ACAD-C803E6045576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10215563" y="2703513"/>
            <a:ext cx="3698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6379314-D1E8-4811-9B2D-871DBB07A389}" type="datetime'''''2''''''''''''''6.''''''''''''''8'''''">
              <a:rPr lang="en-IE" altLang="en-US" sz="1400" b="1" smtClean="0">
                <a:solidFill>
                  <a:schemeClr val="accent6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6.8</a:t>
            </a:fld>
            <a:endParaRPr lang="en-IE" sz="1400" b="1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EB49F2D6-F171-45B4-8AF7-8309EF673A45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9228138" y="2376488"/>
            <a:ext cx="438150" cy="273050"/>
          </a:xfrm>
          <a:prstGeom prst="ellips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49C2A97-7B35-42D0-862A-0ECCA73E6667}" type="datetime'''''''''''''+''7''''''''''''''''%'''''''''''''''''''">
              <a:rPr lang="en-IE" altLang="en-US" sz="1400" b="1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+7%</a:t>
            </a:fld>
            <a:endParaRPr lang="en-IE" sz="14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73" name="Oval 74">
            <a:extLst>
              <a:ext uri="{FF2B5EF4-FFF2-40B4-BE49-F238E27FC236}">
                <a16:creationId xmlns:a16="http://schemas.microsoft.com/office/drawing/2014/main" id="{BE887E5F-6689-4330-87B9-074795E059B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155310" y="3505776"/>
            <a:ext cx="532761" cy="407988"/>
          </a:xfrm>
          <a:prstGeom prst="ellipse">
            <a:avLst/>
          </a:prstGeom>
          <a:noFill/>
          <a:ln w="9525" algn="ctr">
            <a:noFill/>
            <a:round/>
            <a:headEnd type="none" w="lg" len="lg"/>
            <a:tailEnd type="none" w="lg" len="lg"/>
          </a:ln>
        </p:spPr>
        <p:txBody>
          <a:bodyPr wrap="none" lIns="0" tIns="0" rIns="0" bIns="0" anchor="ctr"/>
          <a:lstStyle/>
          <a:p>
            <a:pPr algn="ctr"/>
            <a:r>
              <a:rPr lang="en-US" sz="1300" b="1" dirty="0">
                <a:solidFill>
                  <a:schemeClr val="accent1"/>
                </a:solidFill>
              </a:rPr>
              <a:t>(32%)</a:t>
            </a:r>
          </a:p>
        </p:txBody>
      </p:sp>
      <p:sp>
        <p:nvSpPr>
          <p:cNvPr id="74" name="Oval 74">
            <a:extLst>
              <a:ext uri="{FF2B5EF4-FFF2-40B4-BE49-F238E27FC236}">
                <a16:creationId xmlns:a16="http://schemas.microsoft.com/office/drawing/2014/main" id="{0A831E24-99AE-4712-8866-1CE330717E5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155310" y="5129591"/>
            <a:ext cx="532761" cy="407988"/>
          </a:xfrm>
          <a:prstGeom prst="ellipse">
            <a:avLst/>
          </a:prstGeom>
          <a:solidFill>
            <a:schemeClr val="accent6"/>
          </a:solidFill>
          <a:ln w="9525" algn="ctr">
            <a:noFill/>
            <a:round/>
            <a:headEnd type="none" w="lg" len="lg"/>
            <a:tailEnd type="none" w="lg" len="lg"/>
          </a:ln>
        </p:spPr>
        <p:txBody>
          <a:bodyPr wrap="none" lIns="0" tIns="0" rIns="0" bIns="0" anchor="ctr"/>
          <a:lstStyle/>
          <a:p>
            <a:pPr algn="ctr"/>
            <a:r>
              <a:rPr lang="en-US" sz="1300" b="1" dirty="0">
                <a:solidFill>
                  <a:schemeClr val="bg1"/>
                </a:solidFill>
              </a:rPr>
              <a:t>(68%)</a:t>
            </a:r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8A180EEB-DF72-4C97-9EA5-2506431B95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277" y="129203"/>
            <a:ext cx="11307018" cy="714375"/>
          </a:xfrm>
        </p:spPr>
        <p:txBody>
          <a:bodyPr>
            <a:noAutofit/>
          </a:bodyPr>
          <a:lstStyle/>
          <a:p>
            <a:r>
              <a:rPr lang="en-US" sz="3600" dirty="0"/>
              <a:t>Why is this important? Generating National and Regional wealth</a:t>
            </a:r>
          </a:p>
        </p:txBody>
      </p:sp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id="{2E53C287-37A1-4EBC-B0ED-65679B150E5D}"/>
              </a:ext>
            </a:extLst>
          </p:cNvPr>
          <p:cNvGraphicFramePr/>
          <p:nvPr>
            <p:custDataLst>
              <p:tags r:id="rId15"/>
            </p:custDataLst>
            <p:extLst/>
          </p:nvPr>
        </p:nvGraphicFramePr>
        <p:xfrm>
          <a:off x="1537494" y="2527300"/>
          <a:ext cx="3527425" cy="3527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44" name="Rectangle 43">
            <a:extLst>
              <a:ext uri="{FF2B5EF4-FFF2-40B4-BE49-F238E27FC236}">
                <a16:creationId xmlns:a16="http://schemas.microsoft.com/office/drawing/2014/main" id="{42E01FB5-4704-4260-A849-05960568449D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4301331" y="3461544"/>
            <a:ext cx="2762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9884A0A-B945-4147-B1FE-D1A9F3CF4EA7}" type="datetime'8''.''''''''''''''''''''''''''''''''''''''''5'''">
              <a:rPr lang="en-IE" altLang="en-US" sz="20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.5</a:t>
            </a:fld>
            <a:endParaRPr lang="en-IE" sz="2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FA19C00-ADE2-4E60-AAA9-B9D52E590C67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586707" y="2781300"/>
            <a:ext cx="6016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91F9BAC-3127-4DB1-BDD8-2B1C3A99AF18}" type="datetime'''Ser''''v''''''''''i''''''''''''''''''''c''e''''s'''''''">
              <a:rPr lang="en-IE" altLang="en-US" sz="2000" b="1" smtClean="0">
                <a:solidFill>
                  <a:schemeClr val="accent5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Services</a:t>
            </a:fld>
            <a:endParaRPr lang="en-IE" sz="2000" b="1" dirty="0">
              <a:solidFill>
                <a:schemeClr val="accent5"/>
              </a:solidFill>
              <a:sym typeface="+mn-lt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9D2F6D1C-27FD-4455-BB2D-75D0BC4C726B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2196307" y="5948363"/>
            <a:ext cx="7016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AC6F4B1-3C01-49CE-9443-37AC4F7AB94C}" type="datetime'''Mat''er''''''''''''''''''i''''''''''''''''a''l''s'''''''''''">
              <a:rPr lang="en-IE" altLang="en-US" sz="2000" b="1" smtClean="0">
                <a:solidFill>
                  <a:schemeClr val="accent5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Materials</a:t>
            </a:fld>
            <a:endParaRPr lang="en-IE" sz="2000" b="1" dirty="0">
              <a:solidFill>
                <a:schemeClr val="accent5"/>
              </a:solidFill>
              <a:sym typeface="+mn-lt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5530DA8D-3765-4662-A5C0-22D957D38DFD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4769644" y="3175000"/>
            <a:ext cx="5048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1EAE38F-E917-4424-999C-FEE12983945B}" type="datetime'''''''''P''''''''''''a''''''''''yr''oll'''''''''">
              <a:rPr lang="en-IE" altLang="en-US" sz="2000" b="1" smtClean="0">
                <a:solidFill>
                  <a:schemeClr val="accent5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Payroll</a:t>
            </a:fld>
            <a:endParaRPr lang="en-IE" sz="2000" b="1" dirty="0">
              <a:solidFill>
                <a:schemeClr val="accent5"/>
              </a:solidFill>
              <a:sym typeface="+mn-lt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AFB063E-2AAF-45D0-8B0D-65D414599A07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2229645" y="3175000"/>
            <a:ext cx="2762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008DCA6-20DB-43B7-91CB-13D435B65D87}" type="datetime'''''''''''''''6''''''.1'''''''''''''''''''''''''''''''''''''''">
              <a:rPr lang="en-IE" altLang="en-US" sz="20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.1</a:t>
            </a:fld>
            <a:endParaRPr lang="en-IE" sz="2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4316510-66FE-4051-A454-C9DDD5F6C28B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2714625" y="5571333"/>
            <a:ext cx="3667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BD74048-71BA-40BB-9580-9497FC50B216}" type="datetime'''''''1''''''''''2.''''''''''''''''''''''''2'''''">
              <a:rPr lang="en-IE" altLang="en-US" sz="20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2.2</a:t>
            </a:fld>
            <a:endParaRPr lang="en-IE" sz="2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463BA0A1-1A49-46EC-9259-17CB4198C916}"/>
              </a:ext>
            </a:extLst>
          </p:cNvPr>
          <p:cNvSpPr txBox="1"/>
          <p:nvPr/>
        </p:nvSpPr>
        <p:spPr>
          <a:xfrm>
            <a:off x="2529682" y="4021992"/>
            <a:ext cx="16033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3200" b="1" dirty="0">
                <a:solidFill>
                  <a:schemeClr val="accent3"/>
                </a:solidFill>
                <a:latin typeface="+mj-lt"/>
              </a:rPr>
              <a:t>€26.8 bn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697F6F0-D3FC-482E-AEE2-4ED41DB0D0A9}"/>
              </a:ext>
            </a:extLst>
          </p:cNvPr>
          <p:cNvSpPr txBox="1"/>
          <p:nvPr/>
        </p:nvSpPr>
        <p:spPr>
          <a:xfrm>
            <a:off x="371175" y="1094126"/>
            <a:ext cx="553951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E" sz="2800" b="1" dirty="0">
                <a:solidFill>
                  <a:schemeClr val="accent6"/>
                </a:solidFill>
                <a:latin typeface="+mj-lt"/>
              </a:rPr>
              <a:t>Enterprise Ireland</a:t>
            </a:r>
          </a:p>
          <a:p>
            <a:pPr algn="ctr"/>
            <a:r>
              <a:rPr lang="en-IE" sz="1600" dirty="0">
                <a:solidFill>
                  <a:schemeClr val="bg1"/>
                </a:solidFill>
              </a:rPr>
              <a:t>€26.8 bn EI Clients Spend in the Economy in 2017</a:t>
            </a:r>
          </a:p>
        </p:txBody>
      </p:sp>
    </p:spTree>
    <p:extLst>
      <p:ext uri="{BB962C8B-B14F-4D97-AF65-F5344CB8AC3E}">
        <p14:creationId xmlns:p14="http://schemas.microsoft.com/office/powerpoint/2010/main" val="42239277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3" grpId="0">
        <p:bldAsOne/>
      </p:bldGraphic>
      <p:bldP spid="42" grpId="0"/>
      <p:bldP spid="41" grpId="0"/>
      <p:bldP spid="39" grpId="0"/>
      <p:bldP spid="40" grpId="0"/>
      <p:bldP spid="36" grpId="0"/>
      <p:bldP spid="37" grpId="0"/>
      <p:bldP spid="38" grpId="0" animBg="1"/>
      <p:bldP spid="73" grpId="0"/>
      <p:bldP spid="74" grpId="0" animBg="1"/>
      <p:bldGraphic spid="43" grpId="0">
        <p:bldAsOne/>
      </p:bldGraphic>
      <p:bldP spid="44" grpId="0"/>
      <p:bldP spid="45" grpId="0"/>
      <p:bldP spid="46" grpId="0"/>
      <p:bldP spid="47" grpId="0"/>
      <p:bldP spid="48" grpId="0"/>
      <p:bldP spid="49" grpId="0"/>
      <p:bldP spid="5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4" name="Rectangle 46"/>
          <p:cNvSpPr txBox="1"/>
          <p:nvPr/>
        </p:nvSpPr>
        <p:spPr>
          <a:xfrm>
            <a:off x="1216725" y="2965062"/>
            <a:ext cx="2321241" cy="7201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t">
            <a:spAutoFit/>
          </a:bodyPr>
          <a:lstStyle/>
          <a:p>
            <a:pPr algn="ctr">
              <a:lnSpc>
                <a:spcPct val="85000"/>
              </a:lnSpc>
              <a:defRPr sz="1600"/>
            </a:pPr>
            <a:r>
              <a:rPr dirty="0">
                <a:solidFill>
                  <a:schemeClr val="bg1"/>
                </a:solidFill>
                <a:latin typeface="Arial Regular"/>
              </a:rPr>
              <a:t>Indigenous and  </a:t>
            </a:r>
            <a:br>
              <a:rPr dirty="0">
                <a:solidFill>
                  <a:schemeClr val="bg1"/>
                </a:solidFill>
                <a:latin typeface="Arial Regular"/>
              </a:rPr>
            </a:br>
            <a:r>
              <a:rPr dirty="0">
                <a:solidFill>
                  <a:schemeClr val="bg1"/>
                </a:solidFill>
                <a:latin typeface="Arial Regular"/>
              </a:rPr>
              <a:t>foreign direct</a:t>
            </a:r>
            <a:endParaRPr lang="en-IE" dirty="0">
              <a:solidFill>
                <a:schemeClr val="bg1"/>
              </a:solidFill>
              <a:latin typeface="Arial Regular"/>
            </a:endParaRPr>
          </a:p>
          <a:p>
            <a:pPr algn="ctr">
              <a:lnSpc>
                <a:spcPct val="85000"/>
              </a:lnSpc>
              <a:defRPr sz="1600"/>
            </a:pPr>
            <a:r>
              <a:rPr dirty="0">
                <a:solidFill>
                  <a:schemeClr val="bg1"/>
                </a:solidFill>
                <a:latin typeface="Arial Regular"/>
              </a:rPr>
              <a:t>investment</a:t>
            </a:r>
          </a:p>
        </p:txBody>
      </p:sp>
      <p:sp>
        <p:nvSpPr>
          <p:cNvPr id="545" name="Rectangle 47"/>
          <p:cNvSpPr txBox="1"/>
          <p:nvPr/>
        </p:nvSpPr>
        <p:spPr>
          <a:xfrm>
            <a:off x="4340996" y="2965062"/>
            <a:ext cx="1002837" cy="3016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9" rIns="45719" anchor="t">
            <a:spAutoFit/>
          </a:bodyPr>
          <a:lstStyle>
            <a:lvl1pPr>
              <a:lnSpc>
                <a:spcPct val="85000"/>
              </a:lnSpc>
              <a:defRPr sz="1600"/>
            </a:lvl1pPr>
          </a:lstStyle>
          <a:p>
            <a:r>
              <a:rPr dirty="0">
                <a:solidFill>
                  <a:schemeClr val="bg1"/>
                </a:solidFill>
                <a:latin typeface="Arial Regular"/>
              </a:rPr>
              <a:t>Education</a:t>
            </a:r>
          </a:p>
        </p:txBody>
      </p:sp>
      <p:sp>
        <p:nvSpPr>
          <p:cNvPr id="546" name="Rectangle 48"/>
          <p:cNvSpPr txBox="1"/>
          <p:nvPr/>
        </p:nvSpPr>
        <p:spPr>
          <a:xfrm>
            <a:off x="9510364" y="2965062"/>
            <a:ext cx="558805" cy="3016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9" rIns="45719" anchor="t">
            <a:spAutoFit/>
          </a:bodyPr>
          <a:lstStyle>
            <a:lvl1pPr>
              <a:lnSpc>
                <a:spcPct val="85000"/>
              </a:lnSpc>
              <a:defRPr sz="1600"/>
            </a:lvl1pPr>
          </a:lstStyle>
          <a:p>
            <a:r>
              <a:rPr dirty="0">
                <a:solidFill>
                  <a:schemeClr val="bg1"/>
                </a:solidFill>
                <a:latin typeface="Arial Regular"/>
              </a:rPr>
              <a:t>Food</a:t>
            </a:r>
          </a:p>
        </p:txBody>
      </p:sp>
      <p:sp>
        <p:nvSpPr>
          <p:cNvPr id="547" name="Rectangle 49"/>
          <p:cNvSpPr txBox="1"/>
          <p:nvPr/>
        </p:nvSpPr>
        <p:spPr>
          <a:xfrm>
            <a:off x="1222556" y="5429967"/>
            <a:ext cx="2309579" cy="7429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lnSpc>
                <a:spcPct val="85000"/>
              </a:lnSpc>
              <a:defRPr sz="1600"/>
            </a:lvl1pPr>
          </a:lstStyle>
          <a:p>
            <a:pPr algn="ctr"/>
            <a:r>
              <a:rPr dirty="0">
                <a:solidFill>
                  <a:schemeClr val="bg1"/>
                </a:solidFill>
                <a:latin typeface="Arial Regular"/>
              </a:rPr>
              <a:t>Information and communication technologies</a:t>
            </a:r>
          </a:p>
        </p:txBody>
      </p:sp>
      <p:sp>
        <p:nvSpPr>
          <p:cNvPr id="548" name="Rectangle 50"/>
          <p:cNvSpPr txBox="1"/>
          <p:nvPr/>
        </p:nvSpPr>
        <p:spPr>
          <a:xfrm>
            <a:off x="4203138" y="5429967"/>
            <a:ext cx="1278553" cy="51090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lnSpc>
                <a:spcPct val="85000"/>
              </a:lnSpc>
              <a:defRPr sz="1600"/>
            </a:lvl1pPr>
          </a:lstStyle>
          <a:p>
            <a:pPr algn="ctr"/>
            <a:r>
              <a:rPr dirty="0">
                <a:solidFill>
                  <a:schemeClr val="bg1"/>
                </a:solidFill>
                <a:latin typeface="Arial Regular"/>
              </a:rPr>
              <a:t>Life sciences</a:t>
            </a:r>
            <a:endParaRPr lang="en-IE" dirty="0">
              <a:solidFill>
                <a:schemeClr val="bg1"/>
              </a:solidFill>
              <a:latin typeface="Arial Regular"/>
            </a:endParaRPr>
          </a:p>
          <a:p>
            <a:pPr algn="ctr"/>
            <a:r>
              <a:rPr dirty="0">
                <a:solidFill>
                  <a:schemeClr val="bg1"/>
                </a:solidFill>
                <a:latin typeface="Arial Regular"/>
              </a:rPr>
              <a:t>and </a:t>
            </a:r>
            <a:r>
              <a:rPr dirty="0" err="1">
                <a:solidFill>
                  <a:schemeClr val="bg1"/>
                </a:solidFill>
                <a:latin typeface="Arial Regular"/>
              </a:rPr>
              <a:t>medtech</a:t>
            </a:r>
            <a:endParaRPr dirty="0">
              <a:solidFill>
                <a:schemeClr val="bg1"/>
              </a:solidFill>
              <a:latin typeface="Arial Regular"/>
            </a:endParaRPr>
          </a:p>
        </p:txBody>
      </p:sp>
      <p:sp>
        <p:nvSpPr>
          <p:cNvPr id="549" name="Rectangle 51"/>
          <p:cNvSpPr txBox="1"/>
          <p:nvPr/>
        </p:nvSpPr>
        <p:spPr>
          <a:xfrm>
            <a:off x="8930077" y="5429967"/>
            <a:ext cx="1719379" cy="3016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lnSpc>
                <a:spcPct val="85000"/>
              </a:lnSpc>
              <a:defRPr sz="1600"/>
            </a:lvl1pPr>
          </a:lstStyle>
          <a:p>
            <a:r>
              <a:rPr dirty="0">
                <a:solidFill>
                  <a:schemeClr val="bg1"/>
                </a:solidFill>
                <a:latin typeface="Arial Regular"/>
              </a:rPr>
              <a:t>Financial services</a:t>
            </a:r>
          </a:p>
        </p:txBody>
      </p:sp>
      <p:sp>
        <p:nvSpPr>
          <p:cNvPr id="607" name="Rectangle 101"/>
          <p:cNvSpPr txBox="1"/>
          <p:nvPr/>
        </p:nvSpPr>
        <p:spPr>
          <a:xfrm>
            <a:off x="6421465" y="2965062"/>
            <a:ext cx="1802736" cy="7201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9" rIns="45719" anchor="t">
            <a:spAutoFit/>
          </a:bodyPr>
          <a:lstStyle/>
          <a:p>
            <a:pPr algn="ctr">
              <a:lnSpc>
                <a:spcPct val="85000"/>
              </a:lnSpc>
              <a:defRPr sz="1600"/>
            </a:pPr>
            <a:r>
              <a:rPr dirty="0">
                <a:solidFill>
                  <a:schemeClr val="bg1"/>
                </a:solidFill>
                <a:latin typeface="Arial Regular"/>
              </a:rPr>
              <a:t>Business and </a:t>
            </a:r>
            <a:br>
              <a:rPr dirty="0">
                <a:solidFill>
                  <a:schemeClr val="bg1"/>
                </a:solidFill>
                <a:latin typeface="Arial Regular"/>
              </a:rPr>
            </a:br>
            <a:r>
              <a:rPr dirty="0">
                <a:solidFill>
                  <a:schemeClr val="bg1"/>
                </a:solidFill>
                <a:latin typeface="Arial Regular"/>
              </a:rPr>
              <a:t>consumer services</a:t>
            </a:r>
            <a:br>
              <a:rPr dirty="0">
                <a:solidFill>
                  <a:schemeClr val="bg1"/>
                </a:solidFill>
                <a:latin typeface="Arial Regular"/>
              </a:rPr>
            </a:br>
            <a:endParaRPr dirty="0">
              <a:solidFill>
                <a:schemeClr val="bg1"/>
              </a:solidFill>
              <a:latin typeface="Arial Regular"/>
            </a:endParaRPr>
          </a:p>
        </p:txBody>
      </p:sp>
      <p:sp>
        <p:nvSpPr>
          <p:cNvPr id="609" name="Rectangle 3"/>
          <p:cNvSpPr txBox="1"/>
          <p:nvPr/>
        </p:nvSpPr>
        <p:spPr>
          <a:xfrm>
            <a:off x="6629055" y="5429967"/>
            <a:ext cx="1387557" cy="3277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lnSpc>
                <a:spcPct val="85000"/>
              </a:lnSpc>
            </a:lvl1pPr>
          </a:lstStyle>
          <a:p>
            <a:r>
              <a:rPr dirty="0">
                <a:solidFill>
                  <a:schemeClr val="bg1"/>
                </a:solidFill>
                <a:latin typeface="Arial Regular"/>
              </a:rPr>
              <a:t>Construction</a:t>
            </a:r>
          </a:p>
        </p:txBody>
      </p:sp>
      <p:sp>
        <p:nvSpPr>
          <p:cNvPr id="104" name="Title 1">
            <a:extLst>
              <a:ext uri="{FF2B5EF4-FFF2-40B4-BE49-F238E27FC236}">
                <a16:creationId xmlns:a16="http://schemas.microsoft.com/office/drawing/2014/main" id="{0F7F9260-BF61-4B4A-BE90-DDCCD1064911}"/>
              </a:ext>
            </a:extLst>
          </p:cNvPr>
          <p:cNvSpPr txBox="1">
            <a:spLocks/>
          </p:cNvSpPr>
          <p:nvPr/>
        </p:nvSpPr>
        <p:spPr>
          <a:xfrm>
            <a:off x="486023" y="559404"/>
            <a:ext cx="7399627" cy="5099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t">
            <a:norm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  <a:lvl2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pPr hangingPunct="1">
              <a:lnSpc>
                <a:spcPct val="100000"/>
              </a:lnSpc>
              <a:defRPr sz="2000">
                <a:solidFill>
                  <a:srgbClr val="F16463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IE" sz="2400" b="1" dirty="0">
                <a:solidFill>
                  <a:srgbClr val="F16463"/>
                </a:solidFill>
              </a:rPr>
              <a:t>Key sectors of strength in the Irish economy</a:t>
            </a:r>
            <a:endParaRPr lang="en-IE" sz="2000" b="1" dirty="0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6325054-59EA-6940-B471-2C57F234E7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62970" y="1490663"/>
            <a:ext cx="1428750" cy="14287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1154AF7-6D46-DD47-B0B0-6958EE05DF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08458" y="1490663"/>
            <a:ext cx="1429200" cy="1429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378BBF8-3B59-1D46-B601-64F316BA6E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75391" y="1490663"/>
            <a:ext cx="1428750" cy="142875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5D1236C-E9AD-AF4E-9013-AEDCBAD8A2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62970" y="3934739"/>
            <a:ext cx="1428750" cy="14287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0C8E8B5-EEDE-4643-A46A-8283B0211F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28039" y="3934739"/>
            <a:ext cx="1428750" cy="142875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B7840BE-D992-264D-AEFB-AA98DB896EC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08458" y="3934739"/>
            <a:ext cx="1428750" cy="14287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C0EC14D-B3F0-4543-8A5B-964BE70E603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075391" y="3934739"/>
            <a:ext cx="1428750" cy="142875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8D3C984-E1EC-194E-A0D5-866AEBF4939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5176" y="1494975"/>
            <a:ext cx="1429200" cy="14292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">
            <a:extLst>
              <a:ext uri="{FF2B5EF4-FFF2-40B4-BE49-F238E27FC236}">
                <a16:creationId xmlns:a16="http://schemas.microsoft.com/office/drawing/2014/main" id="{D0D2F03A-E54F-3346-9EDB-9D45E2F42240}"/>
              </a:ext>
            </a:extLst>
          </p:cNvPr>
          <p:cNvSpPr/>
          <p:nvPr/>
        </p:nvSpPr>
        <p:spPr>
          <a:xfrm>
            <a:off x="335022" y="2398713"/>
            <a:ext cx="3096075" cy="646333"/>
          </a:xfrm>
          <a:prstGeom prst="rect">
            <a:avLst/>
          </a:prstGeom>
          <a:solidFill>
            <a:srgbClr val="2DC0D3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latin typeface="Arial Regular"/>
            </a:endParaRPr>
          </a:p>
        </p:txBody>
      </p:sp>
      <p:sp>
        <p:nvSpPr>
          <p:cNvPr id="32" name="Benelux, Germany, Sweden, Denmark, US">
            <a:extLst>
              <a:ext uri="{FF2B5EF4-FFF2-40B4-BE49-F238E27FC236}">
                <a16:creationId xmlns:a16="http://schemas.microsoft.com/office/drawing/2014/main" id="{905AF9DB-9686-0A45-86DE-4CFB4DC2A63B}"/>
              </a:ext>
            </a:extLst>
          </p:cNvPr>
          <p:cNvSpPr txBox="1"/>
          <p:nvPr/>
        </p:nvSpPr>
        <p:spPr>
          <a:xfrm>
            <a:off x="397291" y="2541326"/>
            <a:ext cx="3000250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tIns="45719" rIns="45719" bIns="45719" numCol="1" anchor="t">
            <a:spAutoFit/>
          </a:bodyPr>
          <a:lstStyle>
            <a:lvl1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>
              <a:defRPr sz="17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en-IE" sz="1600" dirty="0">
                <a:latin typeface="Arial" panose="020B0604020202020204" pitchFamily="34" charset="0"/>
                <a:cs typeface="Arial" panose="020B0604020202020204" pitchFamily="34" charset="0"/>
              </a:rPr>
              <a:t>High Potential Start-ups (HPSU)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64C99094-74AA-B242-840C-EB1EACE0C3DA}"/>
              </a:ext>
            </a:extLst>
          </p:cNvPr>
          <p:cNvSpPr txBox="1"/>
          <p:nvPr/>
        </p:nvSpPr>
        <p:spPr>
          <a:xfrm>
            <a:off x="486024" y="559403"/>
            <a:ext cx="6591670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2000">
                <a:solidFill>
                  <a:srgbClr val="F1646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IE" sz="2400" b="1" dirty="0"/>
              <a:t>Our clients</a:t>
            </a:r>
            <a:endParaRPr sz="2400" b="1" dirty="0"/>
          </a:p>
        </p:txBody>
      </p:sp>
      <p:sp>
        <p:nvSpPr>
          <p:cNvPr id="49" name="Rectangle">
            <a:extLst>
              <a:ext uri="{FF2B5EF4-FFF2-40B4-BE49-F238E27FC236}">
                <a16:creationId xmlns:a16="http://schemas.microsoft.com/office/drawing/2014/main" id="{972493E1-9999-4A45-8523-17B0735A7041}"/>
              </a:ext>
            </a:extLst>
          </p:cNvPr>
          <p:cNvSpPr/>
          <p:nvPr/>
        </p:nvSpPr>
        <p:spPr>
          <a:xfrm>
            <a:off x="3968102" y="2398713"/>
            <a:ext cx="3096075" cy="646333"/>
          </a:xfrm>
          <a:prstGeom prst="rect">
            <a:avLst/>
          </a:prstGeom>
          <a:solidFill>
            <a:srgbClr val="2DC0D3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latin typeface="Arial Regular"/>
            </a:endParaRPr>
          </a:p>
        </p:txBody>
      </p:sp>
      <p:sp>
        <p:nvSpPr>
          <p:cNvPr id="50" name="Benelux, Germany, Sweden, Denmark, US">
            <a:extLst>
              <a:ext uri="{FF2B5EF4-FFF2-40B4-BE49-F238E27FC236}">
                <a16:creationId xmlns:a16="http://schemas.microsoft.com/office/drawing/2014/main" id="{3E3DE37E-AC61-A845-A6F2-FAB57C8CD7D9}"/>
              </a:ext>
            </a:extLst>
          </p:cNvPr>
          <p:cNvSpPr txBox="1"/>
          <p:nvPr/>
        </p:nvSpPr>
        <p:spPr>
          <a:xfrm>
            <a:off x="4097483" y="2541326"/>
            <a:ext cx="2815692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tIns="45719" rIns="45719" bIns="45719" numCol="1" anchor="t">
            <a:spAutoFit/>
          </a:bodyPr>
          <a:lstStyle>
            <a:lvl1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/>
            <a:r>
              <a:rPr lang="en-IE" sz="1600" dirty="0"/>
              <a:t>Established SMEs</a:t>
            </a:r>
          </a:p>
        </p:txBody>
      </p:sp>
      <p:sp>
        <p:nvSpPr>
          <p:cNvPr id="53" name="Rectangle">
            <a:extLst>
              <a:ext uri="{FF2B5EF4-FFF2-40B4-BE49-F238E27FC236}">
                <a16:creationId xmlns:a16="http://schemas.microsoft.com/office/drawing/2014/main" id="{D9FB866E-A766-4F40-B60E-CC24FC7C8EED}"/>
              </a:ext>
            </a:extLst>
          </p:cNvPr>
          <p:cNvSpPr/>
          <p:nvPr/>
        </p:nvSpPr>
        <p:spPr>
          <a:xfrm>
            <a:off x="7601182" y="2398713"/>
            <a:ext cx="3096075" cy="646333"/>
          </a:xfrm>
          <a:prstGeom prst="rect">
            <a:avLst/>
          </a:prstGeom>
          <a:solidFill>
            <a:srgbClr val="2DC0D3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latin typeface="Arial Regular"/>
            </a:endParaRPr>
          </a:p>
        </p:txBody>
      </p:sp>
      <p:sp>
        <p:nvSpPr>
          <p:cNvPr id="54" name="Benelux, Germany, Sweden, Denmark, US">
            <a:extLst>
              <a:ext uri="{FF2B5EF4-FFF2-40B4-BE49-F238E27FC236}">
                <a16:creationId xmlns:a16="http://schemas.microsoft.com/office/drawing/2014/main" id="{6F30D11D-9B0D-F249-BE2F-85F25FA6EC7B}"/>
              </a:ext>
            </a:extLst>
          </p:cNvPr>
          <p:cNvSpPr txBox="1"/>
          <p:nvPr/>
        </p:nvSpPr>
        <p:spPr>
          <a:xfrm>
            <a:off x="7730563" y="2541326"/>
            <a:ext cx="2815692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tIns="45719" rIns="45719" bIns="45719" numCol="1" anchor="t">
            <a:spAutoFit/>
          </a:bodyPr>
          <a:lstStyle>
            <a:lvl1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/>
            <a:r>
              <a:rPr lang="en-IE" sz="1600" dirty="0"/>
              <a:t>Multinationals</a:t>
            </a:r>
          </a:p>
        </p:txBody>
      </p:sp>
      <p:sp>
        <p:nvSpPr>
          <p:cNvPr id="57" name="Rectangle">
            <a:extLst>
              <a:ext uri="{FF2B5EF4-FFF2-40B4-BE49-F238E27FC236}">
                <a16:creationId xmlns:a16="http://schemas.microsoft.com/office/drawing/2014/main" id="{44E7ACA7-9549-C34B-B5CD-081E78475F2B}"/>
              </a:ext>
            </a:extLst>
          </p:cNvPr>
          <p:cNvSpPr/>
          <p:nvPr/>
        </p:nvSpPr>
        <p:spPr>
          <a:xfrm>
            <a:off x="397291" y="4559424"/>
            <a:ext cx="3096075" cy="646333"/>
          </a:xfrm>
          <a:prstGeom prst="rect">
            <a:avLst/>
          </a:prstGeom>
          <a:solidFill>
            <a:srgbClr val="2DC0D3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latin typeface="Arial Regular"/>
            </a:endParaRPr>
          </a:p>
        </p:txBody>
      </p:sp>
      <p:sp>
        <p:nvSpPr>
          <p:cNvPr id="58" name="Benelux, Germany, Sweden, Denmark, US">
            <a:extLst>
              <a:ext uri="{FF2B5EF4-FFF2-40B4-BE49-F238E27FC236}">
                <a16:creationId xmlns:a16="http://schemas.microsoft.com/office/drawing/2014/main" id="{71A23181-E4DF-B544-B137-C5197B8FCDCF}"/>
              </a:ext>
            </a:extLst>
          </p:cNvPr>
          <p:cNvSpPr txBox="1"/>
          <p:nvPr/>
        </p:nvSpPr>
        <p:spPr>
          <a:xfrm>
            <a:off x="397291" y="4702037"/>
            <a:ext cx="3000250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tIns="45719" rIns="45719" bIns="45719" numCol="1" anchor="t">
            <a:spAutoFit/>
          </a:bodyPr>
          <a:lstStyle>
            <a:lvl1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/>
            <a:r>
              <a:rPr lang="en-IE" sz="1600" dirty="0"/>
              <a:t>High-growth enterprises</a:t>
            </a:r>
          </a:p>
        </p:txBody>
      </p:sp>
      <p:sp>
        <p:nvSpPr>
          <p:cNvPr id="61" name="Rectangle">
            <a:extLst>
              <a:ext uri="{FF2B5EF4-FFF2-40B4-BE49-F238E27FC236}">
                <a16:creationId xmlns:a16="http://schemas.microsoft.com/office/drawing/2014/main" id="{07C4CC8E-51AC-0645-8F01-0D76CAF471B8}"/>
              </a:ext>
            </a:extLst>
          </p:cNvPr>
          <p:cNvSpPr/>
          <p:nvPr/>
        </p:nvSpPr>
        <p:spPr>
          <a:xfrm>
            <a:off x="3968102" y="4559424"/>
            <a:ext cx="3096075" cy="646333"/>
          </a:xfrm>
          <a:prstGeom prst="rect">
            <a:avLst/>
          </a:prstGeom>
          <a:solidFill>
            <a:srgbClr val="2DC0D3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latin typeface="Arial Regular"/>
            </a:endParaRPr>
          </a:p>
        </p:txBody>
      </p:sp>
      <p:sp>
        <p:nvSpPr>
          <p:cNvPr id="62" name="Benelux, Germany, Sweden, Denmark, US">
            <a:extLst>
              <a:ext uri="{FF2B5EF4-FFF2-40B4-BE49-F238E27FC236}">
                <a16:creationId xmlns:a16="http://schemas.microsoft.com/office/drawing/2014/main" id="{1C1DAC87-1D5F-CD47-8268-5EC8D315F4AA}"/>
              </a:ext>
            </a:extLst>
          </p:cNvPr>
          <p:cNvSpPr txBox="1"/>
          <p:nvPr/>
        </p:nvSpPr>
        <p:spPr>
          <a:xfrm>
            <a:off x="4030371" y="4702037"/>
            <a:ext cx="3000250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tIns="45719" rIns="45719" bIns="45719" numCol="1" anchor="t">
            <a:spAutoFit/>
          </a:bodyPr>
          <a:lstStyle>
            <a:lvl1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/>
            <a:r>
              <a:rPr lang="en-IE" sz="1600" dirty="0"/>
              <a:t>Potential exporters</a:t>
            </a:r>
          </a:p>
        </p:txBody>
      </p:sp>
      <p:sp>
        <p:nvSpPr>
          <p:cNvPr id="65" name="Rectangle">
            <a:extLst>
              <a:ext uri="{FF2B5EF4-FFF2-40B4-BE49-F238E27FC236}">
                <a16:creationId xmlns:a16="http://schemas.microsoft.com/office/drawing/2014/main" id="{B2AB68F5-924A-5649-9CB9-F9AA4F7395C8}"/>
              </a:ext>
            </a:extLst>
          </p:cNvPr>
          <p:cNvSpPr/>
          <p:nvPr/>
        </p:nvSpPr>
        <p:spPr>
          <a:xfrm>
            <a:off x="7601182" y="4559424"/>
            <a:ext cx="3096075" cy="646333"/>
          </a:xfrm>
          <a:prstGeom prst="rect">
            <a:avLst/>
          </a:prstGeom>
          <a:solidFill>
            <a:srgbClr val="2DC0D3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latin typeface="Arial Regular"/>
            </a:endParaRPr>
          </a:p>
        </p:txBody>
      </p:sp>
      <p:sp>
        <p:nvSpPr>
          <p:cNvPr id="66" name="Benelux, Germany, Sweden, Denmark, US">
            <a:extLst>
              <a:ext uri="{FF2B5EF4-FFF2-40B4-BE49-F238E27FC236}">
                <a16:creationId xmlns:a16="http://schemas.microsoft.com/office/drawing/2014/main" id="{B5773E95-9EEE-5A4D-AE95-1230DF8AD0EB}"/>
              </a:ext>
            </a:extLst>
          </p:cNvPr>
          <p:cNvSpPr txBox="1"/>
          <p:nvPr/>
        </p:nvSpPr>
        <p:spPr>
          <a:xfrm>
            <a:off x="7663451" y="4702037"/>
            <a:ext cx="3000250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tIns="45719" rIns="45719" bIns="45719" numCol="1" anchor="t">
            <a:spAutoFit/>
          </a:bodyPr>
          <a:lstStyle>
            <a:lvl1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/>
            <a:r>
              <a:rPr lang="en-IE" sz="1600" dirty="0"/>
              <a:t>Research community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7" name="Picture 30" descr="Picture 30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540326" y="5154157"/>
            <a:ext cx="11006148" cy="1052453"/>
          </a:xfrm>
          <a:prstGeom prst="rect">
            <a:avLst/>
          </a:prstGeom>
          <a:ln w="12700">
            <a:miter lim="400000"/>
          </a:ln>
        </p:spPr>
      </p:pic>
      <p:sp>
        <p:nvSpPr>
          <p:cNvPr id="988" name="Title 1"/>
          <p:cNvSpPr txBox="1">
            <a:spLocks noGrp="1"/>
          </p:cNvSpPr>
          <p:nvPr>
            <p:ph type="title" idx="4294967295"/>
          </p:nvPr>
        </p:nvSpPr>
        <p:spPr>
          <a:xfrm>
            <a:off x="478269" y="560387"/>
            <a:ext cx="3767161" cy="864759"/>
          </a:xfrm>
          <a:prstGeom prst="rect">
            <a:avLst/>
          </a:prstGeom>
        </p:spPr>
        <p:txBody>
          <a:bodyPr anchor="t"/>
          <a:lstStyle>
            <a:lvl1pPr>
              <a:defRPr sz="2400">
                <a:solidFill>
                  <a:srgbClr val="F1646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b="1" dirty="0"/>
              <a:t>How we work with clients</a:t>
            </a:r>
          </a:p>
        </p:txBody>
      </p:sp>
      <p:sp>
        <p:nvSpPr>
          <p:cNvPr id="989" name="TextBox 22"/>
          <p:cNvSpPr txBox="1"/>
          <p:nvPr/>
        </p:nvSpPr>
        <p:spPr>
          <a:xfrm>
            <a:off x="914575" y="5397117"/>
            <a:ext cx="1851368" cy="7705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Strategy development</a:t>
            </a:r>
          </a:p>
        </p:txBody>
      </p:sp>
      <p:sp>
        <p:nvSpPr>
          <p:cNvPr id="990" name="TextBox 23"/>
          <p:cNvSpPr txBox="1"/>
          <p:nvPr/>
        </p:nvSpPr>
        <p:spPr>
          <a:xfrm>
            <a:off x="2740542" y="5409387"/>
            <a:ext cx="1260114" cy="7705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Funding support</a:t>
            </a:r>
          </a:p>
        </p:txBody>
      </p:sp>
      <p:sp>
        <p:nvSpPr>
          <p:cNvPr id="991" name="TextBox 24"/>
          <p:cNvSpPr txBox="1"/>
          <p:nvPr/>
        </p:nvSpPr>
        <p:spPr>
          <a:xfrm>
            <a:off x="4589659" y="5375612"/>
            <a:ext cx="1443256" cy="7705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Export assistance</a:t>
            </a:r>
          </a:p>
        </p:txBody>
      </p:sp>
      <p:sp>
        <p:nvSpPr>
          <p:cNvPr id="992" name="TextBox 25"/>
          <p:cNvSpPr txBox="1"/>
          <p:nvPr/>
        </p:nvSpPr>
        <p:spPr>
          <a:xfrm>
            <a:off x="6379426" y="5273109"/>
            <a:ext cx="1260114" cy="9991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Access to market-led R&amp;I</a:t>
            </a:r>
          </a:p>
        </p:txBody>
      </p:sp>
      <p:sp>
        <p:nvSpPr>
          <p:cNvPr id="993" name="TextBox 26"/>
          <p:cNvSpPr txBox="1"/>
          <p:nvPr/>
        </p:nvSpPr>
        <p:spPr>
          <a:xfrm>
            <a:off x="8277449" y="5292047"/>
            <a:ext cx="1911443" cy="9991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Leadership &amp; management development</a:t>
            </a:r>
          </a:p>
        </p:txBody>
      </p:sp>
      <p:sp>
        <p:nvSpPr>
          <p:cNvPr id="994" name="TextBox 27"/>
          <p:cNvSpPr txBox="1"/>
          <p:nvPr/>
        </p:nvSpPr>
        <p:spPr>
          <a:xfrm>
            <a:off x="10029235" y="5365646"/>
            <a:ext cx="1939637" cy="7705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Ecosystem development</a:t>
            </a:r>
          </a:p>
        </p:txBody>
      </p:sp>
      <p:pic>
        <p:nvPicPr>
          <p:cNvPr id="995" name="Picture 32" descr="Picture 32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 rot="10800000">
            <a:off x="4411874" y="1351914"/>
            <a:ext cx="3327363" cy="3327363"/>
          </a:xfrm>
          <a:prstGeom prst="rect">
            <a:avLst/>
          </a:prstGeom>
          <a:ln w="12700">
            <a:miter lim="400000"/>
          </a:ln>
        </p:spPr>
      </p:pic>
      <p:sp>
        <p:nvSpPr>
          <p:cNvPr id="996" name="TextBox 33"/>
          <p:cNvSpPr txBox="1"/>
          <p:nvPr/>
        </p:nvSpPr>
        <p:spPr>
          <a:xfrm rot="18200911">
            <a:off x="4327804" y="1945699"/>
            <a:ext cx="1736035" cy="2888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Innovation</a:t>
            </a:r>
          </a:p>
        </p:txBody>
      </p:sp>
      <p:sp>
        <p:nvSpPr>
          <p:cNvPr id="997" name="TextBox 34"/>
          <p:cNvSpPr txBox="1"/>
          <p:nvPr/>
        </p:nvSpPr>
        <p:spPr>
          <a:xfrm>
            <a:off x="5689036" y="1505744"/>
            <a:ext cx="1369614" cy="4920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People &amp; Management</a:t>
            </a:r>
          </a:p>
        </p:txBody>
      </p:sp>
      <p:sp>
        <p:nvSpPr>
          <p:cNvPr id="998" name="TextBox 35"/>
          <p:cNvSpPr txBox="1"/>
          <p:nvPr/>
        </p:nvSpPr>
        <p:spPr>
          <a:xfrm rot="4817843">
            <a:off x="6700898" y="2675302"/>
            <a:ext cx="1228116" cy="4920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Sales &amp; Marketing</a:t>
            </a:r>
          </a:p>
        </p:txBody>
      </p:sp>
      <p:sp>
        <p:nvSpPr>
          <p:cNvPr id="999" name="TextBox 36"/>
          <p:cNvSpPr txBox="1"/>
          <p:nvPr/>
        </p:nvSpPr>
        <p:spPr>
          <a:xfrm rot="19726919">
            <a:off x="6166568" y="3930272"/>
            <a:ext cx="973867" cy="2888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Operations</a:t>
            </a:r>
          </a:p>
        </p:txBody>
      </p:sp>
      <p:sp>
        <p:nvSpPr>
          <p:cNvPr id="1000" name="TextBox 37"/>
          <p:cNvSpPr txBox="1"/>
          <p:nvPr/>
        </p:nvSpPr>
        <p:spPr>
          <a:xfrm rot="2697879">
            <a:off x="4805397" y="3672230"/>
            <a:ext cx="736686" cy="2888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dirty="0"/>
              <a:t>Finance</a:t>
            </a:r>
          </a:p>
        </p:txBody>
      </p:sp>
      <p:sp>
        <p:nvSpPr>
          <p:cNvPr id="1001" name="TextBox 39"/>
          <p:cNvSpPr txBox="1"/>
          <p:nvPr/>
        </p:nvSpPr>
        <p:spPr>
          <a:xfrm>
            <a:off x="5263472" y="2706012"/>
            <a:ext cx="1428439" cy="4862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28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Strategy</a:t>
            </a:r>
          </a:p>
        </p:txBody>
      </p:sp>
    </p:spTree>
    <p:extLst>
      <p:ext uri="{BB962C8B-B14F-4D97-AF65-F5344CB8AC3E}">
        <p14:creationId xmlns:p14="http://schemas.microsoft.com/office/powerpoint/2010/main" val="2816007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9g0z_MT6KbO6e1rTNo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wexpkzRQ6aMNJBzdxek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nDFVIZSfCBHtPdWfWy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DQhDJUT96ebwDZ0MMlg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tuYwc6QdSHM1eKd8zQ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0SEzD9R.esS6uRTv2sP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cczz0tTtuLygDBpkOVF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PoQn5OSKm1Pgd6Tm0Us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1Y4icuSZqwtjMkxLCid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G3dEAXQMChOWjCCO01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HMiPR8R_ivoIM80b1J8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BlXnYhSbmm.nNV6Xv7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TdzWf.SAKOdzIwmTha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r20pPdRQqCe8k40cgL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puW.RNSU6_449g_ynu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STnjZHTceEBEYitPofK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RrKSgWReGbIFxeIeyB2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cNeAKDQNaOWgpzw51fd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ZPP9WwSOKjyccpTNWB.g"/>
</p:tagLst>
</file>

<file path=ppt/theme/theme1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 Theme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1_EI Corporate Powerpoint Deck Turkey v1.3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 Theme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6</TotalTime>
  <Words>1087</Words>
  <Application>Microsoft Office PowerPoint</Application>
  <PresentationFormat>Widescreen</PresentationFormat>
  <Paragraphs>251</Paragraphs>
  <Slides>20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3" baseType="lpstr">
      <vt:lpstr>MS PGothic</vt:lpstr>
      <vt:lpstr>Arial</vt:lpstr>
      <vt:lpstr>Arial Black</vt:lpstr>
      <vt:lpstr>Arial Bold</vt:lpstr>
      <vt:lpstr>Arial Regular</vt:lpstr>
      <vt:lpstr>Calibri</vt:lpstr>
      <vt:lpstr>Calibri Light</vt:lpstr>
      <vt:lpstr>Helvetica</vt:lpstr>
      <vt:lpstr>Verdana</vt:lpstr>
      <vt:lpstr>Wingdings</vt:lpstr>
      <vt:lpstr>Office Theme</vt:lpstr>
      <vt:lpstr>1_EI Corporate Powerpoint Deck Turkey v1.3</vt:lpstr>
      <vt:lpstr>think-cell Slide</vt:lpstr>
      <vt:lpstr>PowerPoint Presentation</vt:lpstr>
      <vt:lpstr>Enterprise Ireland </vt:lpstr>
      <vt:lpstr>Delivering Global Ambition – Our Strategy to Deliver  2017-2020</vt:lpstr>
      <vt:lpstr>Record levels of Employment Growth in every region</vt:lpstr>
      <vt:lpstr>Employment Growth in key Sectors</vt:lpstr>
      <vt:lpstr>Why is this important? Generating National and Regional wealth</vt:lpstr>
      <vt:lpstr>PowerPoint Presentation</vt:lpstr>
      <vt:lpstr>PowerPoint Presentation</vt:lpstr>
      <vt:lpstr>How we work with clien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'Neill, Deirdre</dc:creator>
  <cp:lastModifiedBy>O'Neill, Deirdre</cp:lastModifiedBy>
  <cp:revision>21</cp:revision>
  <cp:lastPrinted>2019-03-05T13:45:30Z</cp:lastPrinted>
  <dcterms:created xsi:type="dcterms:W3CDTF">2019-03-04T16:08:11Z</dcterms:created>
  <dcterms:modified xsi:type="dcterms:W3CDTF">2019-03-06T09:39:44Z</dcterms:modified>
</cp:coreProperties>
</file>